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6.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7.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8.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9.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10.xml" ContentType="application/vnd.openxmlformats-officedocument.theme+xml"/>
  <Override PartName="/ppt/theme/themeOverride1.xml" ContentType="application/vnd.openxmlformats-officedocument.themeOverrid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1.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6" r:id="rId5"/>
    <p:sldMasterId id="2147483692" r:id="rId6"/>
    <p:sldMasterId id="2147483725" r:id="rId7"/>
    <p:sldMasterId id="2147483748" r:id="rId8"/>
    <p:sldMasterId id="2147483770" r:id="rId9"/>
    <p:sldMasterId id="2147483793" r:id="rId10"/>
    <p:sldMasterId id="2147483802" r:id="rId11"/>
    <p:sldMasterId id="2147483824" r:id="rId12"/>
    <p:sldMasterId id="2147483847" r:id="rId13"/>
    <p:sldMasterId id="2147483874" r:id="rId14"/>
    <p:sldMasterId id="2147483921" r:id="rId15"/>
  </p:sldMasterIdLst>
  <p:notesMasterIdLst>
    <p:notesMasterId r:id="rId55"/>
  </p:notesMasterIdLst>
  <p:sldIdLst>
    <p:sldId id="403" r:id="rId16"/>
    <p:sldId id="399" r:id="rId17"/>
    <p:sldId id="264" r:id="rId18"/>
    <p:sldId id="259" r:id="rId19"/>
    <p:sldId id="410" r:id="rId20"/>
    <p:sldId id="411" r:id="rId21"/>
    <p:sldId id="412" r:id="rId22"/>
    <p:sldId id="262" r:id="rId23"/>
    <p:sldId id="266" r:id="rId24"/>
    <p:sldId id="274" r:id="rId25"/>
    <p:sldId id="290" r:id="rId26"/>
    <p:sldId id="295" r:id="rId27"/>
    <p:sldId id="331" r:id="rId28"/>
    <p:sldId id="332" r:id="rId29"/>
    <p:sldId id="339" r:id="rId30"/>
    <p:sldId id="328" r:id="rId31"/>
    <p:sldId id="313" r:id="rId32"/>
    <p:sldId id="314" r:id="rId33"/>
    <p:sldId id="315" r:id="rId34"/>
    <p:sldId id="316" r:id="rId35"/>
    <p:sldId id="317" r:id="rId36"/>
    <p:sldId id="318" r:id="rId37"/>
    <p:sldId id="319" r:id="rId38"/>
    <p:sldId id="280" r:id="rId39"/>
    <p:sldId id="320" r:id="rId40"/>
    <p:sldId id="321" r:id="rId41"/>
    <p:sldId id="301" r:id="rId42"/>
    <p:sldId id="442" r:id="rId43"/>
    <p:sldId id="443" r:id="rId44"/>
    <p:sldId id="444" r:id="rId45"/>
    <p:sldId id="445" r:id="rId46"/>
    <p:sldId id="322" r:id="rId47"/>
    <p:sldId id="323" r:id="rId48"/>
    <p:sldId id="300" r:id="rId49"/>
    <p:sldId id="304" r:id="rId50"/>
    <p:sldId id="305" r:id="rId51"/>
    <p:sldId id="306" r:id="rId52"/>
    <p:sldId id="307" r:id="rId53"/>
    <p:sldId id="308"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rends &amp; Building Blocks" id="{E721F68A-8597-482B-8DF2-E7B2549A84A8}">
          <p14:sldIdLst>
            <p14:sldId id="403"/>
            <p14:sldId id="399"/>
            <p14:sldId id="264"/>
            <p14:sldId id="259"/>
            <p14:sldId id="410"/>
            <p14:sldId id="411"/>
            <p14:sldId id="412"/>
            <p14:sldId id="262"/>
            <p14:sldId id="266"/>
          </p14:sldIdLst>
        </p14:section>
        <p14:section name="Migration to Cloud" id="{423309BD-D8C5-4658-870B-234AB37A588C}">
          <p14:sldIdLst>
            <p14:sldId id="274"/>
            <p14:sldId id="290"/>
            <p14:sldId id="295"/>
            <p14:sldId id="331"/>
            <p14:sldId id="332"/>
            <p14:sldId id="339"/>
            <p14:sldId id="328"/>
          </p14:sldIdLst>
        </p14:section>
        <p14:section name="ADFS" id="{CBABC3D0-86EC-4A28-8FC9-79F96BA256F3}">
          <p14:sldIdLst>
            <p14:sldId id="313"/>
            <p14:sldId id="314"/>
            <p14:sldId id="315"/>
            <p14:sldId id="316"/>
            <p14:sldId id="317"/>
            <p14:sldId id="318"/>
            <p14:sldId id="319"/>
            <p14:sldId id="280"/>
            <p14:sldId id="320"/>
            <p14:sldId id="321"/>
            <p14:sldId id="301"/>
            <p14:sldId id="442"/>
            <p14:sldId id="443"/>
            <p14:sldId id="444"/>
            <p14:sldId id="445"/>
            <p14:sldId id="322"/>
            <p14:sldId id="323"/>
            <p14:sldId id="300"/>
            <p14:sldId id="304"/>
            <p14:sldId id="305"/>
            <p14:sldId id="306"/>
            <p14:sldId id="307"/>
            <p14:sldId id="30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3735"/>
    <a:srgbClr val="77933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57" autoAdjust="0"/>
    <p:restoredTop sz="76118" autoAdjust="0"/>
  </p:normalViewPr>
  <p:slideViewPr>
    <p:cSldViewPr snapToGrid="0">
      <p:cViewPr varScale="1">
        <p:scale>
          <a:sx n="62" d="100"/>
          <a:sy n="62" d="100"/>
        </p:scale>
        <p:origin x="1197" y="39"/>
      </p:cViewPr>
      <p:guideLst/>
    </p:cSldViewPr>
  </p:slideViewPr>
  <p:outlineViewPr>
    <p:cViewPr>
      <p:scale>
        <a:sx n="33" d="100"/>
        <a:sy n="33" d="100"/>
      </p:scale>
      <p:origin x="0" y="-62745"/>
    </p:cViewPr>
  </p:outlineViewPr>
  <p:notesTextViewPr>
    <p:cViewPr>
      <p:scale>
        <a:sx n="1" d="1"/>
        <a:sy n="1" d="1"/>
      </p:scale>
      <p:origin x="0" y="0"/>
    </p:cViewPr>
  </p:notesTextViewPr>
  <p:sorterViewPr>
    <p:cViewPr>
      <p:scale>
        <a:sx n="90" d="100"/>
        <a:sy n="90" d="100"/>
      </p:scale>
      <p:origin x="0" y="-1415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slide" Target="slides/slide26.xml"/><Relationship Id="rId54" Type="http://schemas.openxmlformats.org/officeDocument/2006/relationships/slide" Target="slides/slide3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6.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06482F-940C-4C85-B355-30F91FF1258B}" type="datetimeFigureOut">
              <a:rPr lang="en-US" smtClean="0"/>
              <a:t>10/15/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CA44E0-6ABB-4CBD-8351-69864DC90CE7}" type="slidenum">
              <a:rPr lang="en-US" smtClean="0"/>
              <a:t>‹#›</a:t>
            </a:fld>
            <a:endParaRPr lang="en-US"/>
          </a:p>
        </p:txBody>
      </p:sp>
    </p:spTree>
    <p:extLst>
      <p:ext uri="{BB962C8B-B14F-4D97-AF65-F5344CB8AC3E}">
        <p14:creationId xmlns:p14="http://schemas.microsoft.com/office/powerpoint/2010/main" val="3446220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b="0" dirty="0" smtClean="0"/>
              <a:t>Explain</a:t>
            </a:r>
            <a:r>
              <a:rPr lang="en-US" b="0" baseline="0" dirty="0" smtClean="0"/>
              <a:t> the differences and relationship between </a:t>
            </a:r>
            <a:r>
              <a:rPr lang="en-US" b="0" baseline="0" dirty="0" err="1" smtClean="0"/>
              <a:t>IaaS</a:t>
            </a:r>
            <a:r>
              <a:rPr lang="en-US" b="0" baseline="0" dirty="0" smtClean="0"/>
              <a:t>, </a:t>
            </a:r>
            <a:r>
              <a:rPr lang="en-US" b="0" baseline="0" dirty="0" err="1" smtClean="0"/>
              <a:t>PaaS</a:t>
            </a:r>
            <a:r>
              <a:rPr lang="en-US" b="0" baseline="0" dirty="0" smtClean="0"/>
              <a:t>, and SaaS in more detail.</a:t>
            </a:r>
            <a:endParaRPr lang="en-US" b="0" dirty="0" smtClean="0"/>
          </a:p>
          <a:p>
            <a:endParaRPr lang="en-US" b="1" dirty="0" smtClean="0"/>
          </a:p>
          <a:p>
            <a:r>
              <a:rPr lang="en-US" b="1" dirty="0" smtClean="0"/>
              <a:t>Speaking Points:</a:t>
            </a:r>
          </a:p>
          <a:p>
            <a:pPr marL="171450" indent="-171450">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1450" indent="-171450">
              <a:buFont typeface="Arial" pitchFamily="34" charset="0"/>
              <a:buChar char="•"/>
            </a:pPr>
            <a:r>
              <a:rPr lang="en-US" baseline="0" dirty="0" smtClean="0"/>
              <a:t>Packaged Software</a:t>
            </a:r>
          </a:p>
          <a:p>
            <a:pPr marL="384431" lvl="1" indent="-171450">
              <a:buFont typeface="Arial" pitchFamily="34" charset="0"/>
              <a:buChar char="•"/>
            </a:pPr>
            <a:r>
              <a:rPr lang="en-US" baseline="0" dirty="0" smtClean="0"/>
              <a:t>With packaged software a customer would be responsible for managing the entire stack – ranging from the network connectivity to the applications.  </a:t>
            </a:r>
          </a:p>
          <a:p>
            <a:pPr marL="171450" indent="-171450">
              <a:buFont typeface="Arial" pitchFamily="34" charset="0"/>
              <a:buChar char="•"/>
            </a:pPr>
            <a:r>
              <a:rPr lang="en-US" baseline="0" dirty="0" err="1" smtClean="0"/>
              <a:t>IaaS</a:t>
            </a:r>
            <a:endParaRPr lang="en-US" baseline="0" dirty="0" smtClean="0"/>
          </a:p>
          <a:p>
            <a:pPr marL="384431" lvl="1" indent="-171450">
              <a:buFont typeface="Arial" pitchFamily="34" charset="0"/>
              <a:buChar char="•"/>
            </a:pPr>
            <a:r>
              <a:rPr lang="en-US" baseline="0" dirty="0" smtClean="0"/>
              <a:t>With Infrastructure as a Service, the lower levels of the stack are managed by a vendor.  Some of these components can be provided by traditional </a:t>
            </a:r>
            <a:r>
              <a:rPr lang="en-US" baseline="0" dirty="0" err="1" smtClean="0"/>
              <a:t>hosters</a:t>
            </a:r>
            <a:r>
              <a:rPr lang="en-US" baseline="0" dirty="0" smtClean="0"/>
              <a:t> – in fact most of them have moved to having a virtualized offering.  </a:t>
            </a:r>
          </a:p>
          <a:p>
            <a:pPr marL="384431" lvl="1" indent="-171450">
              <a:buFont typeface="Arial" pitchFamily="34" charset="0"/>
              <a:buChar char="•"/>
            </a:pPr>
            <a:r>
              <a:rPr lang="en-US" baseline="0" dirty="0" smtClean="0"/>
              <a:t>Very few actually provide an OS</a:t>
            </a:r>
          </a:p>
          <a:p>
            <a:pPr marL="384431" lvl="1" indent="-171450">
              <a:buFont typeface="Arial" pitchFamily="34" charset="0"/>
              <a:buChar char="•"/>
            </a:pPr>
            <a:r>
              <a:rPr lang="en-US" baseline="0" dirty="0" smtClean="0"/>
              <a:t>The customer is still responsible for managing the OS through the Applications.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For the developer, an obvious benefit with </a:t>
            </a:r>
            <a:r>
              <a:rPr lang="en-US" baseline="0" dirty="0" err="1" smtClean="0"/>
              <a:t>IaaS</a:t>
            </a:r>
            <a:r>
              <a:rPr lang="en-US" baseline="0" dirty="0" smtClean="0"/>
              <a:t> is that it frees the developer from many concerns when provisioning physical or virtual machines.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is was one of the earliest and primary use cases for Amazon Web Services Elastic Cloud Compute (EC2).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Developers were able to readily provision virtual machines (AMIs) on EC2, develop and test solutions and, often, run the results ‘in production’. </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baseline="0" dirty="0" smtClean="0"/>
              <a:t>The only requirement was a credit card to pay for the services.</a:t>
            </a:r>
          </a:p>
          <a:p>
            <a:pPr marL="171450" indent="-171450">
              <a:buFont typeface="Arial" pitchFamily="34" charset="0"/>
              <a:buChar char="•"/>
            </a:pPr>
            <a:r>
              <a:rPr lang="en-US" baseline="0" dirty="0" err="1" smtClean="0"/>
              <a:t>PaaS</a:t>
            </a:r>
            <a:endParaRPr lang="en-US" baseline="0" dirty="0" smtClean="0"/>
          </a:p>
          <a:p>
            <a:pPr marL="384431" lvl="1" indent="-171450">
              <a:buFont typeface="Arial" pitchFamily="34" charset="0"/>
              <a:buChar char="•"/>
            </a:pPr>
            <a:r>
              <a:rPr lang="en-US" baseline="0" dirty="0" smtClean="0"/>
              <a:t>With Platform as a Service, everything from the network connectivity through the runtime is provided and managed by the platform vendor.  </a:t>
            </a:r>
          </a:p>
          <a:p>
            <a:pPr marL="384431" lvl="1" indent="-171450">
              <a:buFont typeface="Arial" pitchFamily="34" charset="0"/>
              <a:buChar char="•"/>
            </a:pPr>
            <a:r>
              <a:rPr lang="en-US" baseline="0" dirty="0" smtClean="0"/>
              <a:t>The Windows Azure best fits in this category today.  </a:t>
            </a:r>
          </a:p>
          <a:p>
            <a:pPr marL="384431" lvl="1" indent="-171450">
              <a:buFont typeface="Arial" pitchFamily="34" charset="0"/>
              <a:buChar char="•"/>
            </a:pPr>
            <a:r>
              <a:rPr lang="en-US" baseline="0" dirty="0" smtClean="0"/>
              <a:t>In fact because we don’t provide access to the underlying virtualization or operating system today, we’re often referred to as not providing </a:t>
            </a:r>
            <a:r>
              <a:rPr lang="en-US" baseline="0" dirty="0" err="1" smtClean="0"/>
              <a:t>IaaS</a:t>
            </a:r>
            <a:r>
              <a:rPr lang="en-US" baseline="0" dirty="0" smtClean="0"/>
              <a:t>.</a:t>
            </a:r>
          </a:p>
          <a:p>
            <a:pPr marL="384431" lvl="1" indent="-171450">
              <a:buFont typeface="Arial" pitchFamily="34" charset="0"/>
              <a:buChar char="•"/>
            </a:pPr>
            <a:r>
              <a:rPr lang="en-US" dirty="0" err="1" smtClean="0"/>
              <a:t>PaaS</a:t>
            </a:r>
            <a:r>
              <a:rPr lang="en-US" dirty="0" smtClean="0"/>
              <a:t> offerings</a:t>
            </a:r>
            <a:r>
              <a:rPr lang="en-US" baseline="0" dirty="0" smtClean="0"/>
              <a:t> further reduce the developer burden by additionally supporting the platform runtime and related application services. </a:t>
            </a:r>
          </a:p>
          <a:p>
            <a:pPr marL="384431" lvl="1" indent="-171450" algn="l">
              <a:buFont typeface="Arial" pitchFamily="34" charset="0"/>
              <a:buChar char="•"/>
            </a:pPr>
            <a:r>
              <a:rPr lang="en-US" baseline="0" dirty="0" smtClean="0"/>
              <a:t>With </a:t>
            </a:r>
            <a:r>
              <a:rPr lang="en-US" baseline="0" dirty="0" err="1" smtClean="0"/>
              <a:t>PaaS</a:t>
            </a:r>
            <a:r>
              <a:rPr lang="en-US" baseline="0" dirty="0" smtClean="0"/>
              <a:t>, the developer can, almost immediately, begin creating the business logic for an application. </a:t>
            </a:r>
          </a:p>
          <a:p>
            <a:pPr marL="384431" lvl="1" indent="-171450" algn="l">
              <a:buFont typeface="Arial" pitchFamily="34" charset="0"/>
              <a:buChar char="•"/>
            </a:pPr>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1450" indent="-171450">
              <a:buFont typeface="Arial" pitchFamily="34" charset="0"/>
              <a:buChar char="•"/>
            </a:pPr>
            <a:r>
              <a:rPr lang="en-US" baseline="0" dirty="0" smtClean="0"/>
              <a:t>SaaS</a:t>
            </a:r>
          </a:p>
          <a:p>
            <a:pPr marL="384431" lvl="1" indent="-171450">
              <a:buFont typeface="Arial" pitchFamily="34" charset="0"/>
              <a:buChar char="•"/>
            </a:pPr>
            <a:r>
              <a:rPr lang="en-US" dirty="0" smtClean="0"/>
              <a:t>Finally, with SaaS,</a:t>
            </a:r>
            <a:r>
              <a:rPr lang="en-US" baseline="0" dirty="0" smtClean="0"/>
              <a:t> a vendor provides the application and abstracts you from all of the underlying components.   </a:t>
            </a:r>
            <a:endParaRPr lang="en-US" dirty="0" smtClean="0"/>
          </a:p>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42865129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smtClean="0">
                <a:solidFill>
                  <a:schemeClr val="tx1"/>
                </a:solidFill>
                <a:effectLst/>
                <a:latin typeface="Segoe UI Light" pitchFamily="34" charset="0"/>
                <a:ea typeface="+mn-ea"/>
                <a:cs typeface="+mn-cs"/>
              </a:rPr>
              <a:t>Let us now understand the Windows Azure storage system and some of its salient features.</a:t>
            </a:r>
          </a:p>
          <a:p>
            <a:endParaRPr lang="en-US" sz="1000" kern="1200" dirty="0" smtClean="0">
              <a:solidFill>
                <a:schemeClr val="tx1"/>
              </a:solidFill>
              <a:effectLst/>
              <a:latin typeface="Segoe UI Light" pitchFamily="34" charset="0"/>
              <a:ea typeface="+mn-ea"/>
              <a:cs typeface="+mn-cs"/>
            </a:endParaRPr>
          </a:p>
          <a:p>
            <a:r>
              <a:rPr lang="en-US" sz="1000" kern="1200" dirty="0" smtClean="0">
                <a:solidFill>
                  <a:schemeClr val="tx1"/>
                </a:solidFill>
                <a:effectLst/>
                <a:latin typeface="Segoe UI Light" pitchFamily="34" charset="0"/>
                <a:ea typeface="+mn-ea"/>
                <a:cs typeface="+mn-cs"/>
              </a:rPr>
              <a:t>Treat Windows Azure as a giant “hard drive”. Why do we call it a giant? Windows Azure Storage has </a:t>
            </a:r>
            <a:r>
              <a:rPr lang="en-US" sz="1000" b="1" kern="1200" dirty="0" smtClean="0">
                <a:solidFill>
                  <a:schemeClr val="tx1"/>
                </a:solidFill>
                <a:effectLst/>
                <a:latin typeface="Segoe UI Light" pitchFamily="34" charset="0"/>
                <a:ea typeface="+mn-ea"/>
                <a:cs typeface="+mn-cs"/>
              </a:rPr>
              <a:t>over 4 trillion objects</a:t>
            </a:r>
            <a:r>
              <a:rPr lang="en-US" sz="1000" kern="1200" dirty="0" smtClean="0">
                <a:solidFill>
                  <a:schemeClr val="tx1"/>
                </a:solidFill>
                <a:effectLst/>
                <a:latin typeface="Segoe UI Light" pitchFamily="34" charset="0"/>
                <a:ea typeface="+mn-ea"/>
                <a:cs typeface="+mn-cs"/>
              </a:rPr>
              <a:t>, processes an average of </a:t>
            </a:r>
            <a:r>
              <a:rPr lang="en-US" sz="1000" b="1" kern="1200" dirty="0" smtClean="0">
                <a:solidFill>
                  <a:schemeClr val="tx1"/>
                </a:solidFill>
                <a:effectLst/>
                <a:latin typeface="Segoe UI Light" pitchFamily="34" charset="0"/>
                <a:ea typeface="+mn-ea"/>
                <a:cs typeface="+mn-cs"/>
              </a:rPr>
              <a:t>270,000 requests per second</a:t>
            </a:r>
            <a:r>
              <a:rPr lang="en-US" sz="1000" kern="1200" dirty="0" smtClean="0">
                <a:solidFill>
                  <a:schemeClr val="tx1"/>
                </a:solidFill>
                <a:effectLst/>
                <a:latin typeface="Segoe UI Light" pitchFamily="34" charset="0"/>
                <a:ea typeface="+mn-ea"/>
                <a:cs typeface="+mn-cs"/>
              </a:rPr>
              <a:t>, and reaches peaks of </a:t>
            </a:r>
            <a:r>
              <a:rPr lang="en-US" sz="1000" b="1" kern="1200" dirty="0" smtClean="0">
                <a:solidFill>
                  <a:schemeClr val="tx1"/>
                </a:solidFill>
                <a:effectLst/>
                <a:latin typeface="Segoe UI Light" pitchFamily="34" charset="0"/>
                <a:ea typeface="+mn-ea"/>
                <a:cs typeface="+mn-cs"/>
              </a:rPr>
              <a:t>880k requests per second</a:t>
            </a:r>
            <a:r>
              <a:rPr lang="en-US" sz="1000" kern="1200" dirty="0" smtClean="0">
                <a:solidFill>
                  <a:schemeClr val="tx1"/>
                </a:solidFill>
                <a:effectLst/>
                <a:latin typeface="Segoe UI Light" pitchFamily="34" charset="0"/>
                <a:ea typeface="+mn-ea"/>
                <a:cs typeface="+mn-cs"/>
              </a:rPr>
              <a:t>! </a:t>
            </a:r>
          </a:p>
          <a:p>
            <a:endParaRPr lang="en-US" sz="1000" kern="1200" dirty="0" smtClean="0">
              <a:solidFill>
                <a:schemeClr val="tx1"/>
              </a:solidFill>
              <a:effectLst/>
              <a:latin typeface="Segoe UI Light" pitchFamily="34" charset="0"/>
              <a:ea typeface="+mn-ea"/>
              <a:cs typeface="+mn-cs"/>
            </a:endParaRPr>
          </a:p>
          <a:p>
            <a:r>
              <a:rPr lang="en-US" sz="1000" b="0" i="0" kern="1200" dirty="0" smtClean="0">
                <a:solidFill>
                  <a:schemeClr val="tx1"/>
                </a:solidFill>
                <a:effectLst/>
                <a:latin typeface="Segoe UI Light" pitchFamily="34" charset="0"/>
                <a:ea typeface="+mn-ea"/>
                <a:cs typeface="+mn-cs"/>
              </a:rPr>
              <a:t>Windows Azure Blob</a:t>
            </a:r>
            <a:r>
              <a:rPr lang="en-US" sz="1000" b="0" i="0" kern="1200" baseline="0" dirty="0" smtClean="0">
                <a:solidFill>
                  <a:schemeClr val="tx1"/>
                </a:solidFill>
                <a:effectLst/>
                <a:latin typeface="Segoe UI Light" pitchFamily="34" charset="0"/>
                <a:ea typeface="+mn-ea"/>
                <a:cs typeface="+mn-cs"/>
              </a:rPr>
              <a:t> storage is actually the top most rated by </a:t>
            </a:r>
            <a:r>
              <a:rPr lang="en-US" sz="1000" b="0" i="0" kern="1200" baseline="0" dirty="0" err="1" smtClean="0">
                <a:solidFill>
                  <a:schemeClr val="tx1"/>
                </a:solidFill>
                <a:effectLst/>
                <a:latin typeface="Segoe UI Light" pitchFamily="34" charset="0"/>
                <a:ea typeface="+mn-ea"/>
                <a:cs typeface="+mn-cs"/>
              </a:rPr>
              <a:t>Nasuni</a:t>
            </a:r>
            <a:r>
              <a:rPr lang="en-US" sz="1000" b="0" i="0" kern="1200" baseline="0" dirty="0" smtClean="0">
                <a:solidFill>
                  <a:schemeClr val="tx1"/>
                </a:solidFill>
                <a:effectLst/>
                <a:latin typeface="Segoe UI Light" pitchFamily="34" charset="0"/>
                <a:ea typeface="+mn-ea"/>
                <a:cs typeface="+mn-cs"/>
              </a:rPr>
              <a:t> Cloud storage report. This ranking is based on a number of factors like read/write speeds, availability and performance metrics.</a:t>
            </a:r>
            <a:endParaRPr lang="en-US" sz="1000" b="0" i="0" kern="1200" dirty="0" smtClean="0">
              <a:solidFill>
                <a:schemeClr val="tx1"/>
              </a:solidFill>
              <a:effectLst/>
              <a:latin typeface="Segoe UI Light" pitchFamily="34" charset="0"/>
              <a:ea typeface="+mn-ea"/>
              <a:cs typeface="+mn-cs"/>
            </a:endParaRPr>
          </a:p>
          <a:p>
            <a:endParaRPr lang="en-US" dirty="0">
              <a:effectLst/>
            </a:endParaRPr>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CE9C9E2-4F66-4727-BFFF-194B4CCF1B92}"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3900993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lide Objectives</a:t>
            </a:r>
          </a:p>
          <a:p>
            <a:pPr marL="171450" indent="-171450">
              <a:buFont typeface="Arial" pitchFamily="34" charset="0"/>
              <a:buChar char="•"/>
            </a:pPr>
            <a:r>
              <a:rPr lang="en-US" b="0" dirty="0" smtClean="0"/>
              <a:t>Understand Drives Mounting and Caching</a:t>
            </a:r>
          </a:p>
          <a:p>
            <a:endParaRPr lang="en-US" dirty="0" smtClean="0"/>
          </a:p>
          <a:p>
            <a:r>
              <a:rPr lang="en-US" b="1" dirty="0" smtClean="0"/>
              <a:t>Speaker Notes</a:t>
            </a:r>
          </a:p>
          <a:p>
            <a:pPr marL="171450" indent="-171450">
              <a:buFont typeface="Arial" pitchFamily="34" charset="0"/>
              <a:buChar char="•"/>
            </a:pPr>
            <a:r>
              <a:rPr lang="en-NZ" dirty="0" smtClean="0"/>
              <a:t>A Windows Azure drive acts as a local drive mounted on the file system and is accessible to code running in a role. </a:t>
            </a:r>
          </a:p>
          <a:p>
            <a:pPr marL="171450" indent="-171450">
              <a:buFont typeface="Arial" pitchFamily="34" charset="0"/>
              <a:buChar char="•"/>
            </a:pPr>
            <a:r>
              <a:rPr lang="en-NZ" dirty="0" smtClean="0"/>
              <a:t>The data written to a Windows Azure drive is stored in a page blob defined within the Windows Azure Blob service, and cached on the local file system.</a:t>
            </a:r>
          </a:p>
          <a:p>
            <a:pPr marL="171450" indent="-171450">
              <a:buFont typeface="Arial" pitchFamily="34" charset="0"/>
              <a:buChar char="•"/>
            </a:pPr>
            <a:r>
              <a:rPr lang="en-NZ" dirty="0" smtClean="0"/>
              <a:t>Because data written to the drive is stored in a page blob, the data is Durable.</a:t>
            </a:r>
            <a:endParaRPr lang="en-US" baseline="0" dirty="0" smtClean="0"/>
          </a:p>
          <a:p>
            <a:pPr marL="0" indent="0">
              <a:buFont typeface="Arial" pitchFamily="34" charset="0"/>
              <a:buNone/>
            </a:pPr>
            <a:r>
              <a:rPr lang="en-US" b="1" baseline="0" dirty="0" smtClean="0"/>
              <a:t>Notes</a:t>
            </a:r>
          </a:p>
          <a:p>
            <a:r>
              <a:rPr lang="en-US" dirty="0" smtClean="0"/>
              <a:t>http://blogs.msdn.com/b/windowsazure/archive/2009/11/05/introducing-the-windows-azure-content-delivery-network.aspx</a:t>
            </a:r>
          </a:p>
          <a:p>
            <a:endParaRPr lang="en-US" dirty="0" smtClean="0"/>
          </a:p>
          <a:p>
            <a:endParaRPr lang="en-US" dirty="0" smtClean="0"/>
          </a:p>
          <a:p>
            <a:endParaRPr lang="en-US" dirty="0" smtClean="0"/>
          </a:p>
          <a:p>
            <a:endParaRPr lang="en-US" dirty="0" smtClean="0"/>
          </a:p>
          <a:p>
            <a:pPr marL="0" marR="0" lvl="1"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0841065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ust like on premises infrastructure, your cloud infrastructure will need name resolution.</a:t>
            </a:r>
            <a:r>
              <a:rPr lang="en-US" baseline="0" dirty="0" smtClean="0"/>
              <a:t>  You can use Azure DNS for name resolution which is particularly helpful when you are running Platform as a service or applications on Azure.  Name resolution is easy in Azure since it is built into the platform.  However, you need to consider that there are two types of resolution.  There is resolution for “internal servers” (your 192.168. or 10.10 addresses) and external name resolution www.xxxx.com.  For Internal Host Name resolution, the boundary for a network is a cloud service.  This means that if you have multiple cloud services, even if they are on the same network, Azure internal host name resolution will not work using Azure DNS.  Often when you configure servers that need to communicate with each other using host names, they will be on the same cloud service anyway.  If you do need to have name resolution across cloud services, you can simply stand up your own DNS servers.  You can integrate with your on premises DNS, stand up a dedicated DNS for your cloud network or even use a hybrid approach.  In any case, you can make sure you have redundancy and reliability throughout.</a:t>
            </a:r>
            <a:endParaRPr lang="en-US" dirty="0"/>
          </a:p>
        </p:txBody>
      </p:sp>
      <p:sp>
        <p:nvSpPr>
          <p:cNvPr id="4" name="Slide Number Placeholder 3"/>
          <p:cNvSpPr>
            <a:spLocks noGrp="1"/>
          </p:cNvSpPr>
          <p:nvPr>
            <p:ph type="sldNum" sz="quarter" idx="10"/>
          </p:nvPr>
        </p:nvSpPr>
        <p:spPr/>
        <p:txBody>
          <a:bodyPr/>
          <a:lstStyle/>
          <a:p>
            <a:fld id="{C4CA44E0-6ABB-4CBD-8351-69864DC90CE7}" type="slidenum">
              <a:rPr lang="en-US" smtClean="0"/>
              <a:t>12</a:t>
            </a:fld>
            <a:endParaRPr lang="en-US"/>
          </a:p>
        </p:txBody>
      </p:sp>
    </p:spTree>
    <p:extLst>
      <p:ext uri="{BB962C8B-B14F-4D97-AF65-F5344CB8AC3E}">
        <p14:creationId xmlns:p14="http://schemas.microsoft.com/office/powerpoint/2010/main" val="39908334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4013" y="696913"/>
            <a:ext cx="6197600"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 </a:t>
            </a:r>
            <a:r>
              <a:rPr lang="en-NZ" dirty="0" smtClean="0"/>
              <a:t>Explain availability</a:t>
            </a:r>
            <a:r>
              <a:rPr lang="en-NZ" baseline="0" dirty="0" smtClean="0"/>
              <a:t> sets</a:t>
            </a:r>
          </a:p>
          <a:p>
            <a:endParaRPr lang="en-NZ" baseline="0" dirty="0" smtClean="0"/>
          </a:p>
          <a:p>
            <a:r>
              <a:rPr lang="en-NZ" b="1" baseline="0" dirty="0" smtClean="0"/>
              <a:t>Key Talking Points:</a:t>
            </a:r>
            <a:endParaRPr lang="en-NZ" b="1" dirty="0" smtClean="0"/>
          </a:p>
          <a:p>
            <a:pPr marL="285750" indent="-285750">
              <a:buFont typeface="Arial" panose="020B0604020202020204" pitchFamily="34" charset="0"/>
              <a:buChar char="•"/>
            </a:pPr>
            <a:r>
              <a:rPr lang="en-NZ" dirty="0" smtClean="0"/>
              <a:t>Availability sets</a:t>
            </a:r>
            <a:r>
              <a:rPr lang="en-NZ" baseline="0" dirty="0" smtClean="0"/>
              <a:t> tell the Fabric Controller to place VMs in the same set on different racks for faults and in separate upgrade domains for updates. </a:t>
            </a:r>
          </a:p>
          <a:p>
            <a:pPr marL="285750" indent="-285750">
              <a:buFont typeface="Arial" panose="020B0604020202020204" pitchFamily="34" charset="0"/>
              <a:buChar char="•"/>
            </a:pPr>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5561609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 </a:t>
            </a:r>
            <a:r>
              <a:rPr lang="en-US" dirty="0" smtClean="0"/>
              <a:t>Discuss</a:t>
            </a:r>
            <a:r>
              <a:rPr lang="en-US" baseline="0" dirty="0" smtClean="0"/>
              <a:t> how to achieve an SLA of 99.95% for VMs</a:t>
            </a:r>
          </a:p>
          <a:p>
            <a:endParaRPr lang="en-US" baseline="0" dirty="0" smtClean="0"/>
          </a:p>
          <a:p>
            <a:r>
              <a:rPr lang="en-US" b="1" baseline="0" dirty="0" smtClean="0"/>
              <a:t>Key Talking Points:</a:t>
            </a:r>
          </a:p>
          <a:p>
            <a:pPr marL="285750" indent="-285750">
              <a:buFont typeface="Arial" panose="020B0604020202020204" pitchFamily="34" charset="0"/>
              <a:buChar char="•"/>
            </a:pPr>
            <a:r>
              <a:rPr lang="en-US" b="0" baseline="0" dirty="0" smtClean="0"/>
              <a:t>Configuring at least two VMs performing the same workload in the same availability set provides a 99.95% SLA</a:t>
            </a:r>
          </a:p>
          <a:p>
            <a:pPr marL="285750" indent="-285750">
              <a:buFont typeface="Arial" panose="020B0604020202020204" pitchFamily="34" charset="0"/>
              <a:buChar char="•"/>
            </a:pPr>
            <a:r>
              <a:rPr lang="en-US" b="0" baseline="0" smtClean="0"/>
              <a:t>Virtual </a:t>
            </a:r>
            <a:r>
              <a:rPr lang="en-US" b="0" baseline="0" dirty="0" smtClean="0"/>
              <a:t>Network SLA = 99.9%</a:t>
            </a:r>
          </a:p>
          <a:p>
            <a:pPr marL="285750" indent="-285750">
              <a:buFont typeface="Arial" panose="020B0604020202020204" pitchFamily="34" charset="0"/>
              <a:buChar char="•"/>
            </a:pPr>
            <a:r>
              <a:rPr lang="en-US" b="0" baseline="0" dirty="0" smtClean="0"/>
              <a:t>VMs in same availability set are automatically placed in separate upgrade and failure domains ( racks ) within a datacenter.</a:t>
            </a:r>
          </a:p>
          <a:p>
            <a:pPr marL="285750" indent="-285750">
              <a:buFont typeface="Arial" panose="020B0604020202020204" pitchFamily="34" charset="0"/>
              <a:buChar char="•"/>
            </a:pPr>
            <a:r>
              <a:rPr lang="en-US" b="0" baseline="0" dirty="0" smtClean="0"/>
              <a:t>Azure SLA is more granular than competition – mapped to availability of specific infrastructure components that are hosting VMs, instead of generically mapped to edge of a datacenter region</a:t>
            </a:r>
          </a:p>
          <a:p>
            <a:pPr marL="285750" indent="-285750">
              <a:buFont typeface="Arial" panose="020B0604020202020204" pitchFamily="34" charset="0"/>
              <a:buChar char="•"/>
            </a:pPr>
            <a:r>
              <a:rPr lang="en-US" b="0" baseline="0" dirty="0" smtClean="0"/>
              <a:t>SLA for VM’s based on monthly availability instead of annual availability ( most of competition ).</a:t>
            </a:r>
          </a:p>
          <a:p>
            <a:pPr marL="285750" indent="-285750">
              <a:buFont typeface="Arial" panose="020B0604020202020204" pitchFamily="34" charset="0"/>
              <a:buChar char="•"/>
            </a:pPr>
            <a:r>
              <a:rPr lang="en-US" b="0" dirty="0" smtClean="0"/>
              <a:t>Complete SLA for VMs available at http://www.microsoft.com/en-us/download/details.aspx?id=38427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3089322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 </a:t>
            </a:r>
            <a:r>
              <a:rPr lang="en-US" b="0" baseline="0" dirty="0" smtClean="0"/>
              <a:t>Introduce Hybrid Cross-Premises Scenario with Site-to-Site VPN support.</a:t>
            </a:r>
          </a:p>
          <a:p>
            <a:endParaRPr lang="en-US" b="0" baseline="0" dirty="0" smtClean="0"/>
          </a:p>
          <a:p>
            <a:r>
              <a:rPr lang="en-US" b="1" baseline="0" dirty="0" smtClean="0"/>
              <a:t>Limit: </a:t>
            </a:r>
            <a:r>
              <a:rPr lang="en-US" b="0" baseline="0" dirty="0" smtClean="0"/>
              <a:t>Only 1 Site-to-Site VPN Tunnel per Virtual Network</a:t>
            </a:r>
          </a:p>
          <a:p>
            <a:endParaRPr lang="en-US" b="0" baseline="0" dirty="0" smtClean="0"/>
          </a:p>
          <a:p>
            <a:r>
              <a:rPr lang="en-US" b="1" baseline="0" dirty="0" smtClean="0"/>
              <a:t>Availability: </a:t>
            </a:r>
            <a:r>
              <a:rPr lang="en-US" b="0" baseline="0" dirty="0" smtClean="0"/>
              <a:t>HSRP or VRRP can be used for a redundant pair of on-premises VPN devices.  </a:t>
            </a:r>
          </a:p>
          <a:p>
            <a:endParaRPr lang="en-US" b="1" dirty="0" smtClean="0"/>
          </a:p>
          <a:p>
            <a:r>
              <a:rPr lang="en-US" b="1" dirty="0" smtClean="0"/>
              <a:t>List of compatible ( tested ) on-premises VPN Gateways: </a:t>
            </a:r>
            <a:r>
              <a:rPr lang="en-US" dirty="0" smtClean="0"/>
              <a:t>http://msdn.microsoft.com/en-us/library/windowsazure/jj156075.aspx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41533300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5977271-ECE5-4812-A79D-0C8F6032CADD}"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7512703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ne of the biggest challenges to creating a single user identity for each user is to </a:t>
            </a:r>
            <a:r>
              <a:rPr lang="en-US" b="1" dirty="0" smtClean="0"/>
              <a:t>get all the various identity attributes together and consistent</a:t>
            </a:r>
            <a:r>
              <a:rPr lang="en-US" dirty="0" smtClean="0"/>
              <a:t> across an environment.</a:t>
            </a:r>
          </a:p>
          <a:p>
            <a:r>
              <a:rPr lang="en-US" b="1" dirty="0" smtClean="0"/>
              <a:t>[BUILD]</a:t>
            </a:r>
          </a:p>
          <a:p>
            <a:r>
              <a:rPr lang="en-US" dirty="0" smtClean="0"/>
              <a:t>Many</a:t>
            </a:r>
            <a:r>
              <a:rPr lang="en-US" baseline="0" dirty="0" smtClean="0"/>
              <a:t> items maintain some aspect of who we are, and require some knowledge of who we are to determine what kind of access we will have.</a:t>
            </a:r>
          </a:p>
          <a:p>
            <a:r>
              <a:rPr lang="en-US" b="1" dirty="0" smtClean="0"/>
              <a:t>[BUILD]</a:t>
            </a:r>
          </a:p>
          <a:p>
            <a:r>
              <a:rPr lang="en-US" dirty="0" smtClean="0"/>
              <a:t>One option to manage identities locally for all of your users and their needs is </a:t>
            </a:r>
            <a:r>
              <a:rPr lang="en-US" b="1" dirty="0" smtClean="0"/>
              <a:t>Forefront Identity Manager</a:t>
            </a:r>
            <a:r>
              <a:rPr lang="en-US" dirty="0" smtClean="0"/>
              <a:t>.  FIM provides an extensible sync engine that can bring together all the attributes from the various locations into a single view of the user and keep them up to date as they</a:t>
            </a:r>
            <a:r>
              <a:rPr lang="en-US" baseline="0" dirty="0" smtClean="0"/>
              <a:t> change across a number of identity directories.</a:t>
            </a:r>
          </a:p>
        </p:txBody>
      </p:sp>
      <p:sp>
        <p:nvSpPr>
          <p:cNvPr id="4" name="Date Placeholder 3"/>
          <p:cNvSpPr>
            <a:spLocks noGrp="1"/>
          </p:cNvSpPr>
          <p:nvPr>
            <p:ph type="dt" idx="10"/>
          </p:nvPr>
        </p:nvSpPr>
        <p:spPr/>
        <p:txBody>
          <a:bodyPr/>
          <a:lstStyle/>
          <a:p>
            <a:fld id="{7FEEDBE2-F352-4F07-8C95-AC77F8E48FB5}" type="datetime1">
              <a:rPr lang="en-US" smtClean="0">
                <a:solidFill>
                  <a:prstClr val="black"/>
                </a:solidFill>
              </a:rPr>
              <a:pPr/>
              <a:t>10/15/2015</a:t>
            </a:fld>
            <a:endParaRPr lang="en-US" dirty="0">
              <a:solidFill>
                <a:prstClr val="black"/>
              </a:solidFill>
            </a:endParaRPr>
          </a:p>
        </p:txBody>
      </p:sp>
      <p:sp>
        <p:nvSpPr>
          <p:cNvPr id="5" name="Footer Placeholder 4"/>
          <p:cNvSpPr>
            <a:spLocks noGrp="1"/>
          </p:cNvSpPr>
          <p:nvPr>
            <p:ph type="ftr" sz="quarter" idx="11"/>
          </p:nvPr>
        </p:nvSpPr>
        <p:spPr>
          <a:xfrm>
            <a:off x="0" y="8824803"/>
            <a:ext cx="5936844" cy="361619"/>
          </a:xfrm>
          <a:prstGeom prst="rect">
            <a:avLst/>
          </a:prstGeom>
        </p:spPr>
        <p:txBody>
          <a:bodyPr/>
          <a:lstStyle/>
          <a:p>
            <a:pPr defTabSz="920215"/>
            <a:r>
              <a:rPr lang="en-US" sz="180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pPr defTabSz="920215"/>
            <a:r>
              <a:rPr lang="en-US" sz="180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1800">
                <a:solidFill>
                  <a:srgbClr val="000000"/>
                </a:solidFill>
                <a:latin typeface="Segoe UI" pitchFamily="34" charset="0"/>
              </a:rPr>
            </a:br>
            <a:r>
              <a:rPr lang="en-US" sz="1800">
                <a:solidFill>
                  <a:srgbClr val="000000"/>
                </a:solidFill>
                <a:latin typeface="Segoe UI" pitchFamily="34" charset="0"/>
              </a:rPr>
              <a:t>MICROSOFT MAKES NO WARRANTIES, EXPRESS, IMPLIED OR STATUTORY, AS TO THE INFORMATION IN THIS PRESENTATION.</a:t>
            </a:r>
            <a:endParaRPr lang="en-US" sz="1800" dirty="0">
              <a:solidFill>
                <a:srgbClr val="000000"/>
              </a:solidFill>
              <a:latin typeface="Segoe UI" pitchFamily="34" charset="0"/>
            </a:endParaRPr>
          </a:p>
        </p:txBody>
      </p:sp>
      <p:sp>
        <p:nvSpPr>
          <p:cNvPr id="6" name="Slide Number Placeholder 5"/>
          <p:cNvSpPr>
            <a:spLocks noGrp="1"/>
          </p:cNvSpPr>
          <p:nvPr>
            <p:ph type="sldNum" sz="quarter" idx="12"/>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751287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243" eaLnBrk="0" hangingPunct="0">
              <a:defRPr sz="2300" b="1">
                <a:solidFill>
                  <a:schemeClr val="tx1"/>
                </a:solidFill>
                <a:latin typeface="Arial" charset="0"/>
                <a:ea typeface="ＭＳ Ｐゴシック" pitchFamily="34" charset="-128"/>
              </a:defRPr>
            </a:lvl1pPr>
            <a:lvl2pPr marL="707198" indent="-272000" defTabSz="917243" eaLnBrk="0" hangingPunct="0">
              <a:defRPr sz="2300" b="1">
                <a:solidFill>
                  <a:schemeClr val="tx1"/>
                </a:solidFill>
                <a:latin typeface="Arial" charset="0"/>
                <a:ea typeface="ＭＳ Ｐゴシック" pitchFamily="34" charset="-128"/>
              </a:defRPr>
            </a:lvl2pPr>
            <a:lvl3pPr marL="1087997" indent="-217600" defTabSz="917243" eaLnBrk="0" hangingPunct="0">
              <a:defRPr sz="2300" b="1">
                <a:solidFill>
                  <a:schemeClr val="tx1"/>
                </a:solidFill>
                <a:latin typeface="Arial" charset="0"/>
                <a:ea typeface="ＭＳ Ｐゴシック" pitchFamily="34" charset="-128"/>
              </a:defRPr>
            </a:lvl3pPr>
            <a:lvl4pPr marL="1523195" indent="-217600" defTabSz="917243" eaLnBrk="0" hangingPunct="0">
              <a:defRPr sz="2300" b="1">
                <a:solidFill>
                  <a:schemeClr val="tx1"/>
                </a:solidFill>
                <a:latin typeface="Arial" charset="0"/>
                <a:ea typeface="ＭＳ Ｐゴシック" pitchFamily="34" charset="-128"/>
              </a:defRPr>
            </a:lvl4pPr>
            <a:lvl5pPr marL="1958395" indent="-217600" defTabSz="917243" eaLnBrk="0" hangingPunct="0">
              <a:defRPr sz="2300" b="1">
                <a:solidFill>
                  <a:schemeClr val="tx1"/>
                </a:solidFill>
                <a:latin typeface="Arial" charset="0"/>
                <a:ea typeface="ＭＳ Ｐゴシック" pitchFamily="34" charset="-128"/>
              </a:defRPr>
            </a:lvl5pPr>
            <a:lvl6pPr marL="2393594" indent="-217600" defTabSz="917243" eaLnBrk="0" fontAlgn="base" hangingPunct="0">
              <a:spcBef>
                <a:spcPct val="0"/>
              </a:spcBef>
              <a:spcAft>
                <a:spcPct val="0"/>
              </a:spcAft>
              <a:defRPr sz="2300" b="1">
                <a:solidFill>
                  <a:schemeClr val="tx1"/>
                </a:solidFill>
                <a:latin typeface="Arial" charset="0"/>
                <a:ea typeface="ＭＳ Ｐゴシック" pitchFamily="34" charset="-128"/>
              </a:defRPr>
            </a:lvl6pPr>
            <a:lvl7pPr marL="2828793" indent="-217600" defTabSz="917243" eaLnBrk="0" fontAlgn="base" hangingPunct="0">
              <a:spcBef>
                <a:spcPct val="0"/>
              </a:spcBef>
              <a:spcAft>
                <a:spcPct val="0"/>
              </a:spcAft>
              <a:defRPr sz="2300" b="1">
                <a:solidFill>
                  <a:schemeClr val="tx1"/>
                </a:solidFill>
                <a:latin typeface="Arial" charset="0"/>
                <a:ea typeface="ＭＳ Ｐゴシック" pitchFamily="34" charset="-128"/>
              </a:defRPr>
            </a:lvl7pPr>
            <a:lvl8pPr marL="3263992" indent="-217600" defTabSz="917243" eaLnBrk="0" fontAlgn="base" hangingPunct="0">
              <a:spcBef>
                <a:spcPct val="0"/>
              </a:spcBef>
              <a:spcAft>
                <a:spcPct val="0"/>
              </a:spcAft>
              <a:defRPr sz="2300" b="1">
                <a:solidFill>
                  <a:schemeClr val="tx1"/>
                </a:solidFill>
                <a:latin typeface="Arial" charset="0"/>
                <a:ea typeface="ＭＳ Ｐゴシック" pitchFamily="34" charset="-128"/>
              </a:defRPr>
            </a:lvl8pPr>
            <a:lvl9pPr marL="3699191" indent="-217600" defTabSz="917243" eaLnBrk="0" fontAlgn="base" hangingPunct="0">
              <a:spcBef>
                <a:spcPct val="0"/>
              </a:spcBef>
              <a:spcAft>
                <a:spcPct val="0"/>
              </a:spcAft>
              <a:defRPr sz="2300" b="1">
                <a:solidFill>
                  <a:schemeClr val="tx1"/>
                </a:solidFill>
                <a:latin typeface="Arial" charset="0"/>
                <a:ea typeface="ＭＳ Ｐゴシック" pitchFamily="34" charset="-128"/>
              </a:defRPr>
            </a:lvl9pPr>
          </a:lstStyle>
          <a:p>
            <a:fld id="{2BC3CD57-03CC-4190-A97A-2FD4B4B29114}" type="slidenum">
              <a:rPr lang="en-US" sz="1200" b="0">
                <a:solidFill>
                  <a:prstClr val="black"/>
                </a:solidFill>
              </a:rPr>
              <a:pPr/>
              <a:t>19</a:t>
            </a:fld>
            <a:endParaRPr lang="en-US" sz="1200" b="0">
              <a:solidFill>
                <a:prstClr val="black"/>
              </a:solidFill>
            </a:endParaRPr>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The main point is…</a:t>
            </a:r>
            <a:endParaRPr lang="en-US" dirty="0"/>
          </a:p>
        </p:txBody>
      </p:sp>
    </p:spTree>
    <p:extLst>
      <p:ext uri="{BB962C8B-B14F-4D97-AF65-F5344CB8AC3E}">
        <p14:creationId xmlns:p14="http://schemas.microsoft.com/office/powerpoint/2010/main" val="15153203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a:t>
            </a:r>
            <a:r>
              <a:rPr lang="en-US" baseline="0" dirty="0" smtClean="0"/>
              <a:t> a little more of a deeper drill-down of those options, plus one other.</a:t>
            </a:r>
            <a:endParaRPr lang="en-US" dirty="0" smtClean="0"/>
          </a:p>
          <a:p>
            <a:endParaRPr lang="en-US" dirty="0" smtClean="0"/>
          </a:p>
          <a:p>
            <a:r>
              <a:rPr lang="en-US" dirty="0" smtClean="0"/>
              <a:t>There are 3 primary scenarios for user</a:t>
            </a:r>
            <a:r>
              <a:rPr lang="en-US" baseline="0" dirty="0" smtClean="0"/>
              <a:t> identities across on-premises and in the cloud, plus B2B.</a:t>
            </a:r>
          </a:p>
          <a:p>
            <a:endParaRPr lang="en-US" baseline="0" dirty="0" smtClean="0"/>
          </a:p>
          <a:p>
            <a:endParaRPr lang="en-US" dirty="0" smtClean="0"/>
          </a:p>
          <a:p>
            <a:pPr marL="230063" indent="-230063" defTabSz="938712">
              <a:lnSpc>
                <a:spcPct val="90000"/>
              </a:lnSpc>
              <a:spcAft>
                <a:spcPts val="342"/>
              </a:spcAft>
              <a:buFont typeface="+mj-lt"/>
              <a:buAutoNum type="arabicPeriod"/>
              <a:defRPr/>
            </a:pPr>
            <a:r>
              <a:rPr lang="en-US" sz="900" b="1" dirty="0">
                <a:solidFill>
                  <a:srgbClr val="008272"/>
                </a:solidFill>
              </a:rPr>
              <a:t>Cloud identity </a:t>
            </a:r>
            <a:r>
              <a:rPr lang="en-US" sz="900" dirty="0">
                <a:solidFill>
                  <a:srgbClr val="969696">
                    <a:lumMod val="50000"/>
                  </a:srgbClr>
                </a:solidFill>
              </a:rPr>
              <a:t>provides a solution where all identity including passwords reside in the cloud.  In this scenario, authentication happens in the cloud.</a:t>
            </a:r>
          </a:p>
          <a:p>
            <a:pPr marL="230063" indent="-230063" defTabSz="938712">
              <a:lnSpc>
                <a:spcPct val="90000"/>
              </a:lnSpc>
              <a:spcAft>
                <a:spcPts val="342"/>
              </a:spcAft>
              <a:buFont typeface="+mj-lt"/>
              <a:buAutoNum type="arabicPeriod"/>
              <a:defRPr/>
            </a:pPr>
            <a:r>
              <a:rPr lang="en-US" sz="900" b="1" dirty="0">
                <a:solidFill>
                  <a:srgbClr val="008272"/>
                </a:solidFill>
              </a:rPr>
              <a:t>Identity sync </a:t>
            </a:r>
            <a:r>
              <a:rPr lang="en-US" sz="900" dirty="0">
                <a:solidFill>
                  <a:srgbClr val="969696">
                    <a:lumMod val="50000"/>
                  </a:srgbClr>
                </a:solidFill>
              </a:rPr>
              <a:t>enables customers to bridge their existing identity into the cloud, passwords are in sync between on-premises and in the cloud, and therefore authentication can occur in either location (depending on what resource is accessed)</a:t>
            </a:r>
          </a:p>
          <a:p>
            <a:pPr marL="230063" indent="-230063" defTabSz="938712">
              <a:lnSpc>
                <a:spcPct val="90000"/>
              </a:lnSpc>
              <a:spcAft>
                <a:spcPts val="342"/>
              </a:spcAft>
              <a:buFont typeface="+mj-lt"/>
              <a:buAutoNum type="arabicPeriod"/>
              <a:defRPr/>
            </a:pPr>
            <a:r>
              <a:rPr lang="en-US" sz="900" b="1" dirty="0">
                <a:solidFill>
                  <a:srgbClr val="008272"/>
                </a:solidFill>
              </a:rPr>
              <a:t>Federated identity </a:t>
            </a:r>
            <a:r>
              <a:rPr lang="en-US" sz="900" dirty="0">
                <a:solidFill>
                  <a:srgbClr val="969696">
                    <a:lumMod val="50000"/>
                  </a:srgbClr>
                </a:solidFill>
              </a:rPr>
              <a:t>allows customers to retain all authentication on-premises, passwords are only stored on-premises and all authentication is passed back through AD FS to AD.</a:t>
            </a:r>
          </a:p>
          <a:p>
            <a:pPr marL="230063" indent="-230063" defTabSz="938712">
              <a:lnSpc>
                <a:spcPct val="90000"/>
              </a:lnSpc>
              <a:spcAft>
                <a:spcPts val="342"/>
              </a:spcAft>
              <a:buFont typeface="+mj-lt"/>
              <a:buAutoNum type="arabicPeriod"/>
              <a:defRPr/>
            </a:pPr>
            <a:r>
              <a:rPr lang="en-US" sz="900" b="1" dirty="0">
                <a:solidFill>
                  <a:srgbClr val="008272"/>
                </a:solidFill>
              </a:rPr>
              <a:t>B2B federated identity </a:t>
            </a:r>
            <a:r>
              <a:rPr lang="en-US" sz="900" dirty="0">
                <a:solidFill>
                  <a:srgbClr val="969696">
                    <a:lumMod val="50000"/>
                  </a:srgbClr>
                </a:solidFill>
              </a:rPr>
              <a:t>allows customers to securely share and collaborate with each other, with each side delegating access to the others resources.</a:t>
            </a:r>
          </a:p>
          <a:p>
            <a:endParaRPr lang="en-US" dirty="0" smtClean="0"/>
          </a:p>
          <a:p>
            <a:endParaRPr lang="en-US" dirty="0"/>
          </a:p>
        </p:txBody>
      </p:sp>
      <p:sp>
        <p:nvSpPr>
          <p:cNvPr id="4" name="Date Placeholder 3"/>
          <p:cNvSpPr>
            <a:spLocks noGrp="1"/>
          </p:cNvSpPr>
          <p:nvPr>
            <p:ph type="dt" idx="10"/>
          </p:nvPr>
        </p:nvSpPr>
        <p:spPr/>
        <p:txBody>
          <a:bodyPr/>
          <a:lstStyle/>
          <a:p>
            <a:fld id="{7FEEDBE2-F352-4F07-8C95-AC77F8E48FB5}" type="datetime1">
              <a:rPr lang="en-US" smtClean="0">
                <a:solidFill>
                  <a:prstClr val="black"/>
                </a:solidFill>
              </a:rPr>
              <a:pPr/>
              <a:t>10/15/2015</a:t>
            </a:fld>
            <a:endParaRPr lang="en-US" dirty="0">
              <a:solidFill>
                <a:prstClr val="black"/>
              </a:solidFill>
            </a:endParaRPr>
          </a:p>
        </p:txBody>
      </p:sp>
      <p:sp>
        <p:nvSpPr>
          <p:cNvPr id="5" name="Footer Placeholder 4"/>
          <p:cNvSpPr>
            <a:spLocks noGrp="1"/>
          </p:cNvSpPr>
          <p:nvPr>
            <p:ph type="ftr" sz="quarter" idx="11"/>
          </p:nvPr>
        </p:nvSpPr>
        <p:spPr>
          <a:xfrm>
            <a:off x="0" y="8824803"/>
            <a:ext cx="5936844" cy="361619"/>
          </a:xfrm>
          <a:prstGeom prst="rect">
            <a:avLst/>
          </a:prstGeom>
        </p:spPr>
        <p:txBody>
          <a:bodyPr/>
          <a:lstStyle/>
          <a:p>
            <a:pPr defTabSz="920215"/>
            <a:r>
              <a:rPr lang="en-US" sz="180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pPr defTabSz="920215"/>
            <a:r>
              <a:rPr lang="en-US" sz="180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1800">
                <a:solidFill>
                  <a:srgbClr val="000000"/>
                </a:solidFill>
                <a:latin typeface="Segoe UI" pitchFamily="34" charset="0"/>
              </a:rPr>
            </a:br>
            <a:r>
              <a:rPr lang="en-US" sz="1800">
                <a:solidFill>
                  <a:srgbClr val="000000"/>
                </a:solidFill>
                <a:latin typeface="Segoe UI" pitchFamily="34" charset="0"/>
              </a:rPr>
              <a:t>MICROSOFT MAKES NO WARRANTIES, EXPRESS, IMPLIED OR STATUTORY, AS TO THE INFORMATION IN THIS PRESENTATION.</a:t>
            </a:r>
            <a:endParaRPr lang="en-US" sz="1800" dirty="0">
              <a:solidFill>
                <a:srgbClr val="000000"/>
              </a:solidFill>
              <a:latin typeface="Segoe UI" pitchFamily="34" charset="0"/>
            </a:endParaRPr>
          </a:p>
        </p:txBody>
      </p:sp>
      <p:sp>
        <p:nvSpPr>
          <p:cNvPr id="6" name="Slide Number Placeholder 5"/>
          <p:cNvSpPr>
            <a:spLocks noGrp="1"/>
          </p:cNvSpPr>
          <p:nvPr>
            <p:ph type="sldNum" sz="quarter" idx="12"/>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8611433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http://www.gartner.com/newsroom/id/2819918</a:t>
            </a:r>
          </a:p>
          <a:p>
            <a:endParaRPr lang="en-US" dirty="0"/>
          </a:p>
        </p:txBody>
      </p:sp>
      <p:sp>
        <p:nvSpPr>
          <p:cNvPr id="4" name="Slide Number Placeholder 3"/>
          <p:cNvSpPr>
            <a:spLocks noGrp="1"/>
          </p:cNvSpPr>
          <p:nvPr>
            <p:ph type="sldNum" sz="quarter" idx="10"/>
          </p:nvPr>
        </p:nvSpPr>
        <p:spPr/>
        <p:txBody>
          <a:bodyPr/>
          <a:lstStyle/>
          <a:p>
            <a:fld id="{C4CFC189-1325-45DD-B8CC-E1969B85FDB1}" type="slidenum">
              <a:rPr lang="en-US" smtClean="0"/>
              <a:t>2</a:t>
            </a:fld>
            <a:endParaRPr lang="en-US"/>
          </a:p>
        </p:txBody>
      </p:sp>
    </p:spTree>
    <p:extLst>
      <p:ext uri="{BB962C8B-B14F-4D97-AF65-F5344CB8AC3E}">
        <p14:creationId xmlns:p14="http://schemas.microsoft.com/office/powerpoint/2010/main" val="4702584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Segoe UI Light" pitchFamily="34" charset="0"/>
              </a:rPr>
              <a:t>Azure Active Directory is many more things than just a directory.</a:t>
            </a:r>
          </a:p>
          <a:p>
            <a:endParaRPr lang="en-US" sz="1000" dirty="0">
              <a:latin typeface="Segoe UI Light" pitchFamily="34" charset="0"/>
            </a:endParaRPr>
          </a:p>
          <a:p>
            <a:r>
              <a:rPr lang="en-US" sz="1000" dirty="0">
                <a:latin typeface="Segoe UI Light" pitchFamily="34" charset="0"/>
              </a:rPr>
              <a:t>Of course it offers directory services. Office 365 is the most visible example of a cloud app based on Azure AD for directory services.</a:t>
            </a:r>
          </a:p>
          <a:p>
            <a:r>
              <a:rPr lang="en-US" dirty="0" smtClean="0"/>
              <a:t>Basically because of Office 365 we are processing </a:t>
            </a:r>
            <a:r>
              <a:rPr lang="en-US" b="1" dirty="0" smtClean="0"/>
              <a:t>more than 12 Billion authentications/week</a:t>
            </a:r>
            <a:r>
              <a:rPr lang="en-US" b="1" baseline="0" dirty="0" smtClean="0"/>
              <a:t> </a:t>
            </a:r>
            <a:r>
              <a:rPr lang="en-US" dirty="0" smtClean="0"/>
              <a:t>. This is a real testament to the level of scale we can handle! You might also be interested to learn that </a:t>
            </a:r>
            <a:r>
              <a:rPr lang="en-US" b="1" dirty="0" smtClean="0"/>
              <a:t>more than 1.4 million business, schools, government agencies and non-profits </a:t>
            </a:r>
            <a:r>
              <a:rPr lang="en-US" dirty="0" smtClean="0"/>
              <a:t>are now using Azure AD in conjunction with their Microsoft cloud service subscriptions.</a:t>
            </a:r>
          </a:p>
          <a:p>
            <a:endParaRPr lang="en-US" dirty="0" smtClean="0"/>
          </a:p>
          <a:p>
            <a:r>
              <a:rPr lang="en-US" dirty="0" smtClean="0"/>
              <a:t>And maybe even more amazing is that we now have </a:t>
            </a:r>
            <a:r>
              <a:rPr lang="en-US" b="1" dirty="0" smtClean="0"/>
              <a:t>over 290 million user accounts </a:t>
            </a:r>
            <a:r>
              <a:rPr lang="en-US" dirty="0" smtClean="0"/>
              <a:t>in Azure AD from companies and organizations in 127 countries around the world. It is a good thing we're building so many data centers world wide – it looks like we're going to need them!</a:t>
            </a:r>
          </a:p>
          <a:p>
            <a:endParaRPr lang="en-US" dirty="0" smtClean="0"/>
          </a:p>
          <a:p>
            <a:r>
              <a:rPr lang="en-US" dirty="0" smtClean="0"/>
              <a:t>Azure AD Premium includes every feature of the free tier plus a very reach set of features we are going to present in this session.</a:t>
            </a:r>
          </a:p>
          <a:p>
            <a:r>
              <a:rPr lang="en-US" sz="1000" dirty="0">
                <a:latin typeface="Segoe UI Light" pitchFamily="34" charset="0"/>
              </a:rPr>
              <a:t> </a:t>
            </a:r>
          </a:p>
          <a:p>
            <a:endParaRPr lang="en-US" sz="1000" dirty="0">
              <a:latin typeface="Segoe UI Light" pitchFamily="34" charset="0"/>
            </a:endParaRPr>
          </a:p>
          <a:p>
            <a:endParaRPr lang="en-US" sz="1000" dirty="0">
              <a:latin typeface="Segoe UI Light" pitchFamily="34" charset="0"/>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6569755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9949" fontAlgn="base">
              <a:lnSpc>
                <a:spcPct val="90000"/>
              </a:lnSpc>
              <a:spcBef>
                <a:spcPct val="0"/>
              </a:spcBef>
              <a:spcAft>
                <a:spcPts val="1208"/>
              </a:spcAft>
              <a:defRPr/>
            </a:pPr>
            <a:r>
              <a:rPr lang="en-US" dirty="0" smtClean="0"/>
              <a:t>&lt;understanding Sync</a:t>
            </a:r>
            <a:r>
              <a:rPr lang="en-US" baseline="0" dirty="0" smtClean="0"/>
              <a:t> and Federation&gt;</a:t>
            </a:r>
          </a:p>
          <a:p>
            <a:pPr defTabSz="919949" fontAlgn="base">
              <a:lnSpc>
                <a:spcPct val="90000"/>
              </a:lnSpc>
              <a:spcBef>
                <a:spcPct val="0"/>
              </a:spcBef>
              <a:spcAft>
                <a:spcPts val="1208"/>
              </a:spcAft>
              <a:defRPr/>
            </a:pPr>
            <a:endParaRPr lang="en-US" baseline="0" dirty="0" smtClean="0"/>
          </a:p>
          <a:p>
            <a:pPr defTabSz="919949" fontAlgn="base">
              <a:lnSpc>
                <a:spcPct val="90000"/>
              </a:lnSpc>
              <a:spcBef>
                <a:spcPct val="0"/>
              </a:spcBef>
              <a:spcAft>
                <a:spcPts val="1208"/>
              </a:spcAft>
              <a:defRPr/>
            </a:pPr>
            <a:r>
              <a:rPr lang="en-US" baseline="0" dirty="0" smtClean="0"/>
              <a:t>When it comes to creating that single identity across on-premises and in the cloud you have options around sync and federation.  The key question here is, </a:t>
            </a:r>
            <a:r>
              <a:rPr lang="en-US" b="1" baseline="0" dirty="0" smtClean="0"/>
              <a:t>where do you want passwords stored</a:t>
            </a:r>
            <a:r>
              <a:rPr lang="en-US" baseline="0" dirty="0" smtClean="0"/>
              <a:t>?</a:t>
            </a:r>
          </a:p>
          <a:p>
            <a:pPr defTabSz="919949" fontAlgn="base">
              <a:lnSpc>
                <a:spcPct val="90000"/>
              </a:lnSpc>
              <a:spcBef>
                <a:spcPct val="0"/>
              </a:spcBef>
              <a:spcAft>
                <a:spcPts val="1208"/>
              </a:spcAft>
              <a:defRPr/>
            </a:pPr>
            <a:endParaRPr lang="en-US" baseline="0" dirty="0" smtClean="0"/>
          </a:p>
          <a:p>
            <a:pPr defTabSz="919949" fontAlgn="base">
              <a:lnSpc>
                <a:spcPct val="90000"/>
              </a:lnSpc>
              <a:spcBef>
                <a:spcPct val="0"/>
              </a:spcBef>
              <a:spcAft>
                <a:spcPts val="1208"/>
              </a:spcAft>
              <a:defRPr/>
            </a:pPr>
            <a:r>
              <a:rPr lang="en-US" sz="900" b="1" dirty="0">
                <a:latin typeface="Segoe UI Light" pitchFamily="34" charset="0"/>
              </a:rPr>
              <a:t>[BUILD]</a:t>
            </a:r>
          </a:p>
          <a:p>
            <a:pPr defTabSz="919949" fontAlgn="base">
              <a:lnSpc>
                <a:spcPct val="90000"/>
              </a:lnSpc>
              <a:spcBef>
                <a:spcPct val="0"/>
              </a:spcBef>
              <a:spcAft>
                <a:spcPts val="1208"/>
              </a:spcAft>
              <a:defRPr/>
            </a:pPr>
            <a:r>
              <a:rPr lang="en-US" dirty="0" smtClean="0"/>
              <a:t>In the Sync model, identity information is kept in sync between the 2 locations, including passwords. Authentication can occur against either directory.</a:t>
            </a:r>
          </a:p>
          <a:p>
            <a:pPr defTabSz="919949" fontAlgn="base">
              <a:lnSpc>
                <a:spcPct val="90000"/>
              </a:lnSpc>
              <a:spcBef>
                <a:spcPct val="0"/>
              </a:spcBef>
              <a:spcAft>
                <a:spcPts val="1208"/>
              </a:spcAft>
              <a:defRPr/>
            </a:pPr>
            <a:r>
              <a:rPr lang="en-US" sz="900" b="1" dirty="0">
                <a:latin typeface="Segoe UI Light" pitchFamily="34" charset="0"/>
              </a:rPr>
              <a:t>[BUILD]</a:t>
            </a:r>
          </a:p>
          <a:p>
            <a:pPr defTabSz="919949" fontAlgn="base">
              <a:lnSpc>
                <a:spcPct val="90000"/>
              </a:lnSpc>
              <a:spcBef>
                <a:spcPct val="0"/>
              </a:spcBef>
              <a:spcAft>
                <a:spcPts val="1208"/>
              </a:spcAft>
              <a:defRPr/>
            </a:pPr>
            <a:r>
              <a:rPr lang="en-US" dirty="0" smtClean="0"/>
              <a:t>In the Federation model, identity</a:t>
            </a:r>
            <a:r>
              <a:rPr lang="en-US" baseline="0" dirty="0" smtClean="0"/>
              <a:t> information is kept in sync, but passwords are not.  All authentication is passed back to on-premises AD to validation. </a:t>
            </a:r>
            <a:endParaRPr lang="en-US"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a:xfrm>
            <a:off x="0" y="8824803"/>
            <a:ext cx="5936844" cy="361619"/>
          </a:xfrm>
          <a:prstGeom prst="rect">
            <a:avLst/>
          </a:prstGeom>
        </p:spPr>
        <p:txBody>
          <a:bodyPr/>
          <a:lstStyle/>
          <a:p>
            <a:pPr defTabSz="91994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994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A17F966-951A-41B3-9519-312C88623955}"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1613312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ew with Azure AD Premium is the</a:t>
            </a:r>
            <a:r>
              <a:rPr lang="en-US" baseline="0" dirty="0" smtClean="0"/>
              <a:t> ability to sync disparate on-premises directories direct to Azure AD.  We have a new sync engine, </a:t>
            </a:r>
            <a:r>
              <a:rPr lang="en-US" b="1" baseline="0" dirty="0" smtClean="0"/>
              <a:t>Azure Active Directory Sync Services (Azure AD Sync) </a:t>
            </a:r>
            <a:r>
              <a:rPr lang="en-US" baseline="0" dirty="0" smtClean="0"/>
              <a:t>that is available in April 2014 as a Preview with a GA later in Summer 2014.</a:t>
            </a:r>
          </a:p>
          <a:p>
            <a:endParaRPr lang="en-US" baseline="0" dirty="0" smtClean="0"/>
          </a:p>
          <a:p>
            <a:r>
              <a:rPr lang="en-US" baseline="0" dirty="0" smtClean="0"/>
              <a:t>NOTE FROM KEVIN:</a:t>
            </a:r>
            <a:br>
              <a:rPr lang="en-US" baseline="0" dirty="0" smtClean="0"/>
            </a:br>
            <a:r>
              <a:rPr lang="en-US" baseline="0" dirty="0" smtClean="0"/>
              <a:t>the most recent FAQ states that GA will happen “Q3CY14”, so it may be GA before we do the first of these Camps.</a:t>
            </a:r>
          </a:p>
          <a:p>
            <a:endParaRPr lang="en-US" dirty="0" smtClean="0"/>
          </a:p>
          <a:p>
            <a:r>
              <a:rPr lang="en-US" dirty="0" smtClean="0"/>
              <a:t>FAQ: http://social.technet.microsoft.com/wiki/contents/articles/24053.aadsync-frequently-asked-questions.aspx</a:t>
            </a:r>
          </a:p>
          <a:p>
            <a:endParaRPr lang="en-US" dirty="0"/>
          </a:p>
        </p:txBody>
      </p:sp>
      <p:sp>
        <p:nvSpPr>
          <p:cNvPr id="4" name="Date Placeholder 3"/>
          <p:cNvSpPr>
            <a:spLocks noGrp="1"/>
          </p:cNvSpPr>
          <p:nvPr>
            <p:ph type="dt" idx="10"/>
          </p:nvPr>
        </p:nvSpPr>
        <p:spPr/>
        <p:txBody>
          <a:bodyPr/>
          <a:lstStyle/>
          <a:p>
            <a:fld id="{7FEEDBE2-F352-4F07-8C95-AC77F8E48FB5}" type="datetime1">
              <a:rPr lang="en-US" smtClean="0">
                <a:solidFill>
                  <a:prstClr val="black"/>
                </a:solidFill>
              </a:rPr>
              <a:pPr/>
              <a:t>10/15/2015</a:t>
            </a:fld>
            <a:endParaRPr lang="en-US" dirty="0">
              <a:solidFill>
                <a:prstClr val="black"/>
              </a:solidFill>
            </a:endParaRPr>
          </a:p>
        </p:txBody>
      </p:sp>
      <p:sp>
        <p:nvSpPr>
          <p:cNvPr id="5" name="Footer Placeholder 4"/>
          <p:cNvSpPr>
            <a:spLocks noGrp="1"/>
          </p:cNvSpPr>
          <p:nvPr>
            <p:ph type="ftr" sz="quarter" idx="11"/>
          </p:nvPr>
        </p:nvSpPr>
        <p:spPr>
          <a:xfrm>
            <a:off x="0" y="8824803"/>
            <a:ext cx="5936844" cy="361619"/>
          </a:xfrm>
          <a:prstGeom prst="rect">
            <a:avLst/>
          </a:prstGeom>
        </p:spPr>
        <p:txBody>
          <a:bodyPr/>
          <a:lstStyle/>
          <a:p>
            <a:pPr defTabSz="920215"/>
            <a:r>
              <a:rPr lang="en-US" sz="180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pPr defTabSz="920215"/>
            <a:r>
              <a:rPr lang="en-US" sz="180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1800">
                <a:solidFill>
                  <a:srgbClr val="000000"/>
                </a:solidFill>
                <a:latin typeface="Segoe UI" pitchFamily="34" charset="0"/>
              </a:rPr>
            </a:br>
            <a:r>
              <a:rPr lang="en-US" sz="1800">
                <a:solidFill>
                  <a:srgbClr val="000000"/>
                </a:solidFill>
                <a:latin typeface="Segoe UI" pitchFamily="34" charset="0"/>
              </a:rPr>
              <a:t>MICROSOFT MAKES NO WARRANTIES, EXPRESS, IMPLIED OR STATUTORY, AS TO THE INFORMATION IN THIS PRESENTATION.</a:t>
            </a:r>
            <a:endParaRPr lang="en-US" sz="1800" dirty="0">
              <a:solidFill>
                <a:srgbClr val="000000"/>
              </a:solidFill>
              <a:latin typeface="Segoe UI" pitchFamily="34" charset="0"/>
            </a:endParaRPr>
          </a:p>
        </p:txBody>
      </p:sp>
      <p:sp>
        <p:nvSpPr>
          <p:cNvPr id="6" name="Slide Number Placeholder 5"/>
          <p:cNvSpPr>
            <a:spLocks noGrp="1"/>
          </p:cNvSpPr>
          <p:nvPr>
            <p:ph type="sldNum" sz="quarter" idx="12"/>
          </p:nvPr>
        </p:nvSpPr>
        <p:spPr/>
        <p:txBody>
          <a:bodyPr/>
          <a:lstStyle/>
          <a:p>
            <a:fld id="{8B263312-38AA-4E1E-B2B5-0F8F122B24FE}"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4583159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xtend and Synch. – Connect Hybrid Infrastructure Services with a Single Identity</a:t>
            </a:r>
            <a:endParaRPr lang="en-US" dirty="0"/>
          </a:p>
          <a:p>
            <a:endParaRPr lang="en-US" dirty="0"/>
          </a:p>
          <a:p>
            <a:r>
              <a:rPr lang="en-US" dirty="0"/>
              <a:t>The next  scenario we’ll discuss is in the context of Office 365 and Windows Server Active Directory, which is used by 90% of enterprises worldwide.  You’ll see how Active Directory in Virtual Machines can bring hybrid scenarios to life. This is possible not only when you run Active Directory and its components – such as federation services and </a:t>
            </a:r>
            <a:r>
              <a:rPr lang="en-US" dirty="0" err="1" smtClean="0"/>
              <a:t>DirSync</a:t>
            </a:r>
            <a:r>
              <a:rPr lang="en-US" dirty="0" smtClean="0"/>
              <a:t> </a:t>
            </a:r>
            <a:r>
              <a:rPr lang="en-US" dirty="0"/>
              <a:t>- in Windows Azure Virtual Machines.  For your SharePoint farms, with SQL Server apps talking back to on-premises, you’ll also want to connect back to your corporate identity store this way. </a:t>
            </a:r>
          </a:p>
          <a:p>
            <a:endParaRPr lang="en-US" dirty="0"/>
          </a:p>
          <a:p>
            <a:r>
              <a:rPr lang="en-US" dirty="0"/>
              <a:t>When you sign up for Office 365, you get virtually anywhere access to familiar Office tools, plus enterprise-grade email, conferencing, and a lot more.  If you’re like most customers, you might want to synch on-premises identity with Office 365. By simply running Active Directory in Virtual Machines, synching with ADFS on-premises and connecting through Virtual Network, you can set up single sign-on capabilities. </a:t>
            </a:r>
          </a:p>
          <a:p>
            <a:endParaRPr lang="en-US" dirty="0"/>
          </a:p>
          <a:p>
            <a:r>
              <a:rPr lang="en-US" dirty="0"/>
              <a:t>This model also applies for applications running in Windows Azure Virtual Machines. When those applications need to authenticate with on-premises identities, you just connect to on-premises Active Directory to federate identities. With Windows Azure Infrastructure Services, it’s easy to build hybrid environments that take advantage of what you already have, while enabling new capabilities in the cloud. </a:t>
            </a:r>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84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84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AC6A9FE-A1DE-47AF-8A4A-D1158C469C45}"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5951544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In this slide you can see all the available features in the free</a:t>
            </a:r>
            <a:r>
              <a:rPr lang="en-US" sz="1200" kern="1200" baseline="0" dirty="0" smtClean="0">
                <a:solidFill>
                  <a:schemeClr val="tx1"/>
                </a:solidFill>
                <a:effectLst/>
                <a:latin typeface="+mn-lt"/>
                <a:ea typeface="+mn-ea"/>
                <a:cs typeface="+mn-cs"/>
              </a:rPr>
              <a:t> and premium Azure AD Offerings.</a:t>
            </a:r>
          </a:p>
          <a:p>
            <a:r>
              <a:rPr lang="en-US" sz="1200" kern="1200" baseline="0" dirty="0" smtClean="0">
                <a:solidFill>
                  <a:schemeClr val="tx1"/>
                </a:solidFill>
                <a:effectLst/>
                <a:latin typeface="+mn-lt"/>
                <a:ea typeface="+mn-ea"/>
                <a:cs typeface="+mn-cs"/>
              </a:rPr>
              <a:t>In the free offering each user can have up to 10 SaaS apps in his access panel </a:t>
            </a:r>
          </a:p>
          <a:p>
            <a:r>
              <a:rPr lang="en-US" sz="1200" kern="1200" baseline="0" dirty="0" smtClean="0">
                <a:solidFill>
                  <a:schemeClr val="tx1"/>
                </a:solidFill>
                <a:effectLst/>
                <a:latin typeface="+mn-lt"/>
                <a:ea typeface="+mn-ea"/>
                <a:cs typeface="+mn-cs"/>
              </a:rPr>
              <a:t>The Free Azure AD tenant can go up to 500,000 user accounts</a:t>
            </a:r>
          </a:p>
          <a:p>
            <a:endParaRPr lang="en-US" sz="1200" kern="1200" dirty="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IM</a:t>
            </a:r>
            <a:r>
              <a:rPr lang="en-US" sz="1200" kern="1200" baseline="0" dirty="0" smtClean="0">
                <a:solidFill>
                  <a:schemeClr val="tx1"/>
                </a:solidFill>
                <a:effectLst/>
                <a:latin typeface="+mn-lt"/>
                <a:ea typeface="+mn-ea"/>
                <a:cs typeface="+mn-cs"/>
              </a:rPr>
              <a:t> server user rights : Unlimited number of FIM servers and a FIM CAL for every Azure AD Premium subscriber/user</a:t>
            </a:r>
          </a:p>
          <a:p>
            <a:endParaRPr lang="en-US" sz="1200" kern="1200" dirty="0" smtClean="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defTabSz="914363">
              <a:defRPr/>
            </a:pPr>
            <a:r>
              <a:rPr lang="en-US" smtClean="0">
                <a:solidFill>
                  <a:prstClr val="black"/>
                </a:solidFill>
                <a:latin typeface="Segoe UI" pitchFamily="34" charset="0"/>
              </a:rPr>
              <a:t>Build 2012</a:t>
            </a:r>
            <a:endParaRPr lang="en-US" dirty="0">
              <a:solidFill>
                <a:prstClr val="black"/>
              </a:solidFill>
              <a:latin typeface="Segoe UI" pitchFamily="34" charset="0"/>
            </a:endParaRPr>
          </a:p>
        </p:txBody>
      </p:sp>
      <p:sp>
        <p:nvSpPr>
          <p:cNvPr id="5" name="Footer Placeholder 4"/>
          <p:cNvSpPr>
            <a:spLocks noGrp="1"/>
          </p:cNvSpPr>
          <p:nvPr>
            <p:ph type="ftr" sz="quarter" idx="11"/>
          </p:nvPr>
        </p:nvSpPr>
        <p:spPr>
          <a:xfrm>
            <a:off x="0" y="8743537"/>
            <a:ext cx="5920740" cy="358289"/>
          </a:xfrm>
          <a:prstGeom prst="rect">
            <a:avLst/>
          </a:prstGeom>
        </p:spPr>
        <p:txBody>
          <a:bodyPr/>
          <a:lstStyle/>
          <a:p>
            <a:pPr defTabSz="932933"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14363">
              <a:defRPr/>
            </a:pPr>
            <a:fld id="{BCD7D7CF-1DAD-47F1-BB48-5088D3BD3085}" type="datetime1">
              <a:rPr lang="en-US" smtClean="0">
                <a:solidFill>
                  <a:prstClr val="black"/>
                </a:solidFill>
                <a:latin typeface="Segoe UI" pitchFamily="34" charset="0"/>
              </a:rPr>
              <a:pPr defTabSz="914363">
                <a:defRPr/>
              </a:pPr>
              <a:t>10/15/2015</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14363">
              <a:defRPr/>
            </a:pPr>
            <a:fld id="{B4008EB6-D09E-4580-8CD6-DDB14511944F}" type="slidenum">
              <a:rPr lang="en-US" smtClean="0">
                <a:solidFill>
                  <a:prstClr val="black"/>
                </a:solidFill>
                <a:latin typeface="Segoe UI" pitchFamily="34" charset="0"/>
              </a:rPr>
              <a:pPr defTabSz="914363">
                <a:defRPr/>
              </a:pPr>
              <a:t>2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1954300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8471">
              <a:lnSpc>
                <a:spcPct val="90000"/>
              </a:lnSpc>
              <a:spcAft>
                <a:spcPts val="342"/>
              </a:spcAft>
              <a:defRPr/>
            </a:pPr>
            <a:r>
              <a:rPr lang="en-US" dirty="0" smtClean="0"/>
              <a:t>Azure Multi-Factor Authentication i</a:t>
            </a:r>
            <a:r>
              <a:rPr lang="en-US" baseline="0" dirty="0" smtClean="0"/>
              <a:t>s trusted by thousands of enterprise customers, healthcare organizations, banking and financial services companies, as well as government agencies at the state, local and federal level. </a:t>
            </a:r>
          </a:p>
          <a:p>
            <a:pPr defTabSz="938471">
              <a:lnSpc>
                <a:spcPct val="90000"/>
              </a:lnSpc>
              <a:spcAft>
                <a:spcPts val="342"/>
              </a:spcAft>
              <a:defRPr/>
            </a:pPr>
            <a:endParaRPr lang="en-US" baseline="0" dirty="0" smtClean="0"/>
          </a:p>
          <a:p>
            <a:pPr defTabSz="938471">
              <a:lnSpc>
                <a:spcPct val="90000"/>
              </a:lnSpc>
              <a:spcAft>
                <a:spcPts val="342"/>
              </a:spcAft>
              <a:defRPr/>
            </a:pPr>
            <a:r>
              <a:rPr lang="en-US" baseline="0" dirty="0" smtClean="0"/>
              <a:t>The service authenticates </a:t>
            </a:r>
            <a:r>
              <a:rPr lang="en-US" b="1" baseline="0" dirty="0" smtClean="0"/>
              <a:t>millions</a:t>
            </a:r>
            <a:r>
              <a:rPr lang="en-US" baseline="0" dirty="0" smtClean="0"/>
              <a:t> of logins and financial transactions around the globe each month.  It is battle tested and enterprise-ready. </a:t>
            </a:r>
          </a:p>
          <a:p>
            <a:pPr defTabSz="938471">
              <a:lnSpc>
                <a:spcPct val="90000"/>
              </a:lnSpc>
              <a:spcAft>
                <a:spcPts val="342"/>
              </a:spcAft>
              <a:defRPr/>
            </a:pPr>
            <a:endParaRPr lang="en-US" baseline="0" dirty="0" smtClean="0"/>
          </a:p>
          <a:p>
            <a:pPr defTabSz="938471">
              <a:lnSpc>
                <a:spcPct val="90000"/>
              </a:lnSpc>
              <a:spcAft>
                <a:spcPts val="342"/>
              </a:spcAft>
              <a:defRPr/>
            </a:pPr>
            <a:r>
              <a:rPr lang="en-US" baseline="0" dirty="0" smtClean="0"/>
              <a:t>While Multi-Factor Authentication is part of the Azure family and is powered by a cloud service, it is </a:t>
            </a:r>
            <a:r>
              <a:rPr lang="en-US" b="1" baseline="0" dirty="0" smtClean="0"/>
              <a:t>often deployed to secure on-premises applications</a:t>
            </a:r>
            <a:r>
              <a:rPr lang="en-US" baseline="0" dirty="0" smtClean="0"/>
              <a:t> in conjunction with an on-premises directory like Windows Server Active Directory. </a:t>
            </a:r>
          </a:p>
          <a:p>
            <a:pPr defTabSz="938471">
              <a:lnSpc>
                <a:spcPct val="90000"/>
              </a:lnSpc>
              <a:spcAft>
                <a:spcPts val="342"/>
              </a:spcAft>
              <a:defRPr/>
            </a:pPr>
            <a:r>
              <a:rPr lang="en-US" baseline="0" dirty="0" smtClean="0"/>
              <a:t>It supports </a:t>
            </a:r>
            <a:r>
              <a:rPr lang="en-US" b="1" baseline="0" dirty="0" smtClean="0"/>
              <a:t>on-premises, cloud, </a:t>
            </a:r>
            <a:r>
              <a:rPr lang="en-US" b="0" baseline="0" dirty="0" smtClean="0"/>
              <a:t>and</a:t>
            </a:r>
            <a:r>
              <a:rPr lang="en-US" b="1" baseline="0" dirty="0" smtClean="0"/>
              <a:t> hybrid scenarios</a:t>
            </a:r>
            <a:r>
              <a:rPr lang="en-US" baseline="0" dirty="0" smtClean="0"/>
              <a:t>.</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7732371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BE5AE4-1BC9-41B9-A703-DE65D4C3FDBE}"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9404909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fld id="{0A7327B1-EA79-42BA-8B82-860D37DAB89B}"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24898032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B6D57CE-07EB-4556-A205-9F8211B777E5}"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9453047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B6D57CE-07EB-4556-A205-9F8211B777E5}"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613263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503" rtl="0" eaLnBrk="1" fontAlgn="auto" latinLnBrk="0" hangingPunct="1">
              <a:lnSpc>
                <a:spcPct val="90000"/>
              </a:lnSpc>
              <a:spcBef>
                <a:spcPts val="0"/>
              </a:spcBef>
              <a:spcAft>
                <a:spcPts val="340"/>
              </a:spcAft>
              <a:buClrTx/>
              <a:buSzTx/>
              <a:buFontTx/>
              <a:buNone/>
              <a:tabLst/>
              <a:defRPr/>
            </a:pPr>
            <a:r>
              <a:rPr lang="en-US" sz="1000" b="1" kern="1200" dirty="0" smtClean="0">
                <a:solidFill>
                  <a:schemeClr val="tx1"/>
                </a:solidFill>
                <a:effectLst/>
                <a:latin typeface="Segoe UI Light" pitchFamily="34" charset="0"/>
                <a:ea typeface="+mn-ea"/>
                <a:cs typeface="+mn-cs"/>
              </a:rPr>
              <a:t>On-premises AND Cloud</a:t>
            </a:r>
            <a:r>
              <a:rPr lang="en-US" sz="1000" kern="1200" dirty="0" smtClean="0">
                <a:solidFill>
                  <a:schemeClr val="tx1"/>
                </a:solidFill>
                <a:effectLst/>
                <a:latin typeface="Segoe UI Light" pitchFamily="34" charset="0"/>
                <a:ea typeface="+mn-ea"/>
                <a:cs typeface="+mn-cs"/>
              </a:rPr>
              <a:t>: We believe in a world where you’re integrating public cloud with your on-premises infrastructure, and using each where it makes sense, in conjunction with each other. </a:t>
            </a:r>
            <a:r>
              <a:rPr lang="en-US" sz="1000" b="1" kern="1200" dirty="0" smtClean="0">
                <a:solidFill>
                  <a:schemeClr val="tx1"/>
                </a:solidFill>
                <a:effectLst/>
                <a:latin typeface="Segoe UI Light" pitchFamily="34" charset="0"/>
                <a:ea typeface="+mn-ea"/>
                <a:cs typeface="+mn-cs"/>
              </a:rPr>
              <a:t>Think </a:t>
            </a:r>
            <a:r>
              <a:rPr lang="en-US" sz="1000" b="1" i="1" kern="1200" dirty="0" smtClean="0">
                <a:solidFill>
                  <a:schemeClr val="tx1"/>
                </a:solidFill>
                <a:effectLst/>
                <a:latin typeface="Segoe UI Light" pitchFamily="34" charset="0"/>
                <a:ea typeface="+mn-ea"/>
                <a:cs typeface="+mn-cs"/>
              </a:rPr>
              <a:t>and</a:t>
            </a:r>
            <a:r>
              <a:rPr lang="en-US" sz="1000" b="1" kern="1200" dirty="0" smtClean="0">
                <a:solidFill>
                  <a:schemeClr val="tx1"/>
                </a:solidFill>
                <a:effectLst/>
                <a:latin typeface="Segoe UI Light" pitchFamily="34" charset="0"/>
                <a:ea typeface="+mn-ea"/>
                <a:cs typeface="+mn-cs"/>
              </a:rPr>
              <a:t>, not </a:t>
            </a:r>
            <a:r>
              <a:rPr lang="en-US" sz="1000" b="1" i="1" kern="1200" dirty="0" smtClean="0">
                <a:solidFill>
                  <a:schemeClr val="tx1"/>
                </a:solidFill>
                <a:effectLst/>
                <a:latin typeface="Segoe UI Light" pitchFamily="34" charset="0"/>
                <a:ea typeface="+mn-ea"/>
                <a:cs typeface="+mn-cs"/>
              </a:rPr>
              <a:t>or</a:t>
            </a:r>
            <a:r>
              <a:rPr lang="en-US" sz="1000" kern="1200" dirty="0" smtClean="0">
                <a:solidFill>
                  <a:schemeClr val="tx1"/>
                </a:solidFill>
                <a:effectLst/>
                <a:latin typeface="Segoe UI Light" pitchFamily="34" charset="0"/>
                <a:ea typeface="+mn-ea"/>
                <a:cs typeface="+mn-cs"/>
              </a:rPr>
              <a:t>. It’s not an on-premises OR cloud proposition – it’s an AND proposition. And when we say integration, we mean true integration – across infrastructure, apps, identity, and databases. This is what we call </a:t>
            </a:r>
            <a:r>
              <a:rPr lang="en-US" sz="1000" i="1" kern="1200" dirty="0" smtClean="0">
                <a:solidFill>
                  <a:schemeClr val="tx1"/>
                </a:solidFill>
                <a:effectLst/>
                <a:latin typeface="Segoe UI Light" pitchFamily="34" charset="0"/>
                <a:ea typeface="+mn-ea"/>
                <a:cs typeface="+mn-cs"/>
              </a:rPr>
              <a:t>hybrid</a:t>
            </a:r>
            <a:r>
              <a:rPr lang="en-US" sz="1000" kern="1200" dirty="0" smtClean="0">
                <a:solidFill>
                  <a:schemeClr val="tx1"/>
                </a:solidFill>
                <a:effectLst/>
                <a:latin typeface="Segoe UI Light" pitchFamily="34" charset="0"/>
                <a:ea typeface="+mn-ea"/>
                <a:cs typeface="+mn-cs"/>
              </a:rPr>
              <a:t>. </a:t>
            </a: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r>
              <a:rPr lang="en-US" sz="1000" b="1" kern="1200" dirty="0" smtClean="0">
                <a:solidFill>
                  <a:schemeClr val="tx1"/>
                </a:solidFill>
                <a:effectLst/>
                <a:latin typeface="Segoe UI Light" pitchFamily="34" charset="0"/>
                <a:ea typeface="+mn-ea"/>
                <a:cs typeface="+mn-cs"/>
              </a:rPr>
              <a:t>Microsoft is</a:t>
            </a:r>
            <a:r>
              <a:rPr lang="en-US" sz="1000" b="1" kern="1200" baseline="0" dirty="0" smtClean="0">
                <a:solidFill>
                  <a:schemeClr val="tx1"/>
                </a:solidFill>
                <a:effectLst/>
                <a:latin typeface="Segoe UI Light" pitchFamily="34" charset="0"/>
                <a:ea typeface="+mn-ea"/>
                <a:cs typeface="+mn-cs"/>
              </a:rPr>
              <a:t> the only company </a:t>
            </a:r>
            <a:r>
              <a:rPr lang="en-US" sz="1000" kern="1200" baseline="0" dirty="0" smtClean="0">
                <a:solidFill>
                  <a:schemeClr val="tx1"/>
                </a:solidFill>
                <a:effectLst/>
                <a:latin typeface="Segoe UI Light" pitchFamily="34" charset="0"/>
                <a:ea typeface="+mn-ea"/>
                <a:cs typeface="+mn-cs"/>
              </a:rPr>
              <a:t>which has the necessary assets across virtualization, identity, data platform , development and management to provide a consistent experiences across on-premises, our cloud and 3</a:t>
            </a:r>
            <a:r>
              <a:rPr lang="en-US" sz="1000" kern="1200" baseline="30000" dirty="0" smtClean="0">
                <a:solidFill>
                  <a:schemeClr val="tx1"/>
                </a:solidFill>
                <a:effectLst/>
                <a:latin typeface="Segoe UI Light" pitchFamily="34" charset="0"/>
                <a:ea typeface="+mn-ea"/>
                <a:cs typeface="+mn-cs"/>
              </a:rPr>
              <a:t>rd</a:t>
            </a:r>
            <a:r>
              <a:rPr lang="en-US" sz="1000" kern="1200" baseline="0" dirty="0" smtClean="0">
                <a:solidFill>
                  <a:schemeClr val="tx1"/>
                </a:solidFill>
                <a:effectLst/>
                <a:latin typeface="Segoe UI Light" pitchFamily="34" charset="0"/>
                <a:ea typeface="+mn-ea"/>
                <a:cs typeface="+mn-cs"/>
              </a:rPr>
              <a:t> party service providers. This vision and strategy - called “Cloud OS” – is what we aim to deliver for our customers. If you choose look at other Cloud vendors  that provide public OR private cloud offerings (Amazon, VMware, or Google), you have to cobble together disparate offerings and you will not get a seamless experience. </a:t>
            </a:r>
            <a:endParaRPr lang="en-US" sz="1000" kern="1200" dirty="0" smtClean="0">
              <a:solidFill>
                <a:schemeClr val="tx1"/>
              </a:solidFill>
              <a:effectLst/>
              <a:latin typeface="Segoe UI Light"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0A7327B1-EA79-42BA-8B82-860D37DAB89B}"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4817332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Aft>
                <a:spcPts val="600"/>
              </a:spcAft>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208E0A0-24B1-414B-B494-C23A17DBAD96}"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919883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Segoe UI Light" pitchFamily="34" charset="0"/>
              </a:rPr>
              <a:t>Multi-Factor Authentication offers the additional security you demand using the phones your users already carry. Multiple phone-based authentication methods are available, allowing users to choose the one that works best for them. And, support for multiple methods ensures additional authentication is always available.</a:t>
            </a:r>
          </a:p>
          <a:p>
            <a:pPr marL="172547" indent="-172547">
              <a:buFont typeface="Arial" panose="020B0604020202020204" pitchFamily="34" charset="0"/>
              <a:buChar char="•"/>
            </a:pPr>
            <a:r>
              <a:rPr lang="en-US" sz="1000" b="1" dirty="0">
                <a:latin typeface="Segoe UI Light" pitchFamily="34" charset="0"/>
              </a:rPr>
              <a:t>Multi-Factor Authentication apps</a:t>
            </a:r>
            <a:r>
              <a:rPr lang="en-US" sz="1000" dirty="0">
                <a:latin typeface="Segoe UI Light" pitchFamily="34" charset="0"/>
              </a:rPr>
              <a:t> are available for Windows Phone, </a:t>
            </a:r>
            <a:r>
              <a:rPr lang="en-US" sz="1000" dirty="0" err="1">
                <a:latin typeface="Segoe UI Light" pitchFamily="34" charset="0"/>
              </a:rPr>
              <a:t>iOS</a:t>
            </a:r>
            <a:r>
              <a:rPr lang="en-US" sz="1000" dirty="0">
                <a:latin typeface="Segoe UI Light" pitchFamily="34" charset="0"/>
              </a:rPr>
              <a:t> phones and tablets, and Android devices. Users download the free app from the device store and activate it using a code provided during set up. When the user signs in, a notification is pushed to the app on their mobile device. The user taps to approve or deny the authentication request. Cell or Wi-Fi access is required. For offline authentication, the app works like a software token to generate a one-time passcode that is entered during sign in. The one-time-passcode method is comparable to software or soft tokens solutions offered by vendors like RSA and </a:t>
            </a:r>
            <a:r>
              <a:rPr lang="en-US" sz="1000" dirty="0" err="1">
                <a:latin typeface="Segoe UI Light" pitchFamily="34" charset="0"/>
              </a:rPr>
              <a:t>Gemalto</a:t>
            </a:r>
            <a:r>
              <a:rPr lang="en-US" sz="1000" dirty="0">
                <a:latin typeface="Segoe UI Light" pitchFamily="34" charset="0"/>
              </a:rPr>
              <a:t>.</a:t>
            </a:r>
          </a:p>
          <a:p>
            <a:pPr marL="172547" indent="-172547">
              <a:buFont typeface="Arial" panose="020B0604020202020204" pitchFamily="34" charset="0"/>
              <a:buChar char="•"/>
            </a:pPr>
            <a:r>
              <a:rPr lang="en-US" sz="1000" b="1" dirty="0">
                <a:latin typeface="Segoe UI Light" pitchFamily="34" charset="0"/>
              </a:rPr>
              <a:t>Automated phone calls</a:t>
            </a:r>
            <a:r>
              <a:rPr lang="en-US" sz="1000" dirty="0">
                <a:latin typeface="Segoe UI Light" pitchFamily="34" charset="0"/>
              </a:rPr>
              <a:t> are placed by the Multi-Factor Authentication service to any phone, landline or mobile. The user simply answers the call and presses # on the phone keypad to complete their sign in.</a:t>
            </a:r>
          </a:p>
          <a:p>
            <a:pPr marL="172547" indent="-172547">
              <a:buFont typeface="Arial" panose="020B0604020202020204" pitchFamily="34" charset="0"/>
              <a:buChar char="•"/>
            </a:pPr>
            <a:r>
              <a:rPr lang="en-US" sz="1000" b="1" dirty="0">
                <a:latin typeface="Segoe UI Light" pitchFamily="34" charset="0"/>
              </a:rPr>
              <a:t>Text messages</a:t>
            </a:r>
            <a:r>
              <a:rPr lang="en-US" sz="1000" dirty="0">
                <a:latin typeface="Segoe UI Light" pitchFamily="34" charset="0"/>
              </a:rPr>
              <a:t> are sent by the Multi-Factor Authentication service to any mobile phone. The text message contains a one-time passcode. The user is prompted to either reply to the text message with the passcode or enter the passcode into the sign in screen.</a:t>
            </a:r>
          </a:p>
          <a:p>
            <a:pPr defTabSz="938471">
              <a:lnSpc>
                <a:spcPct val="90000"/>
              </a:lnSpc>
              <a:spcAft>
                <a:spcPts val="342"/>
              </a:spcAft>
              <a:defRPr/>
            </a:pPr>
            <a:endParaRPr lang="en-US" sz="1000" dirty="0">
              <a:latin typeface="Segoe UI Light" pitchFamily="34" charset="0"/>
            </a:endParaRPr>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a:xfrm>
            <a:off x="0" y="8824803"/>
            <a:ext cx="5936844" cy="361619"/>
          </a:xfrm>
          <a:prstGeom prst="rect">
            <a:avLst/>
          </a:prstGeom>
        </p:spPr>
        <p:txBody>
          <a:bodyPr/>
          <a:lstStyle/>
          <a:p>
            <a:pPr defTabSz="93890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890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C334CA4-0776-4EDD-A4B7-C3035D83D489}"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7076792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8471">
              <a:lnSpc>
                <a:spcPct val="90000"/>
              </a:lnSpc>
              <a:spcAft>
                <a:spcPts val="342"/>
              </a:spcAft>
              <a:defRPr/>
            </a:pPr>
            <a:r>
              <a:rPr lang="en-US" sz="1000" dirty="0">
                <a:latin typeface="Segoe UI Light" pitchFamily="34" charset="0"/>
              </a:rPr>
              <a:t>The user signs in from any device using their existing account credentials.  If the user is signing into an on-premises application, the Multi-Factor Server that is installed at the customer’s site intercepts the authentication request. </a:t>
            </a:r>
          </a:p>
          <a:p>
            <a:pPr marL="230063" indent="-230063" defTabSz="938471">
              <a:lnSpc>
                <a:spcPct val="90000"/>
              </a:lnSpc>
              <a:spcAft>
                <a:spcPts val="342"/>
              </a:spcAft>
              <a:buFont typeface="+mj-lt"/>
              <a:buAutoNum type="arabicPeriod"/>
              <a:defRPr/>
            </a:pPr>
            <a:r>
              <a:rPr lang="en-US" sz="1000" dirty="0">
                <a:latin typeface="Segoe UI Light" pitchFamily="34" charset="0"/>
              </a:rPr>
              <a:t>First it </a:t>
            </a:r>
            <a:r>
              <a:rPr lang="en-US" sz="1000" b="1" dirty="0">
                <a:latin typeface="Segoe UI Light" pitchFamily="34" charset="0"/>
              </a:rPr>
              <a:t>checks the username and password against the user directory</a:t>
            </a:r>
            <a:r>
              <a:rPr lang="en-US" sz="1000" dirty="0">
                <a:latin typeface="Segoe UI Light" pitchFamily="34" charset="0"/>
              </a:rPr>
              <a:t>.  </a:t>
            </a:r>
          </a:p>
          <a:p>
            <a:pPr marL="230063" indent="-230063" defTabSz="938471">
              <a:lnSpc>
                <a:spcPct val="90000"/>
              </a:lnSpc>
              <a:spcAft>
                <a:spcPts val="342"/>
              </a:spcAft>
              <a:buFont typeface="+mj-lt"/>
              <a:buAutoNum type="arabicPeriod"/>
              <a:defRPr/>
            </a:pPr>
            <a:r>
              <a:rPr lang="en-US" sz="1000" dirty="0">
                <a:latin typeface="Segoe UI Light" pitchFamily="34" charset="0"/>
              </a:rPr>
              <a:t>If the correct credentials are entered, </a:t>
            </a:r>
            <a:r>
              <a:rPr lang="en-US" sz="1000" b="1" dirty="0">
                <a:latin typeface="Segoe UI Light" pitchFamily="34" charset="0"/>
              </a:rPr>
              <a:t>a request is sent to the Multi-Factor Authentication cloud service.</a:t>
            </a:r>
            <a:r>
              <a:rPr lang="en-US" sz="1000" dirty="0">
                <a:latin typeface="Segoe UI Light" pitchFamily="34" charset="0"/>
              </a:rPr>
              <a:t>  </a:t>
            </a:r>
          </a:p>
          <a:p>
            <a:pPr marL="230063" indent="-230063" defTabSz="938471">
              <a:lnSpc>
                <a:spcPct val="90000"/>
              </a:lnSpc>
              <a:spcAft>
                <a:spcPts val="342"/>
              </a:spcAft>
              <a:buFont typeface="+mj-lt"/>
              <a:buAutoNum type="arabicPeriod"/>
              <a:defRPr/>
            </a:pPr>
            <a:r>
              <a:rPr lang="en-US" sz="1000" dirty="0">
                <a:latin typeface="Segoe UI Light" pitchFamily="34" charset="0"/>
              </a:rPr>
              <a:t>The service sends the </a:t>
            </a:r>
            <a:r>
              <a:rPr lang="en-US" sz="1000" b="1" dirty="0">
                <a:latin typeface="Segoe UI Light" pitchFamily="34" charset="0"/>
              </a:rPr>
              <a:t>authentication request to the user’s phone</a:t>
            </a:r>
            <a:r>
              <a:rPr lang="en-US" sz="1000" dirty="0">
                <a:latin typeface="Segoe UI Light" pitchFamily="34" charset="0"/>
              </a:rPr>
              <a:t>. </a:t>
            </a:r>
          </a:p>
          <a:p>
            <a:pPr defTabSz="938471">
              <a:lnSpc>
                <a:spcPct val="90000"/>
              </a:lnSpc>
              <a:spcAft>
                <a:spcPts val="342"/>
              </a:spcAft>
              <a:defRPr/>
            </a:pPr>
            <a:endParaRPr lang="en-US" sz="1000" dirty="0">
              <a:latin typeface="Segoe UI Light" pitchFamily="34" charset="0"/>
            </a:endParaRPr>
          </a:p>
          <a:p>
            <a:pPr defTabSz="938471">
              <a:lnSpc>
                <a:spcPct val="90000"/>
              </a:lnSpc>
              <a:spcAft>
                <a:spcPts val="342"/>
              </a:spcAft>
              <a:defRPr/>
            </a:pPr>
            <a:r>
              <a:rPr lang="en-US" sz="1000" b="1" i="1" dirty="0">
                <a:latin typeface="Segoe UI Light" pitchFamily="34" charset="0"/>
              </a:rPr>
              <a:t>[click]</a:t>
            </a:r>
            <a:r>
              <a:rPr lang="en-US" sz="1000" dirty="0">
                <a:latin typeface="Segoe UI Light" pitchFamily="34" charset="0"/>
              </a:rPr>
              <a:t> Once the user has authenticated, they are instantly signed into the application. </a:t>
            </a:r>
          </a:p>
          <a:p>
            <a:pPr defTabSz="938471">
              <a:lnSpc>
                <a:spcPct val="90000"/>
              </a:lnSpc>
              <a:spcAft>
                <a:spcPts val="342"/>
              </a:spcAft>
              <a:defRPr/>
            </a:pPr>
            <a:endParaRPr lang="en-US" sz="1000" b="1" i="1" dirty="0">
              <a:latin typeface="Segoe UI Light" pitchFamily="34" charset="0"/>
            </a:endParaRPr>
          </a:p>
          <a:p>
            <a:pPr defTabSz="938471">
              <a:lnSpc>
                <a:spcPct val="90000"/>
              </a:lnSpc>
              <a:spcAft>
                <a:spcPts val="342"/>
              </a:spcAft>
              <a:defRPr/>
            </a:pPr>
            <a:r>
              <a:rPr lang="en-US" sz="1000" b="1" i="1" dirty="0">
                <a:latin typeface="Segoe UI Light" pitchFamily="34" charset="0"/>
              </a:rPr>
              <a:t>[click] </a:t>
            </a:r>
            <a:r>
              <a:rPr lang="en-US" sz="1000" dirty="0">
                <a:latin typeface="Segoe UI Light" pitchFamily="34" charset="0"/>
              </a:rPr>
              <a:t>The are a number of ways to configure the service to secure cloud apps. </a:t>
            </a:r>
          </a:p>
          <a:p>
            <a:pPr defTabSz="938471">
              <a:lnSpc>
                <a:spcPct val="90000"/>
              </a:lnSpc>
              <a:spcAft>
                <a:spcPts val="342"/>
              </a:spcAft>
              <a:defRPr/>
            </a:pPr>
            <a:r>
              <a:rPr lang="en-US" sz="1000" dirty="0">
                <a:latin typeface="Segoe UI Light" pitchFamily="34" charset="0"/>
              </a:rPr>
              <a:t>First, the </a:t>
            </a:r>
            <a:r>
              <a:rPr lang="en-US" sz="1000" b="1" dirty="0">
                <a:latin typeface="Segoe UI Light" pitchFamily="34" charset="0"/>
              </a:rPr>
              <a:t>on-premises multi-factor server </a:t>
            </a:r>
            <a:r>
              <a:rPr lang="en-US" sz="1000" dirty="0">
                <a:latin typeface="Segoe UI Light" pitchFamily="34" charset="0"/>
              </a:rPr>
              <a:t>can be used with </a:t>
            </a:r>
            <a:r>
              <a:rPr lang="en-US" sz="1000" b="1" dirty="0">
                <a:latin typeface="Segoe UI Light" pitchFamily="34" charset="0"/>
              </a:rPr>
              <a:t>Active Directory Federation Services </a:t>
            </a:r>
            <a:r>
              <a:rPr lang="en-US" sz="1000" dirty="0">
                <a:latin typeface="Segoe UI Light" pitchFamily="34" charset="0"/>
              </a:rPr>
              <a:t>or another SAML application for single sign-on to cloud applications. </a:t>
            </a:r>
          </a:p>
          <a:p>
            <a:pPr defTabSz="938471">
              <a:lnSpc>
                <a:spcPct val="90000"/>
              </a:lnSpc>
              <a:spcAft>
                <a:spcPts val="342"/>
              </a:spcAft>
              <a:defRPr/>
            </a:pPr>
            <a:endParaRPr lang="en-US" sz="1000" b="1" i="1" dirty="0">
              <a:latin typeface="Segoe UI Light" pitchFamily="34" charset="0"/>
            </a:endParaRPr>
          </a:p>
          <a:p>
            <a:pPr defTabSz="938471">
              <a:lnSpc>
                <a:spcPct val="90000"/>
              </a:lnSpc>
              <a:spcAft>
                <a:spcPts val="342"/>
              </a:spcAft>
              <a:defRPr/>
            </a:pPr>
            <a:r>
              <a:rPr lang="en-US" sz="1000" b="1" i="1" dirty="0">
                <a:latin typeface="Segoe UI Light" pitchFamily="34" charset="0"/>
              </a:rPr>
              <a:t>[click] </a:t>
            </a:r>
            <a:r>
              <a:rPr lang="en-US" sz="1000" dirty="0">
                <a:latin typeface="Segoe UI Light" pitchFamily="34" charset="0"/>
              </a:rPr>
              <a:t>For apps that use </a:t>
            </a:r>
            <a:r>
              <a:rPr lang="en-US" sz="1000" b="1" dirty="0">
                <a:latin typeface="Segoe UI Light" pitchFamily="34" charset="0"/>
              </a:rPr>
              <a:t>Azure Active Directory</a:t>
            </a:r>
            <a:r>
              <a:rPr lang="en-US" sz="1000" dirty="0">
                <a:latin typeface="Segoe UI Light" pitchFamily="34" charset="0"/>
              </a:rPr>
              <a:t>, the directory can call the Multi-Factor Authentication cloud service directly. </a:t>
            </a:r>
          </a:p>
          <a:p>
            <a:pPr defTabSz="938471">
              <a:lnSpc>
                <a:spcPct val="90000"/>
              </a:lnSpc>
              <a:spcAft>
                <a:spcPts val="342"/>
              </a:spcAft>
              <a:defRPr/>
            </a:pPr>
            <a:endParaRPr lang="en-US" sz="1000" b="1" i="1" dirty="0">
              <a:latin typeface="Segoe UI Light" pitchFamily="34" charset="0"/>
            </a:endParaRPr>
          </a:p>
          <a:p>
            <a:pPr defTabSz="938471">
              <a:lnSpc>
                <a:spcPct val="90000"/>
              </a:lnSpc>
              <a:spcAft>
                <a:spcPts val="342"/>
              </a:spcAft>
              <a:defRPr/>
            </a:pPr>
            <a:r>
              <a:rPr lang="en-US" sz="1000" b="1" i="1" dirty="0">
                <a:latin typeface="Segoe UI Light" pitchFamily="34" charset="0"/>
              </a:rPr>
              <a:t>[click] </a:t>
            </a:r>
            <a:r>
              <a:rPr lang="en-US" sz="1000" dirty="0">
                <a:latin typeface="Segoe UI Light" pitchFamily="34" charset="0"/>
              </a:rPr>
              <a:t>Or </a:t>
            </a:r>
            <a:r>
              <a:rPr lang="en-US" sz="1000" b="1" dirty="0">
                <a:latin typeface="Segoe UI Light" pitchFamily="34" charset="0"/>
              </a:rPr>
              <a:t>developers</a:t>
            </a:r>
            <a:r>
              <a:rPr lang="en-US" sz="1000" dirty="0">
                <a:latin typeface="Segoe UI Light" pitchFamily="34" charset="0"/>
              </a:rPr>
              <a:t> can build multi-factor into their custom apps using one of the </a:t>
            </a:r>
            <a:r>
              <a:rPr lang="en-US" sz="1000" b="1" dirty="0">
                <a:latin typeface="Segoe UI Light" pitchFamily="34" charset="0"/>
              </a:rPr>
              <a:t>Software Development Kits</a:t>
            </a:r>
            <a:r>
              <a:rPr lang="en-US" sz="1000" dirty="0">
                <a:latin typeface="Segoe UI Light" pitchFamily="34" charset="0"/>
              </a:rPr>
              <a:t>.</a:t>
            </a:r>
          </a:p>
          <a:p>
            <a:pPr defTabSz="938471">
              <a:lnSpc>
                <a:spcPct val="90000"/>
              </a:lnSpc>
              <a:spcAft>
                <a:spcPts val="342"/>
              </a:spcAf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a:xfrm>
            <a:off x="0" y="8824803"/>
            <a:ext cx="5936844" cy="361619"/>
          </a:xfrm>
          <a:prstGeom prst="rect">
            <a:avLst/>
          </a:prstGeom>
        </p:spPr>
        <p:txBody>
          <a:bodyPr/>
          <a:lstStyle/>
          <a:p>
            <a:pPr defTabSz="91994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994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3B71B57-8311-41D2-A2FE-9B491958F17B}"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6647587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1410" eaLnBrk="0" hangingPunct="0">
              <a:defRPr sz="2300" b="1">
                <a:solidFill>
                  <a:schemeClr val="tx1"/>
                </a:solidFill>
                <a:latin typeface="Arial" charset="0"/>
                <a:ea typeface="ＭＳ Ｐゴシック" pitchFamily="34" charset="-128"/>
              </a:defRPr>
            </a:lvl1pPr>
            <a:lvl2pPr marL="702701" indent="-270270" defTabSz="911410" eaLnBrk="0" hangingPunct="0">
              <a:defRPr sz="2300" b="1">
                <a:solidFill>
                  <a:schemeClr val="tx1"/>
                </a:solidFill>
                <a:latin typeface="Arial" charset="0"/>
                <a:ea typeface="ＭＳ Ｐゴシック" pitchFamily="34" charset="-128"/>
              </a:defRPr>
            </a:lvl2pPr>
            <a:lvl3pPr marL="1081078" indent="-216216" defTabSz="911410" eaLnBrk="0" hangingPunct="0">
              <a:defRPr sz="2300" b="1">
                <a:solidFill>
                  <a:schemeClr val="tx1"/>
                </a:solidFill>
                <a:latin typeface="Arial" charset="0"/>
                <a:ea typeface="ＭＳ Ｐゴシック" pitchFamily="34" charset="-128"/>
              </a:defRPr>
            </a:lvl3pPr>
            <a:lvl4pPr marL="1513509" indent="-216216" defTabSz="911410" eaLnBrk="0" hangingPunct="0">
              <a:defRPr sz="2300" b="1">
                <a:solidFill>
                  <a:schemeClr val="tx1"/>
                </a:solidFill>
                <a:latin typeface="Arial" charset="0"/>
                <a:ea typeface="ＭＳ Ｐゴシック" pitchFamily="34" charset="-128"/>
              </a:defRPr>
            </a:lvl4pPr>
            <a:lvl5pPr marL="1945941" indent="-216216" defTabSz="911410" eaLnBrk="0" hangingPunct="0">
              <a:defRPr sz="2300" b="1">
                <a:solidFill>
                  <a:schemeClr val="tx1"/>
                </a:solidFill>
                <a:latin typeface="Arial" charset="0"/>
                <a:ea typeface="ＭＳ Ｐゴシック" pitchFamily="34" charset="-128"/>
              </a:defRPr>
            </a:lvl5pPr>
            <a:lvl6pPr marL="2378372" indent="-216216" defTabSz="911410" eaLnBrk="0" fontAlgn="base" hangingPunct="0">
              <a:spcBef>
                <a:spcPct val="0"/>
              </a:spcBef>
              <a:spcAft>
                <a:spcPct val="0"/>
              </a:spcAft>
              <a:defRPr sz="2300" b="1">
                <a:solidFill>
                  <a:schemeClr val="tx1"/>
                </a:solidFill>
                <a:latin typeface="Arial" charset="0"/>
                <a:ea typeface="ＭＳ Ｐゴシック" pitchFamily="34" charset="-128"/>
              </a:defRPr>
            </a:lvl6pPr>
            <a:lvl7pPr marL="2810804" indent="-216216" defTabSz="911410" eaLnBrk="0" fontAlgn="base" hangingPunct="0">
              <a:spcBef>
                <a:spcPct val="0"/>
              </a:spcBef>
              <a:spcAft>
                <a:spcPct val="0"/>
              </a:spcAft>
              <a:defRPr sz="2300" b="1">
                <a:solidFill>
                  <a:schemeClr val="tx1"/>
                </a:solidFill>
                <a:latin typeface="Arial" charset="0"/>
                <a:ea typeface="ＭＳ Ｐゴシック" pitchFamily="34" charset="-128"/>
              </a:defRPr>
            </a:lvl7pPr>
            <a:lvl8pPr marL="3243235" indent="-216216" defTabSz="911410" eaLnBrk="0" fontAlgn="base" hangingPunct="0">
              <a:spcBef>
                <a:spcPct val="0"/>
              </a:spcBef>
              <a:spcAft>
                <a:spcPct val="0"/>
              </a:spcAft>
              <a:defRPr sz="2300" b="1">
                <a:solidFill>
                  <a:schemeClr val="tx1"/>
                </a:solidFill>
                <a:latin typeface="Arial" charset="0"/>
                <a:ea typeface="ＭＳ Ｐゴシック" pitchFamily="34" charset="-128"/>
              </a:defRPr>
            </a:lvl8pPr>
            <a:lvl9pPr marL="3675667" indent="-216216" defTabSz="911410" eaLnBrk="0" fontAlgn="base" hangingPunct="0">
              <a:spcBef>
                <a:spcPct val="0"/>
              </a:spcBef>
              <a:spcAft>
                <a:spcPct val="0"/>
              </a:spcAft>
              <a:defRPr sz="2300" b="1">
                <a:solidFill>
                  <a:schemeClr val="tx1"/>
                </a:solidFill>
                <a:latin typeface="Arial" charset="0"/>
                <a:ea typeface="ＭＳ Ｐゴシック" pitchFamily="34" charset="-128"/>
              </a:defRPr>
            </a:lvl9pPr>
          </a:lstStyle>
          <a:p>
            <a:fld id="{2BC3CD57-03CC-4190-A97A-2FD4B4B29114}" type="slidenum">
              <a:rPr lang="en-US" sz="1200" b="0">
                <a:solidFill>
                  <a:prstClr val="black"/>
                </a:solidFill>
              </a:rPr>
              <a:pPr/>
              <a:t>34</a:t>
            </a:fld>
            <a:endParaRPr lang="en-US" sz="1200" b="0">
              <a:solidFill>
                <a:prstClr val="black"/>
              </a:solidFill>
            </a:endParaRPr>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extLst>
      <p:ext uri="{BB962C8B-B14F-4D97-AF65-F5344CB8AC3E}">
        <p14:creationId xmlns:p14="http://schemas.microsoft.com/office/powerpoint/2010/main" val="37817434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5F10E5F-23A4-4902-93A2-D41A957E910B}"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4835337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CD7D7CF-1DAD-47F1-BB48-5088D3BD3085}"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181380268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explain</a:t>
            </a:r>
            <a:r>
              <a:rPr lang="en-US" baseline="0" dirty="0" smtClean="0"/>
              <a:t> this diagram.</a:t>
            </a:r>
          </a:p>
          <a:p>
            <a:endParaRPr lang="en-US" baseline="0" dirty="0" smtClean="0"/>
          </a:p>
          <a:p>
            <a:pPr marL="228600" indent="-228600">
              <a:buAutoNum type="arabicPeriod"/>
            </a:pPr>
            <a:r>
              <a:rPr lang="en-US" baseline="0" dirty="0" smtClean="0"/>
              <a:t>User logs on normally, but experiences a delay in authentication.</a:t>
            </a:r>
          </a:p>
          <a:p>
            <a:pPr marL="228600" indent="-228600">
              <a:buAutoNum type="arabicPeriod"/>
            </a:pPr>
            <a:r>
              <a:rPr lang="en-US" baseline="0" dirty="0" smtClean="0"/>
              <a:t>Request is bounced to the MFA server which actually sends it back to the NPS server to validate the user credentials.  MFA orchestrates both username/password and token/pin.  </a:t>
            </a:r>
          </a:p>
          <a:p>
            <a:pPr marL="228600" indent="-228600">
              <a:buAutoNum type="arabicPeriod"/>
            </a:pPr>
            <a:r>
              <a:rPr lang="en-US" baseline="0" dirty="0" smtClean="0"/>
              <a:t>Username/password is forwarded to NPS for AD authentication.</a:t>
            </a:r>
          </a:p>
          <a:p>
            <a:pPr marL="228600" indent="-228600">
              <a:buAutoNum type="arabicPeriod"/>
            </a:pPr>
            <a:r>
              <a:rPr lang="en-US" baseline="0" dirty="0" smtClean="0"/>
              <a:t>AD authentication takes place.</a:t>
            </a:r>
          </a:p>
          <a:p>
            <a:pPr marL="228600" indent="-228600">
              <a:buAutoNum type="arabicPeriod"/>
            </a:pPr>
            <a:r>
              <a:rPr lang="en-US" baseline="0" dirty="0" smtClean="0"/>
              <a:t>Authentication = valid is returned to MFA server.  MFA server then send request to Azure to validate token/pin.  This is outside this diagram, but the user will receive whatever secondary authentication method is configured, such as text or voice.</a:t>
            </a:r>
          </a:p>
          <a:p>
            <a:pPr marL="228600" indent="-228600">
              <a:buAutoNum type="arabicPeriod"/>
            </a:pPr>
            <a:r>
              <a:rPr lang="en-US" baseline="0" dirty="0" smtClean="0"/>
              <a:t>Result returned to RD Gateway</a:t>
            </a:r>
          </a:p>
          <a:p>
            <a:pPr marL="228600" indent="-228600">
              <a:buAutoNum type="arabicPeriod"/>
            </a:pPr>
            <a:r>
              <a:rPr lang="en-US" baseline="0" dirty="0" smtClean="0"/>
              <a:t>User logon rejected or allowed </a:t>
            </a:r>
            <a:r>
              <a:rPr lang="en-US" baseline="0" smtClean="0"/>
              <a:t>to proceed.</a:t>
            </a:r>
            <a:endParaRPr lang="en-US" baseline="0" dirty="0" smtClean="0"/>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771707E5-4118-4277-9E30-148EE220CC39}" type="slidenum">
              <a:rPr lang="en-US" altLang="en-US" smtClean="0"/>
              <a:pPr/>
              <a:t>39</a:t>
            </a:fld>
            <a:endParaRPr lang="en-US" altLang="en-US"/>
          </a:p>
        </p:txBody>
      </p:sp>
    </p:spTree>
    <p:extLst>
      <p:ext uri="{BB962C8B-B14F-4D97-AF65-F5344CB8AC3E}">
        <p14:creationId xmlns:p14="http://schemas.microsoft.com/office/powerpoint/2010/main" val="19087641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2813" rtl="0" eaLnBrk="1" fontAlgn="base" latinLnBrk="0" hangingPunct="1">
              <a:lnSpc>
                <a:spcPct val="90000"/>
              </a:lnSpc>
              <a:spcBef>
                <a:spcPct val="30000"/>
              </a:spcBef>
              <a:spcAft>
                <a:spcPts val="338"/>
              </a:spcAft>
              <a:buClrTx/>
              <a:buSzTx/>
              <a:buFontTx/>
              <a:buNone/>
              <a:tabLst/>
              <a:defRPr/>
            </a:pPr>
            <a:r>
              <a:rPr lang="en-US" sz="1000" dirty="0" smtClean="0"/>
              <a:t>You can use this to explain all the Azure building blocks – the compute services at the top and then the other blocks of services – data, networking, Apps…. YOUR CHOICE…  We</a:t>
            </a:r>
            <a:r>
              <a:rPr lang="en-US" sz="1000" baseline="0" dirty="0" smtClean="0"/>
              <a:t> want to articulate that Azure is a bunch of services that can be used as “Building Blocks” to technology solutions.  If you would like to do that without this eye chart, Your Choice </a:t>
            </a:r>
            <a:r>
              <a:rPr lang="en-US" sz="1000" baseline="0" dirty="0" smtClean="0">
                <a:sym typeface="Wingdings" panose="05000000000000000000" pitchFamily="2" charset="2"/>
              </a:rPr>
              <a:t></a:t>
            </a:r>
            <a:endParaRPr lang="en-US" sz="1000" dirty="0" smtClean="0"/>
          </a:p>
          <a:p>
            <a:endParaRPr lang="en-US" sz="10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FE4590D-5E94-498D-9872-45222547810D}"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4110435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smtClean="0">
                <a:solidFill>
                  <a:schemeClr val="tx1"/>
                </a:solidFill>
                <a:effectLst/>
                <a:latin typeface="Segoe UI Light" pitchFamily="34" charset="0"/>
                <a:ea typeface="+mn-ea"/>
                <a:cs typeface="+mn-cs"/>
              </a:rPr>
              <a:t>Windows Azure is a broad stack of services that runs in our datacenters globally. </a:t>
            </a:r>
          </a:p>
          <a:p>
            <a:endParaRPr lang="en-US" sz="1000" kern="1200" dirty="0" smtClean="0">
              <a:solidFill>
                <a:schemeClr val="tx1"/>
              </a:solidFill>
              <a:effectLst/>
              <a:latin typeface="Segoe UI Light" pitchFamily="34" charset="0"/>
              <a:ea typeface="+mn-ea"/>
              <a:cs typeface="+mn-cs"/>
            </a:endParaRPr>
          </a:p>
          <a:p>
            <a:r>
              <a:rPr lang="en-US" sz="1000" kern="1200" dirty="0" smtClean="0">
                <a:solidFill>
                  <a:schemeClr val="tx1"/>
                </a:solidFill>
                <a:effectLst/>
                <a:latin typeface="Segoe UI Light" pitchFamily="34" charset="0"/>
                <a:ea typeface="+mn-ea"/>
                <a:cs typeface="+mn-cs"/>
              </a:rPr>
              <a:t>Think of the different services as </a:t>
            </a:r>
            <a:r>
              <a:rPr lang="en-US" sz="1000" i="1" kern="1200" dirty="0" smtClean="0">
                <a:solidFill>
                  <a:schemeClr val="tx1"/>
                </a:solidFill>
                <a:effectLst/>
                <a:latin typeface="Segoe UI Light" pitchFamily="34" charset="0"/>
                <a:ea typeface="+mn-ea"/>
                <a:cs typeface="+mn-cs"/>
              </a:rPr>
              <a:t>building blocks.</a:t>
            </a:r>
            <a:r>
              <a:rPr lang="en-US" sz="1000" kern="1200" dirty="0" smtClean="0">
                <a:solidFill>
                  <a:schemeClr val="tx1"/>
                </a:solidFill>
                <a:effectLst/>
                <a:latin typeface="Segoe UI Light" pitchFamily="34" charset="0"/>
                <a:ea typeface="+mn-ea"/>
                <a:cs typeface="+mn-cs"/>
              </a:rPr>
              <a:t> These services can be categorized</a:t>
            </a:r>
            <a:r>
              <a:rPr lang="en-US" sz="1000" kern="1200" baseline="0" dirty="0" smtClean="0">
                <a:solidFill>
                  <a:schemeClr val="tx1"/>
                </a:solidFill>
                <a:effectLst/>
                <a:latin typeface="Segoe UI Light" pitchFamily="34" charset="0"/>
                <a:ea typeface="+mn-ea"/>
                <a:cs typeface="+mn-cs"/>
              </a:rPr>
              <a:t> into three classes – </a:t>
            </a:r>
          </a:p>
          <a:p>
            <a:r>
              <a:rPr lang="en-US" sz="1000" b="1" kern="1200" baseline="0" dirty="0" smtClean="0">
                <a:solidFill>
                  <a:schemeClr val="tx1"/>
                </a:solidFill>
                <a:effectLst/>
                <a:latin typeface="Segoe UI Light" pitchFamily="34" charset="0"/>
                <a:ea typeface="+mn-ea"/>
                <a:cs typeface="+mn-cs"/>
              </a:rPr>
              <a:t>Infrastructure services </a:t>
            </a:r>
            <a:r>
              <a:rPr lang="en-US" sz="1000" kern="1200" baseline="0" dirty="0" smtClean="0">
                <a:solidFill>
                  <a:schemeClr val="tx1"/>
                </a:solidFill>
                <a:effectLst/>
                <a:latin typeface="Segoe UI Light" pitchFamily="34" charset="0"/>
                <a:ea typeface="+mn-ea"/>
                <a:cs typeface="+mn-cs"/>
              </a:rPr>
              <a:t>which are lower level building blocks, </a:t>
            </a:r>
          </a:p>
          <a:p>
            <a:r>
              <a:rPr lang="en-US" sz="1000" b="1" kern="1200" baseline="0" dirty="0" smtClean="0">
                <a:solidFill>
                  <a:schemeClr val="tx1"/>
                </a:solidFill>
                <a:effectLst/>
                <a:latin typeface="Segoe UI Light" pitchFamily="34" charset="0"/>
                <a:ea typeface="+mn-ea"/>
                <a:cs typeface="+mn-cs"/>
              </a:rPr>
              <a:t>Data services </a:t>
            </a:r>
            <a:r>
              <a:rPr lang="en-US" sz="1000" kern="1200" baseline="0" dirty="0" smtClean="0">
                <a:solidFill>
                  <a:schemeClr val="tx1"/>
                </a:solidFill>
                <a:effectLst/>
                <a:latin typeface="Segoe UI Light" pitchFamily="34" charset="0"/>
                <a:ea typeface="+mn-ea"/>
                <a:cs typeface="+mn-cs"/>
              </a:rPr>
              <a:t>that provide storage and data management capabilities to apps, and </a:t>
            </a:r>
          </a:p>
          <a:p>
            <a:r>
              <a:rPr lang="en-US" sz="1000" b="1" kern="1200" baseline="0" dirty="0" smtClean="0">
                <a:solidFill>
                  <a:schemeClr val="tx1"/>
                </a:solidFill>
                <a:effectLst/>
                <a:latin typeface="Segoe UI Light" pitchFamily="34" charset="0"/>
                <a:ea typeface="+mn-ea"/>
                <a:cs typeface="+mn-cs"/>
              </a:rPr>
              <a:t>App services</a:t>
            </a:r>
            <a:r>
              <a:rPr lang="en-US" sz="1000" kern="1200" baseline="0" dirty="0" smtClean="0">
                <a:solidFill>
                  <a:schemeClr val="tx1"/>
                </a:solidFill>
                <a:effectLst/>
                <a:latin typeface="Segoe UI Light" pitchFamily="34" charset="0"/>
                <a:ea typeface="+mn-ea"/>
                <a:cs typeface="+mn-cs"/>
              </a:rPr>
              <a:t> which provide different capabilities to rapidly develop apps, scale and run apps at a global scale.</a:t>
            </a:r>
            <a:endParaRPr lang="en-US" sz="1000" kern="1200" dirty="0" smtClean="0">
              <a:solidFill>
                <a:schemeClr val="tx1"/>
              </a:solidFill>
              <a:effectLst/>
              <a:latin typeface="Segoe UI Light" pitchFamily="34" charset="0"/>
              <a:ea typeface="+mn-ea"/>
              <a:cs typeface="+mn-cs"/>
            </a:endParaRPr>
          </a:p>
          <a:p>
            <a:endParaRPr lang="en-US" sz="10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FE4590D-5E94-498D-9872-45222547810D}"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7641839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smtClean="0">
                <a:solidFill>
                  <a:schemeClr val="tx1"/>
                </a:solidFill>
                <a:effectLst/>
                <a:latin typeface="Segoe UI Light" pitchFamily="34" charset="0"/>
                <a:ea typeface="+mn-ea"/>
                <a:cs typeface="+mn-cs"/>
              </a:rPr>
              <a:t>You can use these blocks or</a:t>
            </a:r>
            <a:r>
              <a:rPr lang="en-US" sz="1000" kern="1200" baseline="0" dirty="0" smtClean="0">
                <a:solidFill>
                  <a:schemeClr val="tx1"/>
                </a:solidFill>
                <a:effectLst/>
                <a:latin typeface="Segoe UI Light" pitchFamily="34" charset="0"/>
                <a:ea typeface="+mn-ea"/>
                <a:cs typeface="+mn-cs"/>
              </a:rPr>
              <a:t> puzzle pieces </a:t>
            </a:r>
            <a:r>
              <a:rPr lang="en-US" sz="1000" kern="1200" dirty="0" smtClean="0">
                <a:solidFill>
                  <a:schemeClr val="tx1"/>
                </a:solidFill>
                <a:effectLst/>
                <a:latin typeface="Segoe UI Light" pitchFamily="34" charset="0"/>
                <a:ea typeface="+mn-ea"/>
                <a:cs typeface="+mn-cs"/>
              </a:rPr>
              <a:t>to rapidly build apps, and then choose an Azure datacenter to run the app. Windows Azure takes care of the underlying management, and provides your app the scale it needs. </a:t>
            </a:r>
          </a:p>
          <a:p>
            <a:endParaRPr lang="en-US" sz="1000" kern="1200" dirty="0" smtClean="0">
              <a:solidFill>
                <a:schemeClr val="tx1"/>
              </a:solidFill>
              <a:effectLst/>
              <a:latin typeface="Segoe UI Light" pitchFamily="34" charset="0"/>
              <a:ea typeface="+mn-ea"/>
              <a:cs typeface="+mn-cs"/>
            </a:endParaRPr>
          </a:p>
          <a:p>
            <a:r>
              <a:rPr lang="en-US" sz="1000" kern="1200" dirty="0" smtClean="0">
                <a:solidFill>
                  <a:schemeClr val="tx1"/>
                </a:solidFill>
                <a:effectLst/>
                <a:latin typeface="Segoe UI Light" pitchFamily="34" charset="0"/>
                <a:ea typeface="+mn-ea"/>
                <a:cs typeface="+mn-cs"/>
              </a:rPr>
              <a:t>This approach is what industry experts call a </a:t>
            </a:r>
            <a:r>
              <a:rPr lang="en-US" sz="1000" b="1" kern="1200" dirty="0" smtClean="0">
                <a:solidFill>
                  <a:schemeClr val="tx1"/>
                </a:solidFill>
                <a:effectLst/>
                <a:latin typeface="Segoe UI Light" pitchFamily="34" charset="0"/>
                <a:ea typeface="+mn-ea"/>
                <a:cs typeface="+mn-cs"/>
              </a:rPr>
              <a:t>Platform as a Service</a:t>
            </a:r>
            <a:r>
              <a:rPr lang="en-US" sz="1000" kern="1200" dirty="0" smtClean="0">
                <a:solidFill>
                  <a:schemeClr val="tx1"/>
                </a:solidFill>
                <a:effectLst/>
                <a:latin typeface="Segoe UI Light" pitchFamily="34" charset="0"/>
                <a:ea typeface="+mn-ea"/>
                <a:cs typeface="+mn-cs"/>
              </a:rPr>
              <a:t>. </a:t>
            </a:r>
          </a:p>
          <a:p>
            <a:endParaRPr lang="en-US" sz="10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FE4590D-5E94-498D-9872-45222547810D}"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3541375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smtClean="0">
                <a:solidFill>
                  <a:schemeClr val="tx1"/>
                </a:solidFill>
                <a:effectLst/>
                <a:latin typeface="Segoe UI Light" pitchFamily="34" charset="0"/>
                <a:ea typeface="+mn-ea"/>
                <a:cs typeface="+mn-cs"/>
              </a:rPr>
              <a:t>But that is not all that you can do with Azure. Windows Azure also provides infrastructure services which allow for more hands on configuration and management similar the servers you have today. However, they’re hosted in Microsoft datacenters letting you use Azure as if you were operating your own datacenter in the Cloud. For example, you can provision VMs, give them private IP addresses, and connect to them using a VPN from your on-premises environment. Most importantly, this lets Windows Azure mimic your on-premises datacenter and run your current apps with little or no change without the expense of having to own servers of racks, cooling and building costs. Furthermore, you</a:t>
            </a:r>
            <a:r>
              <a:rPr lang="en-US" sz="1000" kern="1200" baseline="0" dirty="0" smtClean="0">
                <a:solidFill>
                  <a:schemeClr val="tx1"/>
                </a:solidFill>
                <a:effectLst/>
                <a:latin typeface="Segoe UI Light" pitchFamily="34" charset="0"/>
                <a:ea typeface="+mn-ea"/>
                <a:cs typeface="+mn-cs"/>
              </a:rPr>
              <a:t> can connect the “datacenter” you build in the Cloud to your on-premises  datacenter so the datacenter in the Cloud becomes an extension to your on-premises infrastructure. </a:t>
            </a:r>
          </a:p>
          <a:p>
            <a:endParaRPr lang="en-US" sz="1000" kern="1200" baseline="0" dirty="0" smtClean="0">
              <a:solidFill>
                <a:schemeClr val="tx1"/>
              </a:solidFill>
              <a:effectLst/>
              <a:latin typeface="Segoe UI Light" pitchFamily="34" charset="0"/>
              <a:ea typeface="+mn-ea"/>
              <a:cs typeface="+mn-cs"/>
            </a:endParaRPr>
          </a:p>
          <a:p>
            <a:r>
              <a:rPr lang="en-US" sz="1000" kern="1200" dirty="0" smtClean="0">
                <a:solidFill>
                  <a:schemeClr val="tx1"/>
                </a:solidFill>
                <a:effectLst/>
                <a:latin typeface="Segoe UI Light" pitchFamily="34" charset="0"/>
                <a:ea typeface="+mn-ea"/>
                <a:cs typeface="+mn-cs"/>
              </a:rPr>
              <a:t>These “building blocks” lets Windows Azure to be used as an </a:t>
            </a:r>
            <a:r>
              <a:rPr lang="en-US" sz="1000" b="1" kern="1200" dirty="0" smtClean="0">
                <a:solidFill>
                  <a:schemeClr val="tx1"/>
                </a:solidFill>
                <a:effectLst/>
                <a:latin typeface="Segoe UI Light" pitchFamily="34" charset="0"/>
                <a:ea typeface="+mn-ea"/>
                <a:cs typeface="+mn-cs"/>
              </a:rPr>
              <a:t>Infrastructure-a- a-service</a:t>
            </a:r>
            <a:r>
              <a:rPr lang="en-US" sz="1000" kern="1200" dirty="0" smtClean="0">
                <a:solidFill>
                  <a:schemeClr val="tx1"/>
                </a:solidFill>
                <a:effectLst/>
                <a:latin typeface="Segoe UI Light" pitchFamily="34" charset="0"/>
                <a:ea typeface="+mn-ea"/>
                <a:cs typeface="+mn-cs"/>
              </a:rPr>
              <a:t>.</a:t>
            </a:r>
          </a:p>
          <a:p>
            <a:endParaRPr lang="en-US" sz="1000" kern="1200" dirty="0" smtClean="0">
              <a:solidFill>
                <a:schemeClr val="tx1"/>
              </a:solidFill>
              <a:effectLst/>
              <a:latin typeface="Segoe UI Light" pitchFamily="34" charset="0"/>
              <a:ea typeface="+mn-ea"/>
              <a:cs typeface="+mn-cs"/>
            </a:endParaRPr>
          </a:p>
          <a:p>
            <a:r>
              <a:rPr lang="en-US" sz="1000" b="1" kern="1200" dirty="0" smtClean="0">
                <a:solidFill>
                  <a:schemeClr val="tx1"/>
                </a:solidFill>
                <a:effectLst/>
                <a:latin typeface="Segoe UI Light" pitchFamily="34" charset="0"/>
                <a:ea typeface="+mn-ea"/>
                <a:cs typeface="+mn-cs"/>
              </a:rPr>
              <a:t>So, you see Windows Azure offers </a:t>
            </a:r>
            <a:r>
              <a:rPr lang="en-US" sz="1000" b="1" kern="1200" dirty="0" err="1" smtClean="0">
                <a:solidFill>
                  <a:schemeClr val="tx1"/>
                </a:solidFill>
                <a:effectLst/>
                <a:latin typeface="Segoe UI Light" pitchFamily="34" charset="0"/>
                <a:ea typeface="+mn-ea"/>
                <a:cs typeface="+mn-cs"/>
              </a:rPr>
              <a:t>IaaS</a:t>
            </a:r>
            <a:r>
              <a:rPr lang="en-US" sz="1000" b="1" kern="1200" dirty="0" smtClean="0">
                <a:solidFill>
                  <a:schemeClr val="tx1"/>
                </a:solidFill>
                <a:effectLst/>
                <a:latin typeface="Segoe UI Light" pitchFamily="34" charset="0"/>
                <a:ea typeface="+mn-ea"/>
                <a:cs typeface="+mn-cs"/>
              </a:rPr>
              <a:t> +</a:t>
            </a:r>
            <a:r>
              <a:rPr lang="en-US" sz="1000" b="1" kern="1200" dirty="0" err="1" smtClean="0">
                <a:solidFill>
                  <a:schemeClr val="tx1"/>
                </a:solidFill>
                <a:effectLst/>
                <a:latin typeface="Segoe UI Light" pitchFamily="34" charset="0"/>
                <a:ea typeface="+mn-ea"/>
                <a:cs typeface="+mn-cs"/>
              </a:rPr>
              <a:t>PaaS</a:t>
            </a:r>
            <a:r>
              <a:rPr lang="en-US" sz="1000" b="1" kern="1200" dirty="0" smtClean="0">
                <a:solidFill>
                  <a:schemeClr val="tx1"/>
                </a:solidFill>
                <a:effectLst/>
                <a:latin typeface="Segoe UI Light" pitchFamily="34" charset="0"/>
                <a:ea typeface="+mn-ea"/>
                <a:cs typeface="+mn-cs"/>
              </a:rPr>
              <a:t> in one platform. </a:t>
            </a:r>
            <a:r>
              <a:rPr lang="en-US" sz="1000" b="1" kern="1200" dirty="0" err="1" smtClean="0">
                <a:solidFill>
                  <a:schemeClr val="tx1"/>
                </a:solidFill>
                <a:effectLst/>
                <a:latin typeface="Segoe UI Light" pitchFamily="34" charset="0"/>
                <a:ea typeface="+mn-ea"/>
                <a:cs typeface="+mn-cs"/>
              </a:rPr>
              <a:t>IaaS</a:t>
            </a:r>
            <a:r>
              <a:rPr lang="en-US" sz="1000" b="1" kern="1200" dirty="0" smtClean="0">
                <a:solidFill>
                  <a:schemeClr val="tx1"/>
                </a:solidFill>
                <a:effectLst/>
                <a:latin typeface="Segoe UI Light" pitchFamily="34" charset="0"/>
                <a:ea typeface="+mn-ea"/>
                <a:cs typeface="+mn-cs"/>
              </a:rPr>
              <a:t> provides flexibility, </a:t>
            </a:r>
            <a:r>
              <a:rPr lang="en-US" sz="1000" b="1" kern="1200" dirty="0" err="1" smtClean="0">
                <a:solidFill>
                  <a:schemeClr val="tx1"/>
                </a:solidFill>
                <a:effectLst/>
                <a:latin typeface="Segoe UI Light" pitchFamily="34" charset="0"/>
                <a:ea typeface="+mn-ea"/>
                <a:cs typeface="+mn-cs"/>
              </a:rPr>
              <a:t>PaaS</a:t>
            </a:r>
            <a:r>
              <a:rPr lang="en-US" sz="1000" b="1" kern="1200" dirty="0" smtClean="0">
                <a:solidFill>
                  <a:schemeClr val="tx1"/>
                </a:solidFill>
                <a:effectLst/>
                <a:latin typeface="Segoe UI Light" pitchFamily="34" charset="0"/>
                <a:ea typeface="+mn-ea"/>
                <a:cs typeface="+mn-cs"/>
              </a:rPr>
              <a:t> eliminates complexity. Use </a:t>
            </a:r>
            <a:r>
              <a:rPr lang="en-US" sz="1000" b="1" kern="1200" dirty="0" err="1" smtClean="0">
                <a:solidFill>
                  <a:schemeClr val="tx1"/>
                </a:solidFill>
                <a:effectLst/>
                <a:latin typeface="Segoe UI Light" pitchFamily="34" charset="0"/>
                <a:ea typeface="+mn-ea"/>
                <a:cs typeface="+mn-cs"/>
              </a:rPr>
              <a:t>PaaS</a:t>
            </a:r>
            <a:r>
              <a:rPr lang="en-US" sz="1000" b="1" kern="1200" dirty="0" smtClean="0">
                <a:solidFill>
                  <a:schemeClr val="tx1"/>
                </a:solidFill>
                <a:effectLst/>
                <a:latin typeface="Segoe UI Light" pitchFamily="34" charset="0"/>
                <a:ea typeface="+mn-ea"/>
                <a:cs typeface="+mn-cs"/>
              </a:rPr>
              <a:t> where you can, use </a:t>
            </a:r>
            <a:r>
              <a:rPr lang="en-US" sz="1000" b="1" kern="1200" dirty="0" err="1" smtClean="0">
                <a:solidFill>
                  <a:schemeClr val="tx1"/>
                </a:solidFill>
                <a:effectLst/>
                <a:latin typeface="Segoe UI Light" pitchFamily="34" charset="0"/>
                <a:ea typeface="+mn-ea"/>
                <a:cs typeface="+mn-cs"/>
              </a:rPr>
              <a:t>IaaS</a:t>
            </a:r>
            <a:r>
              <a:rPr lang="en-US" sz="1000" b="1" kern="1200" dirty="0" smtClean="0">
                <a:solidFill>
                  <a:schemeClr val="tx1"/>
                </a:solidFill>
                <a:effectLst/>
                <a:latin typeface="Segoe UI Light" pitchFamily="34" charset="0"/>
                <a:ea typeface="+mn-ea"/>
                <a:cs typeface="+mn-cs"/>
              </a:rPr>
              <a:t> where you need. With Azure, you can use both together or independently, and build</a:t>
            </a:r>
            <a:r>
              <a:rPr lang="en-US" sz="1000" b="1" kern="1200" baseline="0" dirty="0" smtClean="0">
                <a:solidFill>
                  <a:schemeClr val="tx1"/>
                </a:solidFill>
                <a:effectLst/>
                <a:latin typeface="Segoe UI Light" pitchFamily="34" charset="0"/>
                <a:ea typeface="+mn-ea"/>
                <a:cs typeface="+mn-cs"/>
              </a:rPr>
              <a:t> apps of the future</a:t>
            </a:r>
            <a:r>
              <a:rPr lang="en-US" sz="1000" b="1" kern="1200" dirty="0" smtClean="0">
                <a:solidFill>
                  <a:schemeClr val="tx1"/>
                </a:solidFill>
                <a:effectLst/>
                <a:latin typeface="Segoe UI Light" pitchFamily="34" charset="0"/>
                <a:ea typeface="+mn-ea"/>
                <a:cs typeface="+mn-cs"/>
              </a:rPr>
              <a:t>. That uniquely differentiates us. </a:t>
            </a:r>
          </a:p>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FE4590D-5E94-498D-9872-45222547810D}"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1024679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dirty="0" smtClean="0"/>
              <a:t>Describe the various computing patterns that</a:t>
            </a:r>
            <a:r>
              <a:rPr lang="en-US" baseline="0" dirty="0" smtClean="0"/>
              <a:t> are good for Cloud Computing</a:t>
            </a:r>
          </a:p>
          <a:p>
            <a:pPr marL="0" indent="0">
              <a:buFont typeface="Arial" pitchFamily="34" charset="0"/>
              <a:buNone/>
            </a:pPr>
            <a:endParaRPr lang="en-US" baseline="0" dirty="0" smtClean="0"/>
          </a:p>
          <a:p>
            <a:pPr marL="0" indent="0">
              <a:buFont typeface="Arial" pitchFamily="34" charset="0"/>
              <a:buNone/>
            </a:pPr>
            <a:r>
              <a:rPr lang="en-US" b="1" baseline="0" dirty="0" smtClean="0"/>
              <a:t>Speaking Points:</a:t>
            </a:r>
          </a:p>
          <a:p>
            <a:pPr marL="171450" indent="-171450">
              <a:buFont typeface="Arial" pitchFamily="34" charset="0"/>
              <a:buChar char="•"/>
            </a:pPr>
            <a:r>
              <a:rPr lang="en-US" dirty="0" smtClean="0"/>
              <a:t>There</a:t>
            </a:r>
            <a:r>
              <a:rPr lang="en-US" baseline="0" dirty="0" smtClean="0"/>
              <a:t> are numerous terms and definitions floating around in the industry for “the cloud”, “cloud computing”, “cloud services”, etc.</a:t>
            </a:r>
          </a:p>
          <a:p>
            <a:pPr marL="171450" indent="-171450">
              <a:buFont typeface="Arial" pitchFamily="34" charset="0"/>
              <a:buChar char="•"/>
            </a:pPr>
            <a:r>
              <a:rPr lang="en-US" baseline="0" dirty="0" smtClean="0"/>
              <a:t>Microsoft thinks of the cloud as simply an approach to computing that enables applications to be delivered at scale for a variety of workloads and client devices.</a:t>
            </a:r>
            <a:endParaRPr lang="en-US" dirty="0" smtClean="0"/>
          </a:p>
          <a:p>
            <a:pPr marL="171450" indent="-171450">
              <a:buFont typeface="Arial" pitchFamily="34" charset="0"/>
              <a:buChar char="•"/>
            </a:pPr>
            <a:r>
              <a:rPr lang="en-US" dirty="0" smtClean="0"/>
              <a:t>The cloud can help deliver IT as a standardized service…freeing you up to focus on your business</a:t>
            </a:r>
          </a:p>
          <a:p>
            <a:pPr marL="285750" indent="-285750">
              <a:buFont typeface="Arial" panose="020B0604020202020204" pitchFamily="34" charset="0"/>
              <a:buChar char="•"/>
            </a:pPr>
            <a:r>
              <a:rPr lang="en-US" dirty="0" smtClean="0"/>
              <a:t>Cover the workloads</a:t>
            </a:r>
            <a:r>
              <a:rPr lang="en-US" baseline="0" dirty="0" smtClean="0"/>
              <a:t> in the slid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8903626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pPr/>
              <a:t>9</a:t>
            </a:fld>
            <a:endParaRPr lang="en-US" dirty="0"/>
          </a:p>
        </p:txBody>
      </p:sp>
    </p:spTree>
    <p:extLst>
      <p:ext uri="{BB962C8B-B14F-4D97-AF65-F5344CB8AC3E}">
        <p14:creationId xmlns:p14="http://schemas.microsoft.com/office/powerpoint/2010/main" val="35741844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hemeOverride" Target="../theme/themeOverride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1.xml"/><Relationship Id="rId4" Type="http://schemas.openxmlformats.org/officeDocument/2006/relationships/image" Target="../media/image7.png"/></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12.xml"/><Relationship Id="rId4" Type="http://schemas.openxmlformats.org/officeDocument/2006/relationships/image" Target="../media/image15.emf"/></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8.jp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699787F-C452-417B-9AC0-3D94BCDDF498}" type="datetimeFigureOut">
              <a:rPr lang="en-US" smtClean="0"/>
              <a:t>10/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9DC884-0787-438E-A7C9-E02BDBF08A08}" type="slidenum">
              <a:rPr lang="en-US" smtClean="0"/>
              <a:t>‹#›</a:t>
            </a:fld>
            <a:endParaRPr lang="en-US"/>
          </a:p>
        </p:txBody>
      </p:sp>
    </p:spTree>
    <p:extLst>
      <p:ext uri="{BB962C8B-B14F-4D97-AF65-F5344CB8AC3E}">
        <p14:creationId xmlns:p14="http://schemas.microsoft.com/office/powerpoint/2010/main" val="5945943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699787F-C452-417B-9AC0-3D94BCDDF498}" type="datetimeFigureOut">
              <a:rPr lang="en-US" smtClean="0"/>
              <a:t>10/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9DC884-0787-438E-A7C9-E02BDBF08A08}" type="slidenum">
              <a:rPr lang="en-US" smtClean="0"/>
              <a:t>‹#›</a:t>
            </a:fld>
            <a:endParaRPr lang="en-US"/>
          </a:p>
        </p:txBody>
      </p:sp>
    </p:spTree>
    <p:extLst>
      <p:ext uri="{BB962C8B-B14F-4D97-AF65-F5344CB8AC3E}">
        <p14:creationId xmlns:p14="http://schemas.microsoft.com/office/powerpoint/2010/main" val="195921355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5"/>
            <a:ext cx="8964248" cy="832882"/>
          </a:xfrm>
        </p:spPr>
        <p:txBody>
          <a:bodyPr/>
          <a:lstStyle>
            <a:lvl1pPr marL="0" indent="0">
              <a:buNone/>
              <a:defRPr sz="4703"/>
            </a:lvl1pPr>
            <a:lvl2pPr>
              <a:defRPr sz="3527"/>
            </a:lvl2pPr>
            <a:lvl3pPr>
              <a:defRPr sz="3527"/>
            </a:lvl3pPr>
            <a:lvl4pPr>
              <a:defRPr sz="3527"/>
            </a:lvl4pPr>
            <a:lvl5pPr>
              <a:defRPr sz="3527"/>
            </a:lvl5pPr>
          </a:lstStyle>
          <a:p>
            <a:pPr lvl="0"/>
            <a:r>
              <a:rPr lang="en-US" dirty="0" smtClean="0"/>
              <a:t>Click to edit Master text styles</a:t>
            </a:r>
          </a:p>
        </p:txBody>
      </p:sp>
    </p:spTree>
    <p:extLst>
      <p:ext uri="{BB962C8B-B14F-4D97-AF65-F5344CB8AC3E}">
        <p14:creationId xmlns:p14="http://schemas.microsoft.com/office/powerpoint/2010/main" val="4120250400"/>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5"/>
            <a:ext cx="8964248" cy="832882"/>
          </a:xfrm>
        </p:spPr>
        <p:txBody>
          <a:bodyPr/>
          <a:lstStyle>
            <a:lvl1pPr marL="0" indent="0">
              <a:buNone/>
              <a:defRPr sz="4703"/>
            </a:lvl1pPr>
            <a:lvl2pPr>
              <a:defRPr sz="3527"/>
            </a:lvl2pPr>
            <a:lvl3pPr>
              <a:defRPr sz="3527"/>
            </a:lvl3pPr>
            <a:lvl4pPr>
              <a:defRPr sz="3527"/>
            </a:lvl4pPr>
            <a:lvl5pPr>
              <a:defRPr sz="3527"/>
            </a:lvl5pPr>
          </a:lstStyle>
          <a:p>
            <a:pPr lvl="0"/>
            <a:r>
              <a:rPr lang="en-US" dirty="0" smtClean="0"/>
              <a:t>Click to edit Master text styles</a:t>
            </a:r>
          </a:p>
        </p:txBody>
      </p:sp>
    </p:spTree>
    <p:extLst>
      <p:ext uri="{BB962C8B-B14F-4D97-AF65-F5344CB8AC3E}">
        <p14:creationId xmlns:p14="http://schemas.microsoft.com/office/powerpoint/2010/main" val="46236780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8964560" cy="5379279"/>
          </a:xfrm>
        </p:spPr>
        <p:txBody>
          <a:bodyPr/>
          <a:lstStyle>
            <a:lvl1pPr>
              <a:defRPr sz="4703"/>
            </a:lvl1pPr>
          </a:lstStyle>
          <a:p>
            <a:r>
              <a:rPr lang="en-US" dirty="0" smtClean="0"/>
              <a:t>Click to edit Master title style</a:t>
            </a:r>
            <a:endParaRPr lang="en-US" dirty="0"/>
          </a:p>
        </p:txBody>
      </p:sp>
    </p:spTree>
    <p:extLst>
      <p:ext uri="{BB962C8B-B14F-4D97-AF65-F5344CB8AC3E}">
        <p14:creationId xmlns:p14="http://schemas.microsoft.com/office/powerpoint/2010/main" val="51052671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4">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1746226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5"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527"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479222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5"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50036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16343800"/>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334034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08001" y="1411553"/>
            <a:ext cx="11176001" cy="2417234"/>
          </a:xfrm>
        </p:spPr>
        <p:txBody>
          <a:bodyPr/>
          <a:lstStyle>
            <a:lvl1pPr>
              <a:lnSpc>
                <a:spcPct val="90000"/>
              </a:lnSpc>
              <a:buSzPct val="100000"/>
              <a:buFont typeface="Arial" pitchFamily="34" charset="0"/>
              <a:buChar char="•"/>
              <a:defRPr>
                <a:solidFill>
                  <a:schemeClr val="bg1">
                    <a:lumMod val="75000"/>
                  </a:schemeClr>
                </a:solidFill>
              </a:defRPr>
            </a:lvl1pPr>
            <a:lvl2pPr algn="l" defTabSz="906537" rtl="0" eaLnBrk="1" latinLnBrk="0" hangingPunct="1">
              <a:lnSpc>
                <a:spcPct val="90000"/>
              </a:lnSpc>
              <a:spcBef>
                <a:spcPct val="20000"/>
              </a:spcBef>
              <a:buClr>
                <a:srgbClr val="777777"/>
              </a:buClr>
              <a:buSzPct val="100000"/>
              <a:buFont typeface="Segoe" pitchFamily="34" charset="0"/>
              <a:buChar char="−"/>
              <a:defRPr lang="en-US" sz="2799" kern="1200" dirty="0" smtClean="0">
                <a:solidFill>
                  <a:schemeClr val="bg1">
                    <a:lumMod val="75000"/>
                  </a:schemeClr>
                </a:solidFill>
                <a:latin typeface="+mn-lt"/>
                <a:ea typeface="+mn-ea"/>
                <a:cs typeface="+mn-cs"/>
              </a:defRPr>
            </a:lvl2pPr>
            <a:lvl3pPr algn="l" defTabSz="906537" rtl="0" eaLnBrk="1" latinLnBrk="0" hangingPunct="1">
              <a:lnSpc>
                <a:spcPct val="90000"/>
              </a:lnSpc>
              <a:spcBef>
                <a:spcPct val="20000"/>
              </a:spcBef>
              <a:buClr>
                <a:srgbClr val="777777"/>
              </a:buClr>
              <a:buSzPct val="100000"/>
              <a:buFont typeface="Segoe" pitchFamily="34" charset="0"/>
              <a:buChar char="−"/>
              <a:defRPr lang="en-US" sz="2399" kern="1200" dirty="0" smtClean="0">
                <a:solidFill>
                  <a:schemeClr val="bg1">
                    <a:lumMod val="75000"/>
                  </a:schemeClr>
                </a:solidFill>
                <a:latin typeface="+mn-lt"/>
                <a:ea typeface="+mn-ea"/>
                <a:cs typeface="+mn-cs"/>
              </a:defRPr>
            </a:lvl3pPr>
            <a:lvl4pPr algn="l" defTabSz="906537" rtl="0" eaLnBrk="1" latinLnBrk="0" hangingPunct="1">
              <a:lnSpc>
                <a:spcPct val="90000"/>
              </a:lnSpc>
              <a:spcBef>
                <a:spcPct val="20000"/>
              </a:spcBef>
              <a:buClr>
                <a:srgbClr val="777777"/>
              </a:buClr>
              <a:buSzPct val="100000"/>
              <a:buFont typeface="Segoe" pitchFamily="34" charset="0"/>
              <a:buChar char="−"/>
              <a:defRPr lang="en-US" sz="2399" kern="1200" dirty="0" smtClean="0">
                <a:solidFill>
                  <a:schemeClr val="bg1">
                    <a:lumMod val="75000"/>
                  </a:schemeClr>
                </a:solidFill>
                <a:latin typeface="+mn-lt"/>
                <a:ea typeface="+mn-ea"/>
                <a:cs typeface="+mn-cs"/>
              </a:defRPr>
            </a:lvl4pPr>
            <a:lvl5pPr algn="l" defTabSz="906537" rtl="0" eaLnBrk="1" latinLnBrk="0" hangingPunct="1">
              <a:lnSpc>
                <a:spcPct val="90000"/>
              </a:lnSpc>
              <a:spcBef>
                <a:spcPct val="20000"/>
              </a:spcBef>
              <a:buClr>
                <a:srgbClr val="777777"/>
              </a:buClr>
              <a:buSzPct val="100000"/>
              <a:buFont typeface="Segoe" pitchFamily="34" charset="0"/>
              <a:buChar char="−"/>
              <a:defRPr lang="en-US" sz="2399" kern="1200" dirty="0">
                <a:solidFill>
                  <a:schemeClr val="bg1">
                    <a:lumMod val="75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8615194"/>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08001" y="1412875"/>
            <a:ext cx="11176001" cy="218480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7659571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699787F-C452-417B-9AC0-3D94BCDDF498}" type="datetimeFigureOut">
              <a:rPr lang="en-US" smtClean="0"/>
              <a:t>10/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9DC884-0787-438E-A7C9-E02BDBF08A08}" type="slidenum">
              <a:rPr lang="en-US" smtClean="0"/>
              <a:t>‹#›</a:t>
            </a:fld>
            <a:endParaRPr lang="en-US"/>
          </a:p>
        </p:txBody>
      </p:sp>
    </p:spTree>
    <p:extLst>
      <p:ext uri="{BB962C8B-B14F-4D97-AF65-F5344CB8AC3E}">
        <p14:creationId xmlns:p14="http://schemas.microsoft.com/office/powerpoint/2010/main" val="124876681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3771"/>
            <a:endParaRPr lang="en-US" sz="1764">
              <a:solidFill>
                <a:srgbClr val="EFEFEF"/>
              </a:solidFill>
            </a:endParaRPr>
          </a:p>
        </p:txBody>
      </p:sp>
      <p:sp>
        <p:nvSpPr>
          <p:cNvPr id="2" name="Title 1"/>
          <p:cNvSpPr>
            <a:spLocks noGrp="1"/>
          </p:cNvSpPr>
          <p:nvPr>
            <p:ph type="title" hasCustomPrompt="1"/>
          </p:nvPr>
        </p:nvSpPr>
        <p:spPr>
          <a:xfrm>
            <a:off x="5647788" y="1187622"/>
            <a:ext cx="6274974" cy="2136525"/>
          </a:xfrm>
        </p:spPr>
        <p:txBody>
          <a:bodyPr wrap="square" anchor="t" anchorCtr="0">
            <a:spAutoFit/>
          </a:bodyPr>
          <a:lstStyle>
            <a:lvl1pPr>
              <a:defRPr sz="7055" spc="-150"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647788" y="3877277"/>
            <a:ext cx="6274974" cy="618952"/>
          </a:xfrm>
        </p:spPr>
        <p:txBody>
          <a:bodyPr wrap="square">
            <a:spAutoFit/>
          </a:bodyPr>
          <a:lstStyle>
            <a:lvl1pPr marL="0" indent="0">
              <a:spcBef>
                <a:spcPts val="0"/>
              </a:spcBef>
              <a:buNone/>
              <a:defRPr sz="3135" spc="-70"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570985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173">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747897"/>
          </a:xfrm>
        </p:spPr>
        <p:txBody>
          <a:bodyPr/>
          <a:lstStyle>
            <a:lvl1pPr>
              <a:defRPr lang="en-US" sz="5399" kern="1200" spc="-100" baseline="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799"/>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421792640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22"/>
          </a:xfr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48" y="1447800"/>
            <a:ext cx="11151917" cy="200073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1343238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730"/>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4069046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7238258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023908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73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3647356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730"/>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27118696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325795"/>
          </a:xfrm>
        </p:spPr>
        <p:txBody>
          <a:bodyPr/>
          <a:lstStyle>
            <a:lvl1pPr>
              <a:defRPr sz="2352"/>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6"/>
            <a:ext cx="8964248" cy="651525"/>
          </a:xfrm>
        </p:spPr>
        <p:txBody>
          <a:bodyPr/>
          <a:lstStyle>
            <a:lvl1pPr marL="0" indent="0">
              <a:buNone/>
              <a:defRPr sz="4703"/>
            </a:lvl1pPr>
            <a:lvl2pPr>
              <a:defRPr sz="3527"/>
            </a:lvl2pPr>
            <a:lvl3pPr>
              <a:defRPr sz="3527"/>
            </a:lvl3pPr>
            <a:lvl4pPr>
              <a:defRPr sz="3527"/>
            </a:lvl4pPr>
            <a:lvl5pPr>
              <a:defRPr sz="3527"/>
            </a:lvl5pPr>
          </a:lstStyle>
          <a:p>
            <a:pPr lvl="0"/>
            <a:r>
              <a:rPr lang="en-US" dirty="0" smtClean="0"/>
              <a:t>Click to edit Master text styles</a:t>
            </a:r>
          </a:p>
        </p:txBody>
      </p:sp>
    </p:spTree>
    <p:extLst>
      <p:ext uri="{BB962C8B-B14F-4D97-AF65-F5344CB8AC3E}">
        <p14:creationId xmlns:p14="http://schemas.microsoft.com/office/powerpoint/2010/main" val="22992942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1"/>
            <a:ext cx="12192000" cy="727571"/>
          </a:xfrm>
        </p:spPr>
        <p:txBody>
          <a:bodyPr/>
          <a:lstStyle>
            <a:lvl1pPr marL="0" indent="0">
              <a:buNone/>
              <a:defRPr/>
            </a:lvl1pPr>
          </a:lstStyle>
          <a:p>
            <a:endParaRPr lang="en-US"/>
          </a:p>
        </p:txBody>
      </p:sp>
      <p:sp>
        <p:nvSpPr>
          <p:cNvPr id="9" name="Title 1"/>
          <p:cNvSpPr>
            <a:spLocks noGrp="1"/>
          </p:cNvSpPr>
          <p:nvPr>
            <p:ph type="title" hasCustomPrompt="1"/>
          </p:nvPr>
        </p:nvSpPr>
        <p:spPr>
          <a:xfrm>
            <a:off x="269304" y="291069"/>
            <a:ext cx="5378485" cy="1793104"/>
          </a:xfrm>
          <a:noFill/>
        </p:spPr>
        <p:txBody>
          <a:bodyPr lIns="182880" tIns="146304" rIns="182880" bIns="146304" anchor="t" anchorCtr="0"/>
          <a:lstStyle>
            <a:lvl1pPr>
              <a:defRPr sz="4703" spc="-98"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15701976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4083651265"/>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1"/>
            <a:ext cx="12192000" cy="727571"/>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3"/>
            </a:lvl1pPr>
          </a:lstStyle>
          <a:p>
            <a:r>
              <a:rPr lang="en-US" dirty="0" smtClean="0"/>
              <a:t>Click to edit Master title style</a:t>
            </a:r>
            <a:endParaRPr lang="en-US" dirty="0"/>
          </a:p>
        </p:txBody>
      </p:sp>
    </p:spTree>
    <p:extLst>
      <p:ext uri="{BB962C8B-B14F-4D97-AF65-F5344CB8AC3E}">
        <p14:creationId xmlns:p14="http://schemas.microsoft.com/office/powerpoint/2010/main" val="321393650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7862764"/>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6675843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Tree>
    <p:extLst>
      <p:ext uri="{BB962C8B-B14F-4D97-AF65-F5344CB8AC3E}">
        <p14:creationId xmlns:p14="http://schemas.microsoft.com/office/powerpoint/2010/main" val="2945025144"/>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3"/>
            <a:ext cx="3406434" cy="3406937"/>
          </a:xfrm>
        </p:spPr>
        <p:txBody>
          <a:bodyPr/>
          <a:lstStyle>
            <a:lvl1pPr>
              <a:defRPr/>
            </a:lvl1pPr>
          </a:lstStyle>
          <a:p>
            <a:r>
              <a:rPr lang="en-US" dirty="0" smtClean="0"/>
              <a:t>Click to edit Master title style </a:t>
            </a:r>
            <a:endParaRPr lang="en-US" dirty="0"/>
          </a:p>
        </p:txBody>
      </p:sp>
      <p:sp>
        <p:nvSpPr>
          <p:cNvPr id="3" name="Rectangle 2"/>
          <p:cNvSpPr/>
          <p:nvPr userDrawn="1"/>
        </p:nvSpPr>
        <p:spPr bwMode="auto">
          <a:xfrm>
            <a:off x="3854939"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9"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57383645"/>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3850" y="4056270"/>
            <a:ext cx="2689274" cy="2510690"/>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082814" y="4056272"/>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700185" y="4056272"/>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5891499" y="4056272"/>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3850"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692735862"/>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4"/>
            <a:ext cx="11653834" cy="1793071"/>
          </a:xfrm>
        </p:spPr>
        <p:txBody>
          <a:bodyPr/>
          <a:lstStyle>
            <a:lvl1pPr>
              <a:defRPr sz="5684">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70"/>
            <a:ext cx="7171399" cy="510461"/>
          </a:xfrm>
        </p:spPr>
        <p:txBody>
          <a:bodyPr/>
          <a:lstStyle>
            <a:lvl1pPr marL="0" indent="0">
              <a:buNone/>
              <a:defRPr sz="2352">
                <a:gradFill>
                  <a:gsLst>
                    <a:gs pos="1250">
                      <a:schemeClr val="tx1"/>
                    </a:gs>
                    <a:gs pos="100000">
                      <a:schemeClr val="tx1"/>
                    </a:gs>
                  </a:gsLst>
                  <a:lin ang="5400000" scaled="0"/>
                </a:gradFill>
                <a:latin typeface="+mn-lt"/>
              </a:defRPr>
            </a:lvl1pPr>
            <a:lvl2pPr>
              <a:defRPr sz="2352"/>
            </a:lvl2pPr>
            <a:lvl3pPr>
              <a:defRPr sz="2352"/>
            </a:lvl3pPr>
            <a:lvl4pPr>
              <a:defRPr sz="2352"/>
            </a:lvl4pPr>
            <a:lvl5pPr>
              <a:defRPr sz="2352"/>
            </a:lvl5pPr>
          </a:lstStyle>
          <a:p>
            <a:pPr lvl="0"/>
            <a:r>
              <a:rPr lang="en-US" smtClean="0"/>
              <a:t>Click to edit Master text styles</a:t>
            </a:r>
          </a:p>
        </p:txBody>
      </p:sp>
    </p:spTree>
    <p:extLst>
      <p:ext uri="{BB962C8B-B14F-4D97-AF65-F5344CB8AC3E}">
        <p14:creationId xmlns:p14="http://schemas.microsoft.com/office/powerpoint/2010/main" val="2547249235"/>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4">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15952650"/>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4"/>
            <a:ext cx="11653834" cy="1793071"/>
          </a:xfrm>
        </p:spPr>
        <p:txBody>
          <a:bodyPr/>
          <a:lstStyle>
            <a:lvl1pPr>
              <a:defRPr sz="5684">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70"/>
            <a:ext cx="7171399" cy="510461"/>
          </a:xfrm>
        </p:spPr>
        <p:txBody>
          <a:bodyPr/>
          <a:lstStyle>
            <a:lvl1pPr marL="0" indent="0">
              <a:buNone/>
              <a:defRPr sz="2352">
                <a:gradFill>
                  <a:gsLst>
                    <a:gs pos="1250">
                      <a:schemeClr val="tx1"/>
                    </a:gs>
                    <a:gs pos="100000">
                      <a:schemeClr val="tx1"/>
                    </a:gs>
                  </a:gsLst>
                  <a:lin ang="5400000" scaled="0"/>
                </a:gradFill>
                <a:latin typeface="+mn-lt"/>
              </a:defRPr>
            </a:lvl1pPr>
            <a:lvl2pPr>
              <a:defRPr sz="2352"/>
            </a:lvl2pPr>
            <a:lvl3pPr>
              <a:defRPr sz="2352"/>
            </a:lvl3pPr>
            <a:lvl4pPr>
              <a:defRPr sz="2352"/>
            </a:lvl4pPr>
            <a:lvl5pPr>
              <a:defRPr sz="2352"/>
            </a:lvl5pPr>
          </a:lstStyle>
          <a:p>
            <a:pPr lvl="0"/>
            <a:r>
              <a:rPr lang="en-US" smtClean="0"/>
              <a:t>Click to edit Master text styles</a:t>
            </a:r>
          </a:p>
        </p:txBody>
      </p:sp>
    </p:spTree>
    <p:extLst>
      <p:ext uri="{BB962C8B-B14F-4D97-AF65-F5344CB8AC3E}">
        <p14:creationId xmlns:p14="http://schemas.microsoft.com/office/powerpoint/2010/main" val="4209281675"/>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4">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736518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a:xfrm>
            <a:off x="3048000" y="6477873"/>
            <a:ext cx="8381999" cy="380127"/>
          </a:xfrm>
          <a:prstGeom prst="rect">
            <a:avLst/>
          </a:prstGeom>
        </p:spPr>
        <p:txBody>
          <a:bodyPr/>
          <a:lstStyle/>
          <a:p>
            <a:endParaRPr lang="en-US" dirty="0">
              <a:solidFill>
                <a:srgbClr val="505050"/>
              </a:solidFill>
            </a:endParaRPr>
          </a:p>
        </p:txBody>
      </p:sp>
      <p:sp>
        <p:nvSpPr>
          <p:cNvPr id="3" name="Slide Number Placeholder 2"/>
          <p:cNvSpPr>
            <a:spLocks noGrp="1"/>
          </p:cNvSpPr>
          <p:nvPr>
            <p:ph type="sldNum" sz="quarter" idx="16"/>
          </p:nvPr>
        </p:nvSpPr>
        <p:spPr>
          <a:xfrm>
            <a:off x="11430002" y="6477875"/>
            <a:ext cx="761998" cy="380126"/>
          </a:xfrm>
          <a:prstGeom prst="rect">
            <a:avLst/>
          </a:prstGeom>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737114640"/>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5"/>
            <a:ext cx="8964248" cy="832882"/>
          </a:xfrm>
        </p:spPr>
        <p:txBody>
          <a:bodyPr/>
          <a:lstStyle>
            <a:lvl1pPr marL="0" indent="0">
              <a:buNone/>
              <a:defRPr sz="4703"/>
            </a:lvl1pPr>
            <a:lvl2pPr>
              <a:defRPr sz="3527"/>
            </a:lvl2pPr>
            <a:lvl3pPr>
              <a:defRPr sz="3527"/>
            </a:lvl3pPr>
            <a:lvl4pPr>
              <a:defRPr sz="3527"/>
            </a:lvl4pPr>
            <a:lvl5pPr>
              <a:defRPr sz="3527"/>
            </a:lvl5pPr>
          </a:lstStyle>
          <a:p>
            <a:pPr lvl="0"/>
            <a:r>
              <a:rPr lang="en-US" dirty="0" smtClean="0"/>
              <a:t>Click to edit Master text styles</a:t>
            </a:r>
          </a:p>
        </p:txBody>
      </p:sp>
    </p:spTree>
    <p:extLst>
      <p:ext uri="{BB962C8B-B14F-4D97-AF65-F5344CB8AC3E}">
        <p14:creationId xmlns:p14="http://schemas.microsoft.com/office/powerpoint/2010/main" val="421726269"/>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5"/>
            <a:ext cx="8964248" cy="832882"/>
          </a:xfrm>
        </p:spPr>
        <p:txBody>
          <a:bodyPr/>
          <a:lstStyle>
            <a:lvl1pPr marL="0" indent="0">
              <a:buNone/>
              <a:defRPr sz="4703"/>
            </a:lvl1pPr>
            <a:lvl2pPr>
              <a:defRPr sz="3527"/>
            </a:lvl2pPr>
            <a:lvl3pPr>
              <a:defRPr sz="3527"/>
            </a:lvl3pPr>
            <a:lvl4pPr>
              <a:defRPr sz="3527"/>
            </a:lvl4pPr>
            <a:lvl5pPr>
              <a:defRPr sz="3527"/>
            </a:lvl5pPr>
          </a:lstStyle>
          <a:p>
            <a:pPr lvl="0"/>
            <a:r>
              <a:rPr lang="en-US" dirty="0" smtClean="0"/>
              <a:t>Click to edit Master text styles</a:t>
            </a:r>
          </a:p>
        </p:txBody>
      </p:sp>
    </p:spTree>
    <p:extLst>
      <p:ext uri="{BB962C8B-B14F-4D97-AF65-F5344CB8AC3E}">
        <p14:creationId xmlns:p14="http://schemas.microsoft.com/office/powerpoint/2010/main" val="339133550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8964560" cy="5379279"/>
          </a:xfrm>
        </p:spPr>
        <p:txBody>
          <a:bodyPr/>
          <a:lstStyle>
            <a:lvl1pPr>
              <a:defRPr sz="4703"/>
            </a:lvl1pPr>
          </a:lstStyle>
          <a:p>
            <a:r>
              <a:rPr lang="en-US" dirty="0" smtClean="0"/>
              <a:t>Click to edit Master title style</a:t>
            </a:r>
            <a:endParaRPr lang="en-US" dirty="0"/>
          </a:p>
        </p:txBody>
      </p:sp>
    </p:spTree>
    <p:extLst>
      <p:ext uri="{BB962C8B-B14F-4D97-AF65-F5344CB8AC3E}">
        <p14:creationId xmlns:p14="http://schemas.microsoft.com/office/powerpoint/2010/main" val="371498941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4">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90400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5"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527"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92736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5"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0709345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9649924"/>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412715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08001" y="1411553"/>
            <a:ext cx="11176001" cy="2417234"/>
          </a:xfrm>
        </p:spPr>
        <p:txBody>
          <a:bodyPr/>
          <a:lstStyle>
            <a:lvl1pPr>
              <a:lnSpc>
                <a:spcPct val="90000"/>
              </a:lnSpc>
              <a:buSzPct val="100000"/>
              <a:buFont typeface="Arial" pitchFamily="34" charset="0"/>
              <a:buChar char="•"/>
              <a:defRPr>
                <a:solidFill>
                  <a:schemeClr val="bg1">
                    <a:lumMod val="75000"/>
                  </a:schemeClr>
                </a:solidFill>
              </a:defRPr>
            </a:lvl1pPr>
            <a:lvl2pPr algn="l" defTabSz="906537" rtl="0" eaLnBrk="1" latinLnBrk="0" hangingPunct="1">
              <a:lnSpc>
                <a:spcPct val="90000"/>
              </a:lnSpc>
              <a:spcBef>
                <a:spcPct val="20000"/>
              </a:spcBef>
              <a:buClr>
                <a:srgbClr val="777777"/>
              </a:buClr>
              <a:buSzPct val="100000"/>
              <a:buFont typeface="Segoe" pitchFamily="34" charset="0"/>
              <a:buChar char="−"/>
              <a:defRPr lang="en-US" sz="2799" kern="1200" dirty="0" smtClean="0">
                <a:solidFill>
                  <a:schemeClr val="bg1">
                    <a:lumMod val="75000"/>
                  </a:schemeClr>
                </a:solidFill>
                <a:latin typeface="+mn-lt"/>
                <a:ea typeface="+mn-ea"/>
                <a:cs typeface="+mn-cs"/>
              </a:defRPr>
            </a:lvl2pPr>
            <a:lvl3pPr algn="l" defTabSz="906537" rtl="0" eaLnBrk="1" latinLnBrk="0" hangingPunct="1">
              <a:lnSpc>
                <a:spcPct val="90000"/>
              </a:lnSpc>
              <a:spcBef>
                <a:spcPct val="20000"/>
              </a:spcBef>
              <a:buClr>
                <a:srgbClr val="777777"/>
              </a:buClr>
              <a:buSzPct val="100000"/>
              <a:buFont typeface="Segoe" pitchFamily="34" charset="0"/>
              <a:buChar char="−"/>
              <a:defRPr lang="en-US" sz="2399" kern="1200" dirty="0" smtClean="0">
                <a:solidFill>
                  <a:schemeClr val="bg1">
                    <a:lumMod val="75000"/>
                  </a:schemeClr>
                </a:solidFill>
                <a:latin typeface="+mn-lt"/>
                <a:ea typeface="+mn-ea"/>
                <a:cs typeface="+mn-cs"/>
              </a:defRPr>
            </a:lvl3pPr>
            <a:lvl4pPr algn="l" defTabSz="906537" rtl="0" eaLnBrk="1" latinLnBrk="0" hangingPunct="1">
              <a:lnSpc>
                <a:spcPct val="90000"/>
              </a:lnSpc>
              <a:spcBef>
                <a:spcPct val="20000"/>
              </a:spcBef>
              <a:buClr>
                <a:srgbClr val="777777"/>
              </a:buClr>
              <a:buSzPct val="100000"/>
              <a:buFont typeface="Segoe" pitchFamily="34" charset="0"/>
              <a:buChar char="−"/>
              <a:defRPr lang="en-US" sz="2399" kern="1200" dirty="0" smtClean="0">
                <a:solidFill>
                  <a:schemeClr val="bg1">
                    <a:lumMod val="75000"/>
                  </a:schemeClr>
                </a:solidFill>
                <a:latin typeface="+mn-lt"/>
                <a:ea typeface="+mn-ea"/>
                <a:cs typeface="+mn-cs"/>
              </a:defRPr>
            </a:lvl4pPr>
            <a:lvl5pPr algn="l" defTabSz="906537" rtl="0" eaLnBrk="1" latinLnBrk="0" hangingPunct="1">
              <a:lnSpc>
                <a:spcPct val="90000"/>
              </a:lnSpc>
              <a:spcBef>
                <a:spcPct val="20000"/>
              </a:spcBef>
              <a:buClr>
                <a:srgbClr val="777777"/>
              </a:buClr>
              <a:buSzPct val="100000"/>
              <a:buFont typeface="Segoe" pitchFamily="34" charset="0"/>
              <a:buChar char="−"/>
              <a:defRPr lang="en-US" sz="2399" kern="1200" dirty="0">
                <a:solidFill>
                  <a:schemeClr val="bg1">
                    <a:lumMod val="75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8702746"/>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08001" y="1412875"/>
            <a:ext cx="11176001" cy="218480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816013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084" y="223512"/>
            <a:ext cx="5046120" cy="908431"/>
          </a:xfrm>
          <a:prstGeom prst="rect">
            <a:avLst/>
          </a:prstGeom>
        </p:spPr>
      </p:pic>
    </p:spTree>
    <p:extLst>
      <p:ext uri="{BB962C8B-B14F-4D97-AF65-F5344CB8AC3E}">
        <p14:creationId xmlns:p14="http://schemas.microsoft.com/office/powerpoint/2010/main" val="2927784854"/>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2"/>
            <a:ext cx="12192000" cy="727571"/>
          </a:xfrm>
        </p:spPr>
        <p:txBody>
          <a:bodyPr/>
          <a:lstStyle>
            <a:lvl1pPr marL="0" indent="0">
              <a:buNone/>
              <a:defRPr/>
            </a:lvl1pPr>
          </a:lstStyle>
          <a:p>
            <a:endParaRPr lang="en-US"/>
          </a:p>
        </p:txBody>
      </p:sp>
      <p:sp>
        <p:nvSpPr>
          <p:cNvPr id="9" name="Title 1"/>
          <p:cNvSpPr>
            <a:spLocks noGrp="1"/>
          </p:cNvSpPr>
          <p:nvPr>
            <p:ph type="title" hasCustomPrompt="1"/>
          </p:nvPr>
        </p:nvSpPr>
        <p:spPr>
          <a:xfrm>
            <a:off x="269303" y="291069"/>
            <a:ext cx="5378486" cy="1793104"/>
          </a:xfrm>
          <a:noFill/>
        </p:spPr>
        <p:txBody>
          <a:bodyPr lIns="182880" tIns="146304" rIns="182880" bIns="146304" anchor="t" anchorCtr="0"/>
          <a:lstStyle>
            <a:lvl1pPr>
              <a:defRPr sz="4703" spc="-98"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340893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2"/>
            <a:ext cx="12192000" cy="727571"/>
          </a:xfrm>
        </p:spPr>
        <p:txBody>
          <a:bodyPr/>
          <a:lstStyle/>
          <a:p>
            <a:endParaRPr lang="en-US" dirty="0"/>
          </a:p>
        </p:txBody>
      </p:sp>
      <p:sp>
        <p:nvSpPr>
          <p:cNvPr id="2" name="Title 1"/>
          <p:cNvSpPr>
            <a:spLocks noGrp="1"/>
          </p:cNvSpPr>
          <p:nvPr>
            <p:ph type="title"/>
          </p:nvPr>
        </p:nvSpPr>
        <p:spPr>
          <a:xfrm>
            <a:off x="268928" y="1187620"/>
            <a:ext cx="4482436" cy="4482760"/>
          </a:xfrm>
        </p:spPr>
        <p:txBody>
          <a:bodyPr/>
          <a:lstStyle>
            <a:lvl1pPr>
              <a:defRPr sz="4703"/>
            </a:lvl1pPr>
          </a:lstStyle>
          <a:p>
            <a:r>
              <a:rPr lang="en-US" dirty="0" smtClean="0"/>
              <a:t>Click to edit Master title style</a:t>
            </a:r>
            <a:endParaRPr lang="en-US" dirty="0"/>
          </a:p>
        </p:txBody>
      </p:sp>
    </p:spTree>
    <p:extLst>
      <p:ext uri="{BB962C8B-B14F-4D97-AF65-F5344CB8AC3E}">
        <p14:creationId xmlns:p14="http://schemas.microsoft.com/office/powerpoint/2010/main" val="1008903992"/>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117691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8074256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Tree>
    <p:extLst>
      <p:ext uri="{BB962C8B-B14F-4D97-AF65-F5344CB8AC3E}">
        <p14:creationId xmlns:p14="http://schemas.microsoft.com/office/powerpoint/2010/main" val="863344375"/>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4" y="1725534"/>
            <a:ext cx="3406434" cy="3406937"/>
          </a:xfrm>
        </p:spPr>
        <p:txBody>
          <a:bodyPr/>
          <a:lstStyle>
            <a:lvl1pPr>
              <a:defRPr/>
            </a:lvl1pPr>
          </a:lstStyle>
          <a:p>
            <a:r>
              <a:rPr lang="en-US" dirty="0" smtClean="0"/>
              <a:t>Click to edit Master title style </a:t>
            </a:r>
            <a:endParaRPr lang="en-US" dirty="0"/>
          </a:p>
        </p:txBody>
      </p:sp>
      <p:sp>
        <p:nvSpPr>
          <p:cNvPr id="3" name="Rectangle 2"/>
          <p:cNvSpPr/>
          <p:nvPr userDrawn="1"/>
        </p:nvSpPr>
        <p:spPr bwMode="auto">
          <a:xfrm>
            <a:off x="3854939"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defRPr/>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defRPr/>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9"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defRPr/>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defRPr/>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243661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3849" y="4056270"/>
            <a:ext cx="2689274" cy="2510690"/>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082814" y="4056272"/>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700185" y="4056272"/>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5891499" y="4056272"/>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5891332"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377784354"/>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71"/>
            <a:ext cx="7171399" cy="510461"/>
          </a:xfrm>
        </p:spPr>
        <p:txBody>
          <a:bodyPr/>
          <a:lstStyle>
            <a:lvl1pPr marL="0" indent="0">
              <a:buNone/>
              <a:defRPr sz="2352">
                <a:gradFill>
                  <a:gsLst>
                    <a:gs pos="1250">
                      <a:schemeClr val="tx1"/>
                    </a:gs>
                    <a:gs pos="100000">
                      <a:schemeClr val="tx1"/>
                    </a:gs>
                  </a:gsLst>
                  <a:lin ang="5400000" scaled="0"/>
                </a:gradFill>
                <a:latin typeface="+mn-lt"/>
              </a:defRPr>
            </a:lvl1pPr>
            <a:lvl2pPr>
              <a:defRPr sz="2352"/>
            </a:lvl2pPr>
            <a:lvl3pPr>
              <a:defRPr sz="2352"/>
            </a:lvl3pPr>
            <a:lvl4pPr>
              <a:defRPr sz="2352"/>
            </a:lvl4pPr>
            <a:lvl5pPr>
              <a:defRPr sz="2352"/>
            </a:lvl5pPr>
          </a:lstStyle>
          <a:p>
            <a:pPr lvl="0"/>
            <a:r>
              <a:rPr lang="en-US" smtClean="0"/>
              <a:t>Click to edit Master text styles</a:t>
            </a:r>
          </a:p>
        </p:txBody>
      </p:sp>
    </p:spTree>
    <p:extLst>
      <p:ext uri="{BB962C8B-B14F-4D97-AF65-F5344CB8AC3E}">
        <p14:creationId xmlns:p14="http://schemas.microsoft.com/office/powerpoint/2010/main" val="216818555"/>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4">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1663938"/>
            <a:ext cx="10757097"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40417687"/>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4" cy="1793071"/>
          </a:xfrm>
        </p:spPr>
        <p:txBody>
          <a:bodyPr/>
          <a:lstStyle>
            <a:lvl1pPr>
              <a:defRPr sz="5684">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2546471"/>
            <a:ext cx="7171399" cy="510461"/>
          </a:xfrm>
        </p:spPr>
        <p:txBody>
          <a:bodyPr/>
          <a:lstStyle>
            <a:lvl1pPr marL="0" indent="0">
              <a:buNone/>
              <a:defRPr sz="2352">
                <a:gradFill>
                  <a:gsLst>
                    <a:gs pos="1250">
                      <a:schemeClr val="tx1"/>
                    </a:gs>
                    <a:gs pos="100000">
                      <a:schemeClr val="tx1"/>
                    </a:gs>
                  </a:gsLst>
                  <a:lin ang="5400000" scaled="0"/>
                </a:gradFill>
                <a:latin typeface="+mn-lt"/>
              </a:defRPr>
            </a:lvl1pPr>
            <a:lvl2pPr>
              <a:defRPr sz="2352"/>
            </a:lvl2pPr>
            <a:lvl3pPr>
              <a:defRPr sz="2352"/>
            </a:lvl3pPr>
            <a:lvl4pPr>
              <a:defRPr sz="2352"/>
            </a:lvl4pPr>
            <a:lvl5pPr>
              <a:defRPr sz="2352"/>
            </a:lvl5pPr>
          </a:lstStyle>
          <a:p>
            <a:pPr lvl="0"/>
            <a:r>
              <a:rPr lang="en-US" smtClean="0"/>
              <a:t>Click to edit Master text styles</a:t>
            </a:r>
          </a:p>
        </p:txBody>
      </p:sp>
    </p:spTree>
    <p:extLst>
      <p:ext uri="{BB962C8B-B14F-4D97-AF65-F5344CB8AC3E}">
        <p14:creationId xmlns:p14="http://schemas.microsoft.com/office/powerpoint/2010/main" val="415516862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94881411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4">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1663938"/>
            <a:ext cx="10757097"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0364465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5"/>
            <a:ext cx="8964248" cy="832882"/>
          </a:xfrm>
        </p:spPr>
        <p:txBody>
          <a:bodyPr/>
          <a:lstStyle>
            <a:lvl1pPr marL="0" indent="0">
              <a:buNone/>
              <a:defRPr sz="4703"/>
            </a:lvl1pPr>
            <a:lvl2pPr>
              <a:defRPr sz="3527"/>
            </a:lvl2pPr>
            <a:lvl3pPr>
              <a:defRPr sz="3527"/>
            </a:lvl3pPr>
            <a:lvl4pPr>
              <a:defRPr sz="3527"/>
            </a:lvl4pPr>
            <a:lvl5pPr>
              <a:defRPr sz="3527"/>
            </a:lvl5pPr>
          </a:lstStyle>
          <a:p>
            <a:pPr lvl="0"/>
            <a:r>
              <a:rPr lang="en-US" dirty="0" smtClean="0"/>
              <a:t>Click to edit Master text styles</a:t>
            </a:r>
          </a:p>
        </p:txBody>
      </p:sp>
    </p:spTree>
    <p:extLst>
      <p:ext uri="{BB962C8B-B14F-4D97-AF65-F5344CB8AC3E}">
        <p14:creationId xmlns:p14="http://schemas.microsoft.com/office/powerpoint/2010/main" val="1647187111"/>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5"/>
            <a:ext cx="8964248" cy="832882"/>
          </a:xfrm>
        </p:spPr>
        <p:txBody>
          <a:bodyPr/>
          <a:lstStyle>
            <a:lvl1pPr marL="0" indent="0">
              <a:buNone/>
              <a:defRPr sz="4703"/>
            </a:lvl1pPr>
            <a:lvl2pPr>
              <a:defRPr sz="3527"/>
            </a:lvl2pPr>
            <a:lvl3pPr>
              <a:defRPr sz="3527"/>
            </a:lvl3pPr>
            <a:lvl4pPr>
              <a:defRPr sz="3527"/>
            </a:lvl4pPr>
            <a:lvl5pPr>
              <a:defRPr sz="3527"/>
            </a:lvl5pPr>
          </a:lstStyle>
          <a:p>
            <a:pPr lvl="0"/>
            <a:r>
              <a:rPr lang="en-US" dirty="0" smtClean="0"/>
              <a:t>Click to edit Master text styles</a:t>
            </a:r>
          </a:p>
        </p:txBody>
      </p:sp>
    </p:spTree>
    <p:extLst>
      <p:ext uri="{BB962C8B-B14F-4D97-AF65-F5344CB8AC3E}">
        <p14:creationId xmlns:p14="http://schemas.microsoft.com/office/powerpoint/2010/main" val="425174803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8964560" cy="5379279"/>
          </a:xfrm>
        </p:spPr>
        <p:txBody>
          <a:bodyPr/>
          <a:lstStyle>
            <a:lvl1pPr>
              <a:defRPr sz="4703"/>
            </a:lvl1pPr>
          </a:lstStyle>
          <a:p>
            <a:r>
              <a:rPr lang="en-US" dirty="0" smtClean="0"/>
              <a:t>Click to edit Master title style</a:t>
            </a:r>
            <a:endParaRPr lang="en-US" dirty="0"/>
          </a:p>
        </p:txBody>
      </p:sp>
    </p:spTree>
    <p:extLst>
      <p:ext uri="{BB962C8B-B14F-4D97-AF65-F5344CB8AC3E}">
        <p14:creationId xmlns:p14="http://schemas.microsoft.com/office/powerpoint/2010/main" val="415284796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4">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40" y="1663938"/>
            <a:ext cx="10757097"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898428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5"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3"/>
            <a:ext cx="9860674" cy="1793881"/>
          </a:xfrm>
          <a:noFill/>
        </p:spPr>
        <p:txBody>
          <a:bodyPr lIns="182880" tIns="146304" rIns="182880" bIns="146304">
            <a:noAutofit/>
          </a:bodyPr>
          <a:lstStyle>
            <a:lvl1pPr marL="0" indent="0">
              <a:spcBef>
                <a:spcPts val="0"/>
              </a:spcBef>
              <a:buNone/>
              <a:defRPr sz="3527"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2559900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5"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0232977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35921142"/>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6725680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08001" y="1411553"/>
            <a:ext cx="11176000" cy="2417234"/>
          </a:xfrm>
        </p:spPr>
        <p:txBody>
          <a:bodyPr/>
          <a:lstStyle>
            <a:lvl1pPr>
              <a:lnSpc>
                <a:spcPct val="90000"/>
              </a:lnSpc>
              <a:buSzPct val="100000"/>
              <a:buFont typeface="Arial" pitchFamily="34" charset="0"/>
              <a:buChar char="•"/>
              <a:defRPr>
                <a:solidFill>
                  <a:schemeClr val="bg1">
                    <a:lumMod val="75000"/>
                  </a:schemeClr>
                </a:solidFill>
              </a:defRPr>
            </a:lvl1pPr>
            <a:lvl2pPr algn="l" defTabSz="906537" rtl="0" eaLnBrk="1" latinLnBrk="0" hangingPunct="1">
              <a:lnSpc>
                <a:spcPct val="90000"/>
              </a:lnSpc>
              <a:spcBef>
                <a:spcPct val="20000"/>
              </a:spcBef>
              <a:buClr>
                <a:srgbClr val="777777"/>
              </a:buClr>
              <a:buSzPct val="100000"/>
              <a:buFont typeface="Segoe" pitchFamily="34" charset="0"/>
              <a:buChar char="−"/>
              <a:defRPr lang="en-US" sz="2799" kern="1200" dirty="0" smtClean="0">
                <a:solidFill>
                  <a:schemeClr val="bg1">
                    <a:lumMod val="75000"/>
                  </a:schemeClr>
                </a:solidFill>
                <a:latin typeface="+mn-lt"/>
                <a:ea typeface="+mn-ea"/>
                <a:cs typeface="+mn-cs"/>
              </a:defRPr>
            </a:lvl2pPr>
            <a:lvl3pPr algn="l" defTabSz="906537" rtl="0" eaLnBrk="1" latinLnBrk="0" hangingPunct="1">
              <a:lnSpc>
                <a:spcPct val="90000"/>
              </a:lnSpc>
              <a:spcBef>
                <a:spcPct val="20000"/>
              </a:spcBef>
              <a:buClr>
                <a:srgbClr val="777777"/>
              </a:buClr>
              <a:buSzPct val="100000"/>
              <a:buFont typeface="Segoe" pitchFamily="34" charset="0"/>
              <a:buChar char="−"/>
              <a:defRPr lang="en-US" sz="2399" kern="1200" dirty="0" smtClean="0">
                <a:solidFill>
                  <a:schemeClr val="bg1">
                    <a:lumMod val="75000"/>
                  </a:schemeClr>
                </a:solidFill>
                <a:latin typeface="+mn-lt"/>
                <a:ea typeface="+mn-ea"/>
                <a:cs typeface="+mn-cs"/>
              </a:defRPr>
            </a:lvl3pPr>
            <a:lvl4pPr algn="l" defTabSz="906537" rtl="0" eaLnBrk="1" latinLnBrk="0" hangingPunct="1">
              <a:lnSpc>
                <a:spcPct val="90000"/>
              </a:lnSpc>
              <a:spcBef>
                <a:spcPct val="20000"/>
              </a:spcBef>
              <a:buClr>
                <a:srgbClr val="777777"/>
              </a:buClr>
              <a:buSzPct val="100000"/>
              <a:buFont typeface="Segoe" pitchFamily="34" charset="0"/>
              <a:buChar char="−"/>
              <a:defRPr lang="en-US" sz="2399" kern="1200" dirty="0" smtClean="0">
                <a:solidFill>
                  <a:schemeClr val="bg1">
                    <a:lumMod val="75000"/>
                  </a:schemeClr>
                </a:solidFill>
                <a:latin typeface="+mn-lt"/>
                <a:ea typeface="+mn-ea"/>
                <a:cs typeface="+mn-cs"/>
              </a:defRPr>
            </a:lvl4pPr>
            <a:lvl5pPr algn="l" defTabSz="906537" rtl="0" eaLnBrk="1" latinLnBrk="0" hangingPunct="1">
              <a:lnSpc>
                <a:spcPct val="90000"/>
              </a:lnSpc>
              <a:spcBef>
                <a:spcPct val="20000"/>
              </a:spcBef>
              <a:buClr>
                <a:srgbClr val="777777"/>
              </a:buClr>
              <a:buSzPct val="100000"/>
              <a:buFont typeface="Segoe" pitchFamily="34" charset="0"/>
              <a:buChar char="−"/>
              <a:defRPr lang="en-US" sz="2399" kern="1200" dirty="0">
                <a:solidFill>
                  <a:schemeClr val="bg1">
                    <a:lumMod val="75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0844179"/>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1777721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1"/>
            <a:ext cx="12191378"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3771">
              <a:defRPr/>
            </a:pPr>
            <a:endParaRPr lang="en-US" sz="1764">
              <a:solidFill>
                <a:srgbClr val="EFEFEF"/>
              </a:solidFill>
            </a:endParaRPr>
          </a:p>
        </p:txBody>
      </p:sp>
      <p:sp>
        <p:nvSpPr>
          <p:cNvPr id="2" name="Title 1"/>
          <p:cNvSpPr>
            <a:spLocks noGrp="1"/>
          </p:cNvSpPr>
          <p:nvPr>
            <p:ph type="title" hasCustomPrompt="1"/>
          </p:nvPr>
        </p:nvSpPr>
        <p:spPr>
          <a:xfrm>
            <a:off x="5647788" y="1187623"/>
            <a:ext cx="6274974" cy="2136525"/>
          </a:xfrm>
        </p:spPr>
        <p:txBody>
          <a:bodyPr wrap="square" anchor="t" anchorCtr="0">
            <a:spAutoFit/>
          </a:bodyPr>
          <a:lstStyle>
            <a:lvl1pPr>
              <a:defRPr sz="7055" spc="-150"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647788" y="3877277"/>
            <a:ext cx="6274974" cy="618952"/>
          </a:xfrm>
        </p:spPr>
        <p:txBody>
          <a:bodyPr wrap="square">
            <a:spAutoFit/>
          </a:bodyPr>
          <a:lstStyle>
            <a:lvl1pPr marL="0" indent="0">
              <a:spcBef>
                <a:spcPts val="0"/>
              </a:spcBef>
              <a:buNone/>
              <a:defRPr sz="3135" spc="-70"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473985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173">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40" y="1187621"/>
            <a:ext cx="11151917" cy="1988558"/>
          </a:xfrm>
          <a:prstGeom prst="rect">
            <a:avLst/>
          </a:prstGeom>
        </p:spPr>
        <p:txBody>
          <a:bodyPr>
            <a:spAutoFit/>
          </a:bodyPr>
          <a:lstStyle>
            <a:lvl1pPr marL="0" indent="0">
              <a:spcBef>
                <a:spcPts val="2399"/>
              </a:spcBef>
              <a:buNone/>
              <a:defRPr sz="3919">
                <a:gradFill>
                  <a:gsLst>
                    <a:gs pos="100000">
                      <a:schemeClr val="tx2"/>
                    </a:gs>
                    <a:gs pos="0">
                      <a:schemeClr val="tx2"/>
                    </a:gs>
                  </a:gsLst>
                  <a:lin ang="5400000" scaled="0"/>
                </a:gradFill>
                <a:latin typeface="+mj-lt"/>
              </a:defRPr>
            </a:lvl1pPr>
            <a:lvl2pPr marL="0" indent="0">
              <a:buNone/>
              <a:defRPr sz="1960" spc="-50" baseline="0">
                <a:gradFill>
                  <a:gsLst>
                    <a:gs pos="100000">
                      <a:schemeClr val="tx1"/>
                    </a:gs>
                    <a:gs pos="6000">
                      <a:schemeClr val="tx1"/>
                    </a:gs>
                  </a:gsLst>
                  <a:lin ang="5400000" scaled="0"/>
                </a:gradFill>
              </a:defRPr>
            </a:lvl2pPr>
            <a:lvl3pPr marL="231684" indent="0">
              <a:buNone/>
              <a:defRPr sz="1960" spc="-50" baseline="0">
                <a:gradFill>
                  <a:gsLst>
                    <a:gs pos="100000">
                      <a:schemeClr val="tx1"/>
                    </a:gs>
                    <a:gs pos="6000">
                      <a:schemeClr val="tx1"/>
                    </a:gs>
                  </a:gsLst>
                  <a:lin ang="5400000" scaled="0"/>
                </a:gradFill>
              </a:defRPr>
            </a:lvl3pPr>
            <a:lvl4pPr marL="457021" indent="0">
              <a:buNone/>
              <a:defRPr sz="1764" spc="-50" baseline="0">
                <a:gradFill>
                  <a:gsLst>
                    <a:gs pos="100000">
                      <a:schemeClr val="tx1"/>
                    </a:gs>
                    <a:gs pos="6000">
                      <a:schemeClr val="tx1"/>
                    </a:gs>
                  </a:gsLst>
                  <a:lin ang="5400000" scaled="0"/>
                </a:gradFill>
              </a:defRPr>
            </a:lvl4pPr>
            <a:lvl5pPr marL="693466" indent="0">
              <a:buNone/>
              <a:defRPr sz="1764" spc="-50"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69240" y="286381"/>
            <a:ext cx="11151917" cy="927940"/>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4138653285"/>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0725"/>
            <a:ext cx="11155093" cy="1172373"/>
          </a:xfrm>
        </p:spPr>
        <p:txBody>
          <a:bodyPr anchor="b" anchorCtr="0">
            <a:spAutoFit/>
          </a:bodyPr>
          <a:lstStyle>
            <a:lvl1pPr>
              <a:defRPr sz="7058" spc="-150"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9" y="4773829"/>
            <a:ext cx="11155093" cy="724246"/>
          </a:xfrm>
        </p:spPr>
        <p:txBody>
          <a:bodyPr>
            <a:spAutoFit/>
          </a:bodyPr>
          <a:lstStyle>
            <a:lvl1pPr marL="0" indent="0">
              <a:spcBef>
                <a:spcPts val="0"/>
              </a:spcBef>
              <a:buNone/>
              <a:defRPr sz="3137" spc="-70"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3597402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smtClean="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6454342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173">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1250"/>
            <a:ext cx="11155093" cy="1172373"/>
          </a:xfrm>
        </p:spPr>
        <p:txBody>
          <a:bodyPr anchor="b" anchorCtr="0">
            <a:spAutoFit/>
          </a:bodyPr>
          <a:lstStyle>
            <a:lvl1pPr>
              <a:defRPr sz="7058" spc="-150"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8" y="4773829"/>
            <a:ext cx="11155093" cy="724246"/>
          </a:xfrm>
        </p:spPr>
        <p:txBody>
          <a:bodyPr>
            <a:spAutoFit/>
          </a:bodyPr>
          <a:lstStyle>
            <a:lvl1pPr marL="0" indent="0">
              <a:spcBef>
                <a:spcPts val="0"/>
              </a:spcBef>
              <a:buNone/>
              <a:defRPr sz="3137" spc="-70"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6454369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2"/>
            <a:ext cx="11151917" cy="914360"/>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69239" y="1187621"/>
            <a:ext cx="11151917" cy="2193862"/>
          </a:xfrm>
          <a:prstGeom prst="rect">
            <a:avLst/>
          </a:prstGeom>
        </p:spPr>
        <p:txBody>
          <a:bodyPr>
            <a:spAutoFit/>
          </a:bodyPr>
          <a:lstStyle>
            <a:lvl1pPr marL="284164" indent="-284164">
              <a:buFont typeface="Wingdings" pitchFamily="2" charset="2"/>
              <a:buChar char=""/>
              <a:defRPr sz="3921"/>
            </a:lvl1pPr>
            <a:lvl2pPr marL="517527" indent="-233364">
              <a:buFont typeface="Wingdings" pitchFamily="2" charset="2"/>
              <a:buChar char=""/>
              <a:defRPr sz="2353" spc="-50" baseline="0">
                <a:latin typeface="+mn-lt"/>
              </a:defRPr>
            </a:lvl2pPr>
            <a:lvl3pPr marL="741366" indent="-223839">
              <a:buFont typeface="Wingdings" pitchFamily="2" charset="2"/>
              <a:buChar char=""/>
              <a:tabLst/>
              <a:defRPr sz="1961" spc="-50" baseline="0">
                <a:latin typeface="+mn-lt"/>
              </a:defRPr>
            </a:lvl3pPr>
            <a:lvl4pPr marL="914403" indent="-173039">
              <a:buFont typeface="Wingdings" pitchFamily="2" charset="2"/>
              <a:buChar char=""/>
              <a:defRPr sz="1765" spc="-50" baseline="0">
                <a:latin typeface="+mn-lt"/>
              </a:defRPr>
            </a:lvl4pPr>
            <a:lvl5pPr marL="1087443" indent="-173039">
              <a:buFont typeface="Wingdings" pitchFamily="2" charset="2"/>
              <a:buChar char=""/>
              <a:tabLst/>
              <a:defRPr sz="1765" spc="-50"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97697401"/>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2"/>
                    </a:gs>
                    <a:gs pos="0">
                      <a:schemeClr val="tx2"/>
                    </a:gs>
                  </a:gsLst>
                  <a:lin ang="5400000" scaled="0"/>
                </a:gradFill>
                <a:latin typeface="+mj-lt"/>
              </a:defRPr>
            </a:lvl1pPr>
            <a:lvl2pPr marL="0" indent="0">
              <a:buNone/>
              <a:defRPr sz="1961" spc="-50" baseline="0">
                <a:gradFill>
                  <a:gsLst>
                    <a:gs pos="100000">
                      <a:schemeClr val="tx1"/>
                    </a:gs>
                    <a:gs pos="6000">
                      <a:schemeClr val="tx1"/>
                    </a:gs>
                  </a:gsLst>
                  <a:lin ang="5400000" scaled="0"/>
                </a:gradFill>
              </a:defRPr>
            </a:lvl2pPr>
            <a:lvl3pPr marL="231776" indent="0">
              <a:buNone/>
              <a:defRPr sz="1961" spc="-50" baseline="0">
                <a:gradFill>
                  <a:gsLst>
                    <a:gs pos="100000">
                      <a:schemeClr val="tx1"/>
                    </a:gs>
                    <a:gs pos="6000">
                      <a:schemeClr val="tx1"/>
                    </a:gs>
                  </a:gsLst>
                  <a:lin ang="5400000" scaled="0"/>
                </a:gradFill>
              </a:defRPr>
            </a:lvl3pPr>
            <a:lvl4pPr marL="457202" indent="0">
              <a:buNone/>
              <a:defRPr sz="1765" spc="-50" baseline="0">
                <a:gradFill>
                  <a:gsLst>
                    <a:gs pos="100000">
                      <a:schemeClr val="tx1"/>
                    </a:gs>
                    <a:gs pos="6000">
                      <a:schemeClr val="tx1"/>
                    </a:gs>
                  </a:gsLst>
                  <a:lin ang="5400000" scaled="0"/>
                </a:gradFill>
              </a:defRPr>
            </a:lvl4pPr>
            <a:lvl5pPr marL="693741" indent="0">
              <a:buNone/>
              <a:defRPr sz="1765" spc="-50"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69239" y="286381"/>
            <a:ext cx="11151917" cy="927940"/>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3301707314"/>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1"/>
                    </a:gs>
                    <a:gs pos="0">
                      <a:schemeClr val="tx1"/>
                    </a:gs>
                  </a:gsLst>
                  <a:lin ang="5400000" scaled="0"/>
                </a:gradFill>
                <a:latin typeface="+mj-lt"/>
              </a:defRPr>
            </a:lvl1pPr>
            <a:lvl2pPr marL="0" indent="0">
              <a:buNone/>
              <a:defRPr sz="1961" spc="-50" baseline="0">
                <a:gradFill>
                  <a:gsLst>
                    <a:gs pos="100000">
                      <a:schemeClr val="tx1"/>
                    </a:gs>
                    <a:gs pos="0">
                      <a:schemeClr val="tx1"/>
                    </a:gs>
                  </a:gsLst>
                  <a:lin ang="5400000" scaled="0"/>
                </a:gradFill>
              </a:defRPr>
            </a:lvl2pPr>
            <a:lvl3pPr marL="231776" indent="0">
              <a:buNone/>
              <a:defRPr sz="1961" spc="-50" baseline="0">
                <a:gradFill>
                  <a:gsLst>
                    <a:gs pos="100000">
                      <a:schemeClr val="tx1"/>
                    </a:gs>
                    <a:gs pos="0">
                      <a:schemeClr val="tx1"/>
                    </a:gs>
                  </a:gsLst>
                  <a:lin ang="5400000" scaled="0"/>
                </a:gradFill>
              </a:defRPr>
            </a:lvl3pPr>
            <a:lvl4pPr marL="457202" indent="0">
              <a:buNone/>
              <a:defRPr sz="1765" spc="-50" baseline="0">
                <a:gradFill>
                  <a:gsLst>
                    <a:gs pos="100000">
                      <a:schemeClr val="tx1"/>
                    </a:gs>
                    <a:gs pos="0">
                      <a:schemeClr val="tx1"/>
                    </a:gs>
                  </a:gsLst>
                  <a:lin ang="5400000" scaled="0"/>
                </a:gradFill>
              </a:defRPr>
            </a:lvl4pPr>
            <a:lvl5pPr marL="693741" indent="0">
              <a:buNone/>
              <a:defRPr sz="1765" spc="-50"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32615968"/>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69239" y="1187621"/>
            <a:ext cx="5369641" cy="2703851"/>
          </a:xfrm>
        </p:spPr>
        <p:txBody>
          <a:bodyPr wrap="square">
            <a:spAutoFit/>
          </a:bodyPr>
          <a:lstStyle>
            <a:lvl1pPr marL="292101" indent="-292101">
              <a:spcBef>
                <a:spcPts val="1200"/>
              </a:spcBef>
              <a:buClr>
                <a:schemeClr val="tx1"/>
              </a:buClr>
              <a:buFont typeface="Wingdings" pitchFamily="2" charset="2"/>
              <a:buChar char=""/>
              <a:defRPr/>
            </a:lvl1pPr>
            <a:lvl2pPr marL="520702" indent="-228601">
              <a:defRPr sz="2353" spc="-50" baseline="0"/>
            </a:lvl2pPr>
            <a:lvl3pPr marL="685803" indent="-165101">
              <a:tabLst/>
              <a:defRPr sz="1961" spc="-50" baseline="0"/>
            </a:lvl3pPr>
            <a:lvl4pPr marL="863603" indent="-177801">
              <a:defRPr sz="1765" spc="-50" baseline="0"/>
            </a:lvl4pPr>
            <a:lvl5pPr marL="1028704" indent="-165101">
              <a:tabLst/>
              <a:defRPr sz="1765"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638880" y="1187621"/>
            <a:ext cx="5387457" cy="2703851"/>
          </a:xfrm>
        </p:spPr>
        <p:txBody>
          <a:bodyPr wrap="square">
            <a:spAutoFit/>
          </a:bodyPr>
          <a:lstStyle>
            <a:lvl1pPr marL="339726" indent="-339726">
              <a:spcBef>
                <a:spcPts val="1200"/>
              </a:spcBef>
              <a:buFont typeface="Wingdings" pitchFamily="2" charset="2"/>
              <a:buChar char=""/>
              <a:defRPr lang="en-US" sz="3921" kern="1200" spc="-70" baseline="0" dirty="0" smtClean="0">
                <a:gradFill>
                  <a:gsLst>
                    <a:gs pos="1250">
                      <a:schemeClr val="tx1"/>
                    </a:gs>
                    <a:gs pos="100000">
                      <a:schemeClr val="tx1"/>
                    </a:gs>
                  </a:gsLst>
                  <a:lin ang="5400000" scaled="0"/>
                </a:gradFill>
                <a:latin typeface="+mj-lt"/>
                <a:ea typeface="+mn-ea"/>
                <a:cs typeface="+mn-cs"/>
              </a:defRPr>
            </a:lvl1pPr>
            <a:lvl2pPr marL="635003" indent="-342901">
              <a:defRPr lang="en-US" sz="2353" kern="1200" spc="-50" baseline="0" dirty="0" smtClean="0">
                <a:gradFill>
                  <a:gsLst>
                    <a:gs pos="1250">
                      <a:schemeClr val="tx1"/>
                    </a:gs>
                    <a:gs pos="100000">
                      <a:schemeClr val="tx1"/>
                    </a:gs>
                  </a:gsLst>
                  <a:lin ang="5400000" scaled="0"/>
                </a:gradFill>
                <a:latin typeface="+mn-lt"/>
                <a:ea typeface="+mn-ea"/>
                <a:cs typeface="+mn-cs"/>
              </a:defRPr>
            </a:lvl2pPr>
            <a:lvl3pPr marL="863603" indent="-342901">
              <a:defRPr lang="en-US" sz="1961" kern="1200" spc="-50" baseline="0" dirty="0" smtClean="0">
                <a:gradFill>
                  <a:gsLst>
                    <a:gs pos="1250">
                      <a:schemeClr val="tx1"/>
                    </a:gs>
                    <a:gs pos="100000">
                      <a:schemeClr val="tx1"/>
                    </a:gs>
                  </a:gsLst>
                  <a:lin ang="5400000" scaled="0"/>
                </a:gradFill>
                <a:latin typeface="+mn-lt"/>
                <a:ea typeface="+mn-ea"/>
                <a:cs typeface="+mn-cs"/>
              </a:defRPr>
            </a:lvl3pPr>
            <a:lvl4pPr marL="1028704" indent="-342901">
              <a:defRPr lang="en-US" sz="1765" kern="1200" spc="-50" baseline="0" dirty="0" smtClean="0">
                <a:gradFill>
                  <a:gsLst>
                    <a:gs pos="1250">
                      <a:schemeClr val="tx1"/>
                    </a:gs>
                    <a:gs pos="100000">
                      <a:schemeClr val="tx1"/>
                    </a:gs>
                  </a:gsLst>
                  <a:lin ang="5400000" scaled="0"/>
                </a:gradFill>
                <a:latin typeface="+mn-lt"/>
                <a:ea typeface="+mn-ea"/>
                <a:cs typeface="+mn-cs"/>
              </a:defRPr>
            </a:lvl4pPr>
            <a:lvl5pPr marL="1206505" indent="-342901">
              <a:defRPr lang="en-US" sz="1765" kern="1200" spc="-50" baseline="0" dirty="0">
                <a:gradFill>
                  <a:gsLst>
                    <a:gs pos="1250">
                      <a:schemeClr val="tx1"/>
                    </a:gs>
                    <a:gs pos="100000">
                      <a:schemeClr val="tx1"/>
                    </a:gs>
                  </a:gsLst>
                  <a:lin ang="5400000" scaled="0"/>
                </a:gradFill>
                <a:latin typeface="+mn-lt"/>
                <a:ea typeface="+mn-ea"/>
                <a:cs typeface="+mn-cs"/>
              </a:defRPr>
            </a:lvl5pPr>
          </a:lstStyle>
          <a:p>
            <a:pPr marL="292101" marR="0" lvl="0" indent="-292101" algn="l" defTabSz="91436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20702" marR="0" lvl="1" indent="-2286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85803" marR="0" lvl="2"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63603" marR="0" lvl="3" indent="-1778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28704" marR="0" lvl="4"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Tree>
    <p:extLst>
      <p:ext uri="{BB962C8B-B14F-4D97-AF65-F5344CB8AC3E}">
        <p14:creationId xmlns:p14="http://schemas.microsoft.com/office/powerpoint/2010/main" val="3287595355"/>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2697815"/>
          </a:xfrm>
        </p:spPr>
        <p:txBody>
          <a:bodyPr>
            <a:spAutoFit/>
          </a:bodyPr>
          <a:lstStyle>
            <a:lvl1pPr marL="0" indent="0">
              <a:spcBef>
                <a:spcPts val="1200"/>
              </a:spcBef>
              <a:buNone/>
              <a:defRPr sz="3921">
                <a:gradFill>
                  <a:gsLst>
                    <a:gs pos="100000">
                      <a:schemeClr val="tx2"/>
                    </a:gs>
                    <a:gs pos="0">
                      <a:schemeClr val="tx2"/>
                    </a:gs>
                  </a:gsLst>
                  <a:lin ang="5400000" scaled="0"/>
                </a:gradFill>
                <a:latin typeface="+mj-lt"/>
              </a:defRPr>
            </a:lvl1pPr>
            <a:lvl2pPr marL="0" indent="0">
              <a:buNone/>
              <a:defRPr sz="1961" spc="-50" baseline="0"/>
            </a:lvl2pPr>
            <a:lvl3pPr marL="233364" indent="0">
              <a:buNone/>
              <a:defRPr sz="1961" spc="-50" baseline="0"/>
            </a:lvl3pPr>
            <a:lvl4pPr marL="457202" indent="0">
              <a:buNone/>
              <a:defRPr sz="1765" spc="-50" baseline="0"/>
            </a:lvl4pPr>
            <a:lvl5pPr marL="693741" indent="0">
              <a:buNone/>
              <a:defRPr sz="1765"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6" cy="2642775"/>
          </a:xfrm>
        </p:spPr>
        <p:txBody>
          <a:bodyPr>
            <a:spAutoFit/>
          </a:bodyPr>
          <a:lstStyle>
            <a:lvl1pPr marL="0" indent="0">
              <a:spcBef>
                <a:spcPts val="1200"/>
              </a:spcBef>
              <a:buNone/>
              <a:defRPr lang="en-US" sz="3921"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4249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44372718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2637462"/>
          </a:xfrm>
        </p:spPr>
        <p:txBody>
          <a:bodyPr>
            <a:spAutoFit/>
          </a:bodyPr>
          <a:lstStyle>
            <a:lvl1pPr marL="0" indent="0">
              <a:spcBef>
                <a:spcPts val="1200"/>
              </a:spcBef>
              <a:buNone/>
              <a:defRPr sz="3921">
                <a:gradFill>
                  <a:gsLst>
                    <a:gs pos="1000">
                      <a:schemeClr val="tx1"/>
                    </a:gs>
                    <a:gs pos="98000">
                      <a:schemeClr val="tx1"/>
                    </a:gs>
                  </a:gsLst>
                  <a:lin ang="5400000" scaled="0"/>
                </a:gradFill>
                <a:latin typeface="+mj-lt"/>
              </a:defRPr>
            </a:lvl1pPr>
            <a:lvl2pPr marL="0" indent="0">
              <a:buNone/>
              <a:defRPr sz="1961" spc="-50" baseline="0">
                <a:gradFill>
                  <a:gsLst>
                    <a:gs pos="1000">
                      <a:schemeClr val="tx1"/>
                    </a:gs>
                    <a:gs pos="98000">
                      <a:schemeClr val="tx1"/>
                    </a:gs>
                  </a:gsLst>
                  <a:lin ang="5400000" scaled="0"/>
                </a:gradFill>
              </a:defRPr>
            </a:lvl2pPr>
            <a:lvl3pPr marL="233364" indent="0">
              <a:buNone/>
              <a:defRPr sz="1961" spc="-50" baseline="0">
                <a:gradFill>
                  <a:gsLst>
                    <a:gs pos="1000">
                      <a:schemeClr val="tx1"/>
                    </a:gs>
                    <a:gs pos="98000">
                      <a:schemeClr val="tx1"/>
                    </a:gs>
                  </a:gsLst>
                  <a:lin ang="5400000" scaled="0"/>
                </a:gradFill>
              </a:defRPr>
            </a:lvl3pPr>
            <a:lvl4pPr marL="457202" indent="0">
              <a:buNone/>
              <a:defRPr sz="1765" spc="-50" baseline="0">
                <a:gradFill>
                  <a:gsLst>
                    <a:gs pos="1000">
                      <a:schemeClr val="tx1"/>
                    </a:gs>
                    <a:gs pos="98000">
                      <a:schemeClr val="tx1"/>
                    </a:gs>
                  </a:gsLst>
                  <a:lin ang="5400000" scaled="0"/>
                </a:gradFill>
              </a:defRPr>
            </a:lvl4pPr>
            <a:lvl5pPr marL="693741" indent="0">
              <a:buNone/>
              <a:defRPr sz="1765" spc="-50"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6" cy="2637462"/>
          </a:xfrm>
        </p:spPr>
        <p:txBody>
          <a:bodyPr>
            <a:spAutoFit/>
          </a:bodyPr>
          <a:lstStyle>
            <a:lvl1pPr marL="0" indent="0">
              <a:spcBef>
                <a:spcPts val="1200"/>
              </a:spcBef>
              <a:buNone/>
              <a:defRPr lang="en-US" sz="3921"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000">
                      <a:schemeClr val="tx1"/>
                    </a:gs>
                    <a:gs pos="98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0012019"/>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22989609"/>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5610794"/>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69239" y="308191"/>
            <a:ext cx="11151917" cy="927940"/>
          </a:xfrm>
          <a:prstGeom prst="rect">
            <a:avLst/>
          </a:prstGeom>
        </p:spPr>
        <p:txBody>
          <a:bodyPr lIns="143428" tIns="89642" rIns="143428" bIns="89642"/>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5294">
                <a:gradFill>
                  <a:gsLst>
                    <a:gs pos="1250">
                      <a:srgbClr val="505050"/>
                    </a:gs>
                    <a:gs pos="100000">
                      <a:srgbClr val="505050"/>
                    </a:gs>
                  </a:gsLst>
                  <a:lin ang="5400000" scaled="0"/>
                </a:gradFill>
              </a:rPr>
              <a:t>Cloud, an ‘evolution’ for IT</a:t>
            </a:r>
          </a:p>
        </p:txBody>
      </p:sp>
    </p:spTree>
    <p:extLst>
      <p:ext uri="{BB962C8B-B14F-4D97-AF65-F5344CB8AC3E}">
        <p14:creationId xmlns:p14="http://schemas.microsoft.com/office/powerpoint/2010/main" val="3793138758"/>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39" y="1187621"/>
            <a:ext cx="11155093" cy="2463945"/>
          </a:xfrm>
        </p:spPr>
        <p:txBody>
          <a:bodyPr>
            <a:spAutoFit/>
          </a:bodyPr>
          <a:lstStyle>
            <a:lvl1pPr marL="0" indent="0">
              <a:buNone/>
              <a:defRPr sz="3235">
                <a:gradFill>
                  <a:gsLst>
                    <a:gs pos="1250">
                      <a:schemeClr val="tx1"/>
                    </a:gs>
                    <a:gs pos="100000">
                      <a:schemeClr val="tx1"/>
                    </a:gs>
                  </a:gsLst>
                  <a:lin ang="5400000" scaled="0"/>
                </a:gradFill>
                <a:latin typeface="Consolas" pitchFamily="49" charset="0"/>
                <a:cs typeface="Consolas" pitchFamily="49" charset="0"/>
              </a:defRPr>
            </a:lvl1pPr>
            <a:lvl2pPr marL="339726" indent="0">
              <a:buNone/>
              <a:defRPr>
                <a:gradFill>
                  <a:gsLst>
                    <a:gs pos="1250">
                      <a:schemeClr val="tx1"/>
                    </a:gs>
                    <a:gs pos="100000">
                      <a:schemeClr val="tx1"/>
                    </a:gs>
                  </a:gsLst>
                  <a:lin ang="5400000" scaled="0"/>
                </a:gradFill>
                <a:latin typeface="Consolas" pitchFamily="49" charset="0"/>
                <a:cs typeface="Consolas" pitchFamily="49" charset="0"/>
              </a:defRPr>
            </a:lvl2pPr>
            <a:lvl3pPr marL="573090" indent="0">
              <a:buNone/>
              <a:defRPr>
                <a:gradFill>
                  <a:gsLst>
                    <a:gs pos="1250">
                      <a:schemeClr val="tx1"/>
                    </a:gs>
                    <a:gs pos="100000">
                      <a:schemeClr val="tx1"/>
                    </a:gs>
                  </a:gsLst>
                  <a:lin ang="5400000" scaled="0"/>
                </a:gradFill>
                <a:latin typeface="Consolas" pitchFamily="49" charset="0"/>
                <a:cs typeface="Consolas" pitchFamily="49" charset="0"/>
              </a:defRPr>
            </a:lvl3pPr>
            <a:lvl4pPr marL="798516" indent="0">
              <a:buNone/>
              <a:defRPr>
                <a:gradFill>
                  <a:gsLst>
                    <a:gs pos="1250">
                      <a:schemeClr val="tx1"/>
                    </a:gs>
                    <a:gs pos="100000">
                      <a:schemeClr val="tx1"/>
                    </a:gs>
                  </a:gsLst>
                  <a:lin ang="5400000" scaled="0"/>
                </a:gradFill>
                <a:latin typeface="Consolas" pitchFamily="49" charset="0"/>
                <a:cs typeface="Consolas" pitchFamily="49" charset="0"/>
              </a:defRPr>
            </a:lvl4pPr>
            <a:lvl5pPr marL="1030292"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4209871"/>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71671040"/>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78714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5631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9229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rgbClr val="169FE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1611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15486457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Slide 3">
    <p:spTree>
      <p:nvGrpSpPr>
        <p:cNvPr id="1" name=""/>
        <p:cNvGrpSpPr/>
        <p:nvPr/>
      </p:nvGrpSpPr>
      <p:grpSpPr>
        <a:xfrm>
          <a:off x="0" y="0"/>
          <a:ext cx="0" cy="0"/>
          <a:chOff x="0" y="0"/>
          <a:chExt cx="0" cy="0"/>
        </a:xfrm>
      </p:grpSpPr>
      <p:sp>
        <p:nvSpPr>
          <p:cNvPr id="4" name="Rectangle 3"/>
          <p:cNvSpPr/>
          <p:nvPr userDrawn="1"/>
        </p:nvSpPr>
        <p:spPr bwMode="auto">
          <a:xfrm>
            <a:off x="178975" y="1545619"/>
            <a:ext cx="11833364" cy="3586208"/>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59" tIns="143407" rIns="179259" bIns="143407"/>
          <a:lstStyle/>
          <a:p>
            <a:pPr algn="ctr" defTabSz="913922">
              <a:lnSpc>
                <a:spcPct val="90000"/>
              </a:lnSpc>
              <a:defRPr/>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9770" y="471627"/>
            <a:ext cx="1702585" cy="364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303" y="2081645"/>
            <a:ext cx="8964185" cy="999056"/>
          </a:xfrm>
          <a:noFill/>
        </p:spPr>
        <p:txBody>
          <a:bodyPr anchorCtr="0"/>
          <a:lstStyle>
            <a:lvl1pPr>
              <a:defRPr sz="5880" spc="-98" baseline="0">
                <a:gradFill>
                  <a:gsLst>
                    <a:gs pos="5833">
                      <a:srgbClr val="FFFFFF"/>
                    </a:gs>
                    <a:gs pos="18000">
                      <a:srgbClr val="FFFFFF"/>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76683" y="3697964"/>
            <a:ext cx="8964185" cy="1793105"/>
          </a:xfrm>
          <a:noFill/>
        </p:spPr>
        <p:txBody>
          <a:bodyPr tIns="109728" bIns="109728">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2376667620"/>
      </p:ext>
    </p:extLst>
  </p:cSld>
  <p:clrMapOvr>
    <a:masterClrMapping/>
  </p:clrMapOvr>
  <p:transition spd="slow"/>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_Onl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968554"/>
          </a:xfrm>
        </p:spPr>
        <p:txBody>
          <a:bodyPr/>
          <a:lstStyle>
            <a:lvl1pPr>
              <a:defRPr sz="5685">
                <a:gradFill>
                  <a:gsLst>
                    <a:gs pos="6195">
                      <a:schemeClr val="tx1"/>
                    </a:gs>
                    <a:gs pos="26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8616371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668389" y="291069"/>
            <a:ext cx="1251260" cy="26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9240" y="289511"/>
            <a:ext cx="8874570" cy="917880"/>
          </a:xfrm>
        </p:spPr>
        <p:txBody>
          <a:bodyPr/>
          <a:lstStyle/>
          <a:p>
            <a:r>
              <a:rPr lang="en-US" smtClean="0"/>
              <a:t>Click to edit Master title style</a:t>
            </a:r>
            <a:endParaRPr lang="en-US"/>
          </a:p>
        </p:txBody>
      </p:sp>
    </p:spTree>
    <p:extLst>
      <p:ext uri="{BB962C8B-B14F-4D97-AF65-F5344CB8AC3E}">
        <p14:creationId xmlns:p14="http://schemas.microsoft.com/office/powerpoint/2010/main" val="238765741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08000" y="1411552"/>
            <a:ext cx="11176000" cy="221086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20442360"/>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89609794"/>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875363140"/>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87147777"/>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994615661"/>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729371501"/>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610597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8" name="Footer Placeholder 7"/>
          <p:cNvSpPr>
            <a:spLocks noGrp="1"/>
          </p:cNvSpPr>
          <p:nvPr>
            <p:ph type="ftr" sz="quarter" idx="11"/>
          </p:nvPr>
        </p:nvSpPr>
        <p:spPr/>
        <p:txBody>
          <a:bodyPr/>
          <a:lstStyle/>
          <a:p>
            <a:endParaRPr lang="en-US">
              <a:solidFill>
                <a:srgbClr val="000000">
                  <a:tint val="75000"/>
                </a:srgbClr>
              </a:solidFill>
            </a:endParaRPr>
          </a:p>
        </p:txBody>
      </p:sp>
      <p:sp>
        <p:nvSpPr>
          <p:cNvPr id="9" name="Slide Number Placeholder 8"/>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424560705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778369957"/>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90287430"/>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75086898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785464466"/>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764320557"/>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823547637"/>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684865639"/>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262423381"/>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535213136"/>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71898141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699787F-C452-417B-9AC0-3D94BCDDF498}" type="datetimeFigureOut">
              <a:rPr lang="en-US" smtClean="0"/>
              <a:t>10/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9DC884-0787-438E-A7C9-E02BDBF08A08}" type="slidenum">
              <a:rPr lang="en-US" smtClean="0"/>
              <a:t>‹#›</a:t>
            </a:fld>
            <a:endParaRPr lang="en-US"/>
          </a:p>
        </p:txBody>
      </p:sp>
    </p:spTree>
    <p:extLst>
      <p:ext uri="{BB962C8B-B14F-4D97-AF65-F5344CB8AC3E}">
        <p14:creationId xmlns:p14="http://schemas.microsoft.com/office/powerpoint/2010/main" val="27666884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407342124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103015096"/>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560691"/>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777656764"/>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gradFill flip="none" rotWithShape="1">
            <a:gsLst>
              <a:gs pos="0">
                <a:srgbClr val="000000">
                  <a:alpha val="65000"/>
                </a:srgbClr>
              </a:gs>
              <a:gs pos="24000">
                <a:srgbClr val="000000">
                  <a:alpha val="0"/>
                </a:srgbClr>
              </a:gs>
              <a:gs pos="100000">
                <a:srgbClr val="000000">
                  <a:alpha val="0"/>
                </a:srgbClr>
              </a:gs>
            </a:gsLst>
            <a:lin ang="189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smtClean="0">
              <a:gradFill>
                <a:gsLst>
                  <a:gs pos="0">
                    <a:srgbClr val="FFFFFF"/>
                  </a:gs>
                  <a:gs pos="100000">
                    <a:srgbClr val="FFFFFF"/>
                  </a:gs>
                </a:gsLst>
                <a:lin ang="5400000" scaled="0"/>
              </a:gradFill>
            </a:endParaRP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351" y="5990599"/>
            <a:ext cx="1844505" cy="397334"/>
          </a:xfrm>
          <a:prstGeom prst="rect">
            <a:avLst/>
          </a:prstGeom>
        </p:spPr>
      </p:pic>
      <p:pic>
        <p:nvPicPr>
          <p:cNvPr id="5" name="Picture 4"/>
          <p:cNvPicPr>
            <a:picLocks noChangeAspect="1"/>
          </p:cNvPicPr>
          <p:nvPr userDrawn="1"/>
        </p:nvPicPr>
        <p:blipFill>
          <a:blip r:embed="rId4"/>
          <a:stretch>
            <a:fillRect/>
          </a:stretch>
        </p:blipFill>
        <p:spPr>
          <a:xfrm>
            <a:off x="457351" y="470068"/>
            <a:ext cx="8776137" cy="1261191"/>
          </a:xfrm>
          <a:prstGeom prst="rect">
            <a:avLst/>
          </a:prstGeom>
        </p:spPr>
      </p:pic>
      <p:sp>
        <p:nvSpPr>
          <p:cNvPr id="2" name="TextBox 1"/>
          <p:cNvSpPr txBox="1"/>
          <p:nvPr userDrawn="1"/>
        </p:nvSpPr>
        <p:spPr>
          <a:xfrm>
            <a:off x="2260641" y="1875996"/>
            <a:ext cx="3986462" cy="887000"/>
          </a:xfrm>
          <a:prstGeom prst="rect">
            <a:avLst/>
          </a:prstGeom>
          <a:noFill/>
        </p:spPr>
        <p:txBody>
          <a:bodyPr wrap="none" lIns="179285" tIns="143428" rIns="179285" bIns="143428" rtlCol="0">
            <a:spAutoFit/>
          </a:bodyPr>
          <a:lstStyle/>
          <a:p>
            <a:pPr defTabSz="914367">
              <a:lnSpc>
                <a:spcPct val="90000"/>
              </a:lnSpc>
              <a:spcAft>
                <a:spcPts val="588"/>
              </a:spcAft>
            </a:pPr>
            <a:r>
              <a:rPr lang="en-US" sz="4313" dirty="0" smtClean="0">
                <a:gradFill>
                  <a:gsLst>
                    <a:gs pos="3941">
                      <a:srgbClr val="969696"/>
                    </a:gs>
                    <a:gs pos="100000">
                      <a:srgbClr val="969696"/>
                    </a:gs>
                  </a:gsLst>
                  <a:lin ang="5400000" scaled="0"/>
                </a:gradFill>
                <a:latin typeface="Segoe UI Light"/>
              </a:rPr>
              <a:t>22–24 July 2013</a:t>
            </a:r>
          </a:p>
        </p:txBody>
      </p:sp>
    </p:spTree>
    <p:extLst>
      <p:ext uri="{BB962C8B-B14F-4D97-AF65-F5344CB8AC3E}">
        <p14:creationId xmlns:p14="http://schemas.microsoft.com/office/powerpoint/2010/main" val="16447229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pos="288">
          <p15:clr>
            <a:srgbClr val="C35EA4"/>
          </p15:clr>
        </p15:guide>
        <p15:guide id="3" pos="7546">
          <p15:clr>
            <a:srgbClr val="C35EA4"/>
          </p15:clr>
        </p15:guide>
        <p15:guide id="4" orient="horz" pos="4104">
          <p15:clr>
            <a:srgbClr val="C35EA4"/>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sp>
        <p:nvSpPr>
          <p:cNvPr id="6" name="Text Placeholder 5"/>
          <p:cNvSpPr>
            <a:spLocks noGrp="1"/>
          </p:cNvSpPr>
          <p:nvPr>
            <p:ph type="body" sz="quarter" idx="13" hasCustomPrompt="1"/>
          </p:nvPr>
        </p:nvSpPr>
        <p:spPr>
          <a:xfrm>
            <a:off x="9233488" y="348646"/>
            <a:ext cx="2689274" cy="506780"/>
          </a:xfrm>
        </p:spPr>
        <p:txBody>
          <a:bodyPr/>
          <a:lstStyle>
            <a:lvl1pPr marL="0" indent="0" algn="r">
              <a:buNone/>
              <a:defRPr sz="2353"/>
            </a:lvl1pPr>
          </a:lstStyle>
          <a:p>
            <a:pPr lvl="0"/>
            <a:r>
              <a:rPr lang="en-US" dirty="0" smtClean="0"/>
              <a:t>Session Code</a:t>
            </a:r>
            <a:endParaRPr lang="en-US" dirty="0"/>
          </a:p>
        </p:txBody>
      </p:sp>
    </p:spTree>
    <p:extLst>
      <p:ext uri="{BB962C8B-B14F-4D97-AF65-F5344CB8AC3E}">
        <p14:creationId xmlns:p14="http://schemas.microsoft.com/office/powerpoint/2010/main" val="32929728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84186"/>
            <a:ext cx="9860610" cy="1793104"/>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20" y="471123"/>
            <a:ext cx="2507462" cy="537211"/>
          </a:xfrm>
          <a:prstGeom prst="rect">
            <a:avLst/>
          </a:prstGeom>
        </p:spPr>
      </p:pic>
      <p:sp>
        <p:nvSpPr>
          <p:cNvPr id="3" name="Text Placeholder 2"/>
          <p:cNvSpPr>
            <a:spLocks noGrp="1"/>
          </p:cNvSpPr>
          <p:nvPr>
            <p:ph type="body" sz="quarter" idx="13" hasCustomPrompt="1"/>
          </p:nvPr>
        </p:nvSpPr>
        <p:spPr>
          <a:xfrm>
            <a:off x="9233488" y="356871"/>
            <a:ext cx="2689274" cy="506972"/>
          </a:xfrm>
        </p:spPr>
        <p:txBody>
          <a:bodyPr/>
          <a:lstStyle>
            <a:lvl1pPr marL="0" indent="0" algn="r">
              <a:buNone/>
              <a:defRPr sz="2353"/>
            </a:lvl1pPr>
          </a:lstStyle>
          <a:p>
            <a:pPr lvl="0"/>
            <a:r>
              <a:rPr lang="en-US" dirty="0" smtClean="0"/>
              <a:t>Session Code</a:t>
            </a:r>
            <a:endParaRPr lang="en-US" dirty="0"/>
          </a:p>
        </p:txBody>
      </p:sp>
    </p:spTree>
    <p:extLst>
      <p:ext uri="{BB962C8B-B14F-4D97-AF65-F5344CB8AC3E}">
        <p14:creationId xmlns:p14="http://schemas.microsoft.com/office/powerpoint/2010/main" val="16527408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 4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0" y="0"/>
            <a:ext cx="12192000" cy="6858000"/>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smtClean="0">
              <a:gradFill>
                <a:gsLst>
                  <a:gs pos="0">
                    <a:srgbClr val="FFFFFF"/>
                  </a:gs>
                  <a:gs pos="100000">
                    <a:srgbClr val="FFFFFF"/>
                  </a:gs>
                </a:gsLst>
                <a:lin ang="5400000" scaled="0"/>
              </a:gradFill>
            </a:endParaRPr>
          </a:p>
        </p:txBody>
      </p:sp>
      <p:sp>
        <p:nvSpPr>
          <p:cNvPr id="19" name="Rectangle 18"/>
          <p:cNvSpPr/>
          <p:nvPr userDrawn="1"/>
        </p:nvSpPr>
        <p:spPr bwMode="gray">
          <a:xfrm>
            <a:off x="269302" y="1187621"/>
            <a:ext cx="7171399"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1187607"/>
            <a:ext cx="7171399" cy="2689656"/>
          </a:xfrm>
          <a:noFill/>
        </p:spPr>
        <p:txBody>
          <a:bodyPr lIns="146304" tIns="91440" rIns="146304" bIns="91440" anchor="t" anchorCtr="0"/>
          <a:lstStyle>
            <a:lvl1pPr>
              <a:defRPr sz="647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240" y="3875706"/>
            <a:ext cx="7171399" cy="1794661"/>
          </a:xfrm>
          <a:noFill/>
        </p:spPr>
        <p:txBody>
          <a:bodyPr lIns="182880" tIns="146304" rIns="182880" bIns="146304">
            <a:noAutofit/>
          </a:bodyPr>
          <a:lstStyle>
            <a:lvl1pPr marL="0" indent="0">
              <a:spcBef>
                <a:spcPts val="0"/>
              </a:spcBef>
              <a:buNone/>
              <a:defRPr sz="3529"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9899283" y="470067"/>
            <a:ext cx="1844505" cy="397334"/>
          </a:xfrm>
          <a:prstGeom prst="rect">
            <a:avLst/>
          </a:prstGeom>
        </p:spPr>
      </p:pic>
      <p:sp>
        <p:nvSpPr>
          <p:cNvPr id="3" name="Text Placeholder 2"/>
          <p:cNvSpPr>
            <a:spLocks noGrp="1"/>
          </p:cNvSpPr>
          <p:nvPr>
            <p:ph type="body" sz="quarter" idx="13" hasCustomPrompt="1"/>
          </p:nvPr>
        </p:nvSpPr>
        <p:spPr>
          <a:xfrm>
            <a:off x="269239" y="360430"/>
            <a:ext cx="2689274" cy="506972"/>
          </a:xfrm>
        </p:spPr>
        <p:txBody>
          <a:bodyPr/>
          <a:lstStyle>
            <a:lvl1pPr marL="0" indent="0">
              <a:buNone/>
              <a:defRPr sz="2353">
                <a:gradFill>
                  <a:gsLst>
                    <a:gs pos="5419">
                      <a:srgbClr val="FFFFFF"/>
                    </a:gs>
                    <a:gs pos="100000">
                      <a:srgbClr val="FFFFFF"/>
                    </a:gs>
                  </a:gsLst>
                  <a:lin ang="5400000" scaled="0"/>
                </a:gradFill>
              </a:defRPr>
            </a:lvl1pPr>
          </a:lstStyle>
          <a:p>
            <a:pPr lvl="0"/>
            <a:r>
              <a:rPr lang="en-US" dirty="0" smtClean="0"/>
              <a:t>Session Code</a:t>
            </a:r>
            <a:endParaRPr lang="en-US" dirty="0"/>
          </a:p>
        </p:txBody>
      </p:sp>
    </p:spTree>
    <p:extLst>
      <p:ext uri="{BB962C8B-B14F-4D97-AF65-F5344CB8AC3E}">
        <p14:creationId xmlns:p14="http://schemas.microsoft.com/office/powerpoint/2010/main" val="1467636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15:clr>
            <a:srgbClr val="FBAE40"/>
          </p15:clr>
        </p15:guide>
        <p15:guide id="5" pos="7546">
          <p15:clr>
            <a:srgbClr val="C35EA4"/>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07571" rIns="143428" bIns="107571"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2" y="1187644"/>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0840471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527659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2" y="1187644"/>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2923309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3" name="Footer Placeholder 2"/>
          <p:cNvSpPr>
            <a:spLocks noGrp="1"/>
          </p:cNvSpPr>
          <p:nvPr>
            <p:ph type="ftr" sz="quarter" idx="11"/>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62389025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705455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890505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518108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848924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29873885"/>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1750511"/>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1190734"/>
            <a:ext cx="11653523" cy="2187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1071287"/>
      </p:ext>
    </p:extLst>
  </p:cSld>
  <p:clrMapOvr>
    <a:masterClrMapping/>
  </p:clrMapOvr>
  <p:transition>
    <p:fade/>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04670723"/>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8692189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236730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77075413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2983892"/>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66659451"/>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53565639"/>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8535376"/>
      </p:ext>
    </p:extLst>
  </p:cSld>
  <p:clrMapOvr>
    <a:masterClrMapping/>
  </p:clrMapOvr>
  <p:transition>
    <p:fade/>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80480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80455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02641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7642051"/>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1306079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2752402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5264694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74294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rgbClr val="00188F"/>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12897" y="1768476"/>
            <a:ext cx="11231365" cy="1218795"/>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lvl="0"/>
            <a:r>
              <a:rPr lang="en-US" smtClean="0"/>
              <a:t>Click to edit Master text styles</a:t>
            </a:r>
          </a:p>
        </p:txBody>
      </p:sp>
      <p:sp>
        <p:nvSpPr>
          <p:cNvPr id="4" name="Text Placeholder 8"/>
          <p:cNvSpPr>
            <a:spLocks noGrp="1"/>
          </p:cNvSpPr>
          <p:nvPr>
            <p:ph type="body" sz="quarter" idx="11"/>
          </p:nvPr>
        </p:nvSpPr>
        <p:spPr>
          <a:xfrm>
            <a:off x="512897" y="3219165"/>
            <a:ext cx="7515594"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114828520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38684633"/>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3834" cy="787395"/>
          </a:xfrm>
        </p:spPr>
        <p:txBody>
          <a:bodyPr/>
          <a:lstStyle>
            <a:lvl1pPr>
              <a:defRPr sz="5685">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7" cy="1680268"/>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142655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083383"/>
            <a:ext cx="11155093" cy="1069716"/>
          </a:xfrm>
        </p:spPr>
        <p:txBody>
          <a:bodyPr anchor="b" anchorCtr="0">
            <a:spAutoFit/>
          </a:bodyPr>
          <a:lstStyle>
            <a:lvl1pPr>
              <a:defRPr sz="7057" spc="-150"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9" y="4773829"/>
            <a:ext cx="11155093" cy="526619"/>
          </a:xfrm>
        </p:spPr>
        <p:txBody>
          <a:bodyPr>
            <a:spAutoFit/>
          </a:bodyPr>
          <a:lstStyle>
            <a:lvl1pPr marL="0" indent="0">
              <a:spcBef>
                <a:spcPts val="0"/>
              </a:spcBef>
              <a:buNone/>
              <a:defRPr sz="3136" spc="-70"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88581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699787F-C452-417B-9AC0-3D94BCDDF498}" type="datetimeFigureOut">
              <a:rPr lang="en-US" smtClean="0"/>
              <a:t>10/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9DC884-0787-438E-A7C9-E02BDBF08A08}" type="slidenum">
              <a:rPr lang="en-US" smtClean="0"/>
              <a:t>‹#›</a:t>
            </a:fld>
            <a:endParaRPr lang="en-US"/>
          </a:p>
        </p:txBody>
      </p:sp>
    </p:spTree>
    <p:extLst>
      <p:ext uri="{BB962C8B-B14F-4D97-AF65-F5344CB8AC3E}">
        <p14:creationId xmlns:p14="http://schemas.microsoft.com/office/powerpoint/2010/main" val="25741594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58549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9269751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566440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3067618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8" name="Footer Placeholder 7"/>
          <p:cNvSpPr>
            <a:spLocks noGrp="1"/>
          </p:cNvSpPr>
          <p:nvPr>
            <p:ph type="ftr" sz="quarter" idx="11"/>
          </p:nvPr>
        </p:nvSpPr>
        <p:spPr/>
        <p:txBody>
          <a:bodyPr/>
          <a:lstStyle/>
          <a:p>
            <a:endParaRPr lang="en-US">
              <a:solidFill>
                <a:srgbClr val="000000">
                  <a:tint val="75000"/>
                </a:srgbClr>
              </a:solidFill>
            </a:endParaRPr>
          </a:p>
        </p:txBody>
      </p:sp>
      <p:sp>
        <p:nvSpPr>
          <p:cNvPr id="9" name="Slide Number Placeholder 8"/>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1597810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2571456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3" name="Footer Placeholder 2"/>
          <p:cNvSpPr>
            <a:spLocks noGrp="1"/>
          </p:cNvSpPr>
          <p:nvPr>
            <p:ph type="ftr" sz="quarter" idx="11"/>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6170931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0393856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1266564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638379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699787F-C452-417B-9AC0-3D94BCDDF498}" type="datetimeFigureOut">
              <a:rPr lang="en-US" smtClean="0"/>
              <a:t>10/15/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49DC884-0787-438E-A7C9-E02BDBF08A08}" type="slidenum">
              <a:rPr lang="en-US" smtClean="0"/>
              <a:t>‹#›</a:t>
            </a:fld>
            <a:endParaRPr lang="en-US"/>
          </a:p>
        </p:txBody>
      </p:sp>
    </p:spTree>
    <p:extLst>
      <p:ext uri="{BB962C8B-B14F-4D97-AF65-F5344CB8AC3E}">
        <p14:creationId xmlns:p14="http://schemas.microsoft.com/office/powerpoint/2010/main" val="28634687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8778592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rgbClr val="00188F"/>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12897" y="1768476"/>
            <a:ext cx="11231365" cy="1218795"/>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lvl="0"/>
            <a:r>
              <a:rPr lang="en-US" smtClean="0"/>
              <a:t>Click to edit Master text styles</a:t>
            </a:r>
          </a:p>
        </p:txBody>
      </p:sp>
      <p:sp>
        <p:nvSpPr>
          <p:cNvPr id="4" name="Text Placeholder 8"/>
          <p:cNvSpPr>
            <a:spLocks noGrp="1"/>
          </p:cNvSpPr>
          <p:nvPr>
            <p:ph type="body" sz="quarter" idx="11"/>
          </p:nvPr>
        </p:nvSpPr>
        <p:spPr>
          <a:xfrm>
            <a:off x="512897" y="3219165"/>
            <a:ext cx="7515594"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239771400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23339635"/>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083383"/>
            <a:ext cx="11155093" cy="1069716"/>
          </a:xfrm>
        </p:spPr>
        <p:txBody>
          <a:bodyPr anchor="b" anchorCtr="0">
            <a:spAutoFit/>
          </a:bodyPr>
          <a:lstStyle>
            <a:lvl1pPr>
              <a:defRPr sz="7057" spc="-150"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9" y="4773829"/>
            <a:ext cx="11155093" cy="526619"/>
          </a:xfrm>
        </p:spPr>
        <p:txBody>
          <a:bodyPr>
            <a:spAutoFit/>
          </a:bodyPr>
          <a:lstStyle>
            <a:lvl1pPr marL="0" indent="0">
              <a:spcBef>
                <a:spcPts val="0"/>
              </a:spcBef>
              <a:buNone/>
              <a:defRPr sz="3136" spc="-70"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663181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1"/>
            <a:ext cx="12192000" cy="727571"/>
          </a:xfrm>
        </p:spPr>
        <p:txBody>
          <a:bodyPr/>
          <a:lstStyle>
            <a:lvl1pPr marL="0" indent="0">
              <a:buNone/>
              <a:defRPr/>
            </a:lvl1pPr>
          </a:lstStyle>
          <a:p>
            <a:endParaRPr lang="en-US"/>
          </a:p>
        </p:txBody>
      </p:sp>
      <p:sp>
        <p:nvSpPr>
          <p:cNvPr id="9" name="Title 1"/>
          <p:cNvSpPr>
            <a:spLocks noGrp="1"/>
          </p:cNvSpPr>
          <p:nvPr>
            <p:ph type="title" hasCustomPrompt="1"/>
          </p:nvPr>
        </p:nvSpPr>
        <p:spPr>
          <a:xfrm>
            <a:off x="269304" y="291069"/>
            <a:ext cx="5378485" cy="1793104"/>
          </a:xfrm>
          <a:noFill/>
        </p:spPr>
        <p:txBody>
          <a:bodyPr lIns="182880" tIns="146304" rIns="182880" bIns="146304" anchor="t" anchorCtr="0"/>
          <a:lstStyle>
            <a:lvl1pPr>
              <a:defRPr sz="4703" spc="-98"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441113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1"/>
            <a:ext cx="12192000" cy="727571"/>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3"/>
            </a:lvl1pPr>
          </a:lstStyle>
          <a:p>
            <a:r>
              <a:rPr lang="en-US" dirty="0" smtClean="0"/>
              <a:t>Click to edit Master title style</a:t>
            </a:r>
            <a:endParaRPr lang="en-US" dirty="0"/>
          </a:p>
        </p:txBody>
      </p:sp>
    </p:spTree>
    <p:extLst>
      <p:ext uri="{BB962C8B-B14F-4D97-AF65-F5344CB8AC3E}">
        <p14:creationId xmlns:p14="http://schemas.microsoft.com/office/powerpoint/2010/main" val="101387669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984346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7541256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Tree>
    <p:extLst>
      <p:ext uri="{BB962C8B-B14F-4D97-AF65-F5344CB8AC3E}">
        <p14:creationId xmlns:p14="http://schemas.microsoft.com/office/powerpoint/2010/main" val="2369644232"/>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3"/>
            <a:ext cx="3406434" cy="3406937"/>
          </a:xfrm>
        </p:spPr>
        <p:txBody>
          <a:bodyPr/>
          <a:lstStyle>
            <a:lvl1pPr>
              <a:defRPr/>
            </a:lvl1pPr>
          </a:lstStyle>
          <a:p>
            <a:r>
              <a:rPr lang="en-US" dirty="0" smtClean="0"/>
              <a:t>Click to edit Master title style </a:t>
            </a:r>
            <a:endParaRPr lang="en-US" dirty="0"/>
          </a:p>
        </p:txBody>
      </p:sp>
      <p:sp>
        <p:nvSpPr>
          <p:cNvPr id="3" name="Rectangle 2"/>
          <p:cNvSpPr/>
          <p:nvPr userDrawn="1"/>
        </p:nvSpPr>
        <p:spPr bwMode="auto">
          <a:xfrm>
            <a:off x="3854939"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9"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78074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699787F-C452-417B-9AC0-3D94BCDDF498}" type="datetimeFigureOut">
              <a:rPr lang="en-US" smtClean="0"/>
              <a:t>10/15/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49DC884-0787-438E-A7C9-E02BDBF08A08}" type="slidenum">
              <a:rPr lang="en-US" smtClean="0"/>
              <a:t>‹#›</a:t>
            </a:fld>
            <a:endParaRPr lang="en-US"/>
          </a:p>
        </p:txBody>
      </p:sp>
    </p:spTree>
    <p:extLst>
      <p:ext uri="{BB962C8B-B14F-4D97-AF65-F5344CB8AC3E}">
        <p14:creationId xmlns:p14="http://schemas.microsoft.com/office/powerpoint/2010/main" val="41247882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3850" y="4056270"/>
            <a:ext cx="2689274" cy="2510690"/>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082814" y="4056272"/>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700185" y="4056272"/>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5891499" y="4056272"/>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3850"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1595338314"/>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4"/>
            <a:ext cx="11653834" cy="1793071"/>
          </a:xfrm>
        </p:spPr>
        <p:txBody>
          <a:bodyPr/>
          <a:lstStyle>
            <a:lvl1pPr>
              <a:defRPr sz="5684">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70"/>
            <a:ext cx="7171399" cy="510461"/>
          </a:xfrm>
        </p:spPr>
        <p:txBody>
          <a:bodyPr/>
          <a:lstStyle>
            <a:lvl1pPr marL="0" indent="0">
              <a:buNone/>
              <a:defRPr sz="2352">
                <a:gradFill>
                  <a:gsLst>
                    <a:gs pos="1250">
                      <a:schemeClr val="tx1"/>
                    </a:gs>
                    <a:gs pos="100000">
                      <a:schemeClr val="tx1"/>
                    </a:gs>
                  </a:gsLst>
                  <a:lin ang="5400000" scaled="0"/>
                </a:gradFill>
                <a:latin typeface="+mn-lt"/>
              </a:defRPr>
            </a:lvl1pPr>
            <a:lvl2pPr>
              <a:defRPr sz="2352"/>
            </a:lvl2pPr>
            <a:lvl3pPr>
              <a:defRPr sz="2352"/>
            </a:lvl3pPr>
            <a:lvl4pPr>
              <a:defRPr sz="2352"/>
            </a:lvl4pPr>
            <a:lvl5pPr>
              <a:defRPr sz="2352"/>
            </a:lvl5pPr>
          </a:lstStyle>
          <a:p>
            <a:pPr lvl="0"/>
            <a:r>
              <a:rPr lang="en-US" smtClean="0"/>
              <a:t>Click to edit Master text styles</a:t>
            </a:r>
          </a:p>
        </p:txBody>
      </p:sp>
    </p:spTree>
    <p:extLst>
      <p:ext uri="{BB962C8B-B14F-4D97-AF65-F5344CB8AC3E}">
        <p14:creationId xmlns:p14="http://schemas.microsoft.com/office/powerpoint/2010/main" val="3659014795"/>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4">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9624789"/>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4"/>
            <a:ext cx="11653834" cy="1793071"/>
          </a:xfrm>
        </p:spPr>
        <p:txBody>
          <a:bodyPr/>
          <a:lstStyle>
            <a:lvl1pPr>
              <a:defRPr sz="5684">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70"/>
            <a:ext cx="7171399" cy="510461"/>
          </a:xfrm>
        </p:spPr>
        <p:txBody>
          <a:bodyPr/>
          <a:lstStyle>
            <a:lvl1pPr marL="0" indent="0">
              <a:buNone/>
              <a:defRPr sz="2352">
                <a:gradFill>
                  <a:gsLst>
                    <a:gs pos="1250">
                      <a:schemeClr val="tx1"/>
                    </a:gs>
                    <a:gs pos="100000">
                      <a:schemeClr val="tx1"/>
                    </a:gs>
                  </a:gsLst>
                  <a:lin ang="5400000" scaled="0"/>
                </a:gradFill>
                <a:latin typeface="+mn-lt"/>
              </a:defRPr>
            </a:lvl1pPr>
            <a:lvl2pPr>
              <a:defRPr sz="2352"/>
            </a:lvl2pPr>
            <a:lvl3pPr>
              <a:defRPr sz="2352"/>
            </a:lvl3pPr>
            <a:lvl4pPr>
              <a:defRPr sz="2352"/>
            </a:lvl4pPr>
            <a:lvl5pPr>
              <a:defRPr sz="2352"/>
            </a:lvl5pPr>
          </a:lstStyle>
          <a:p>
            <a:pPr lvl="0"/>
            <a:r>
              <a:rPr lang="en-US" smtClean="0"/>
              <a:t>Click to edit Master text styles</a:t>
            </a:r>
          </a:p>
        </p:txBody>
      </p:sp>
    </p:spTree>
    <p:extLst>
      <p:ext uri="{BB962C8B-B14F-4D97-AF65-F5344CB8AC3E}">
        <p14:creationId xmlns:p14="http://schemas.microsoft.com/office/powerpoint/2010/main" val="1697886013"/>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4">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7617059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5"/>
            <a:ext cx="8964248" cy="832882"/>
          </a:xfrm>
        </p:spPr>
        <p:txBody>
          <a:bodyPr/>
          <a:lstStyle>
            <a:lvl1pPr marL="0" indent="0">
              <a:buNone/>
              <a:defRPr sz="4703"/>
            </a:lvl1pPr>
            <a:lvl2pPr>
              <a:defRPr sz="3527"/>
            </a:lvl2pPr>
            <a:lvl3pPr>
              <a:defRPr sz="3527"/>
            </a:lvl3pPr>
            <a:lvl4pPr>
              <a:defRPr sz="3527"/>
            </a:lvl4pPr>
            <a:lvl5pPr>
              <a:defRPr sz="3527"/>
            </a:lvl5pPr>
          </a:lstStyle>
          <a:p>
            <a:pPr lvl="0"/>
            <a:r>
              <a:rPr lang="en-US" dirty="0" smtClean="0"/>
              <a:t>Click to edit Master text styles</a:t>
            </a:r>
          </a:p>
        </p:txBody>
      </p:sp>
    </p:spTree>
    <p:extLst>
      <p:ext uri="{BB962C8B-B14F-4D97-AF65-F5344CB8AC3E}">
        <p14:creationId xmlns:p14="http://schemas.microsoft.com/office/powerpoint/2010/main" val="2055556252"/>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5"/>
            <a:ext cx="8964248" cy="832882"/>
          </a:xfrm>
        </p:spPr>
        <p:txBody>
          <a:bodyPr/>
          <a:lstStyle>
            <a:lvl1pPr marL="0" indent="0">
              <a:buNone/>
              <a:defRPr sz="4703"/>
            </a:lvl1pPr>
            <a:lvl2pPr>
              <a:defRPr sz="3527"/>
            </a:lvl2pPr>
            <a:lvl3pPr>
              <a:defRPr sz="3527"/>
            </a:lvl3pPr>
            <a:lvl4pPr>
              <a:defRPr sz="3527"/>
            </a:lvl4pPr>
            <a:lvl5pPr>
              <a:defRPr sz="3527"/>
            </a:lvl5pPr>
          </a:lstStyle>
          <a:p>
            <a:pPr lvl="0"/>
            <a:r>
              <a:rPr lang="en-US" dirty="0" smtClean="0"/>
              <a:t>Click to edit Master text styles</a:t>
            </a:r>
          </a:p>
        </p:txBody>
      </p:sp>
    </p:spTree>
    <p:extLst>
      <p:ext uri="{BB962C8B-B14F-4D97-AF65-F5344CB8AC3E}">
        <p14:creationId xmlns:p14="http://schemas.microsoft.com/office/powerpoint/2010/main" val="4590374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8964560" cy="5379279"/>
          </a:xfrm>
        </p:spPr>
        <p:txBody>
          <a:bodyPr/>
          <a:lstStyle>
            <a:lvl1pPr>
              <a:defRPr sz="4703"/>
            </a:lvl1pPr>
          </a:lstStyle>
          <a:p>
            <a:r>
              <a:rPr lang="en-US" dirty="0" smtClean="0"/>
              <a:t>Click to edit Master title style</a:t>
            </a:r>
            <a:endParaRPr lang="en-US" dirty="0"/>
          </a:p>
        </p:txBody>
      </p:sp>
    </p:spTree>
    <p:extLst>
      <p:ext uri="{BB962C8B-B14F-4D97-AF65-F5344CB8AC3E}">
        <p14:creationId xmlns:p14="http://schemas.microsoft.com/office/powerpoint/2010/main" val="74463359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4">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8777125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5"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527"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02254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699787F-C452-417B-9AC0-3D94BCDDF498}" type="datetimeFigureOut">
              <a:rPr lang="en-US" smtClean="0"/>
              <a:t>10/15/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49DC884-0787-438E-A7C9-E02BDBF08A08}" type="slidenum">
              <a:rPr lang="en-US" smtClean="0"/>
              <a:t>‹#›</a:t>
            </a:fld>
            <a:endParaRPr lang="en-US"/>
          </a:p>
        </p:txBody>
      </p:sp>
    </p:spTree>
    <p:extLst>
      <p:ext uri="{BB962C8B-B14F-4D97-AF65-F5344CB8AC3E}">
        <p14:creationId xmlns:p14="http://schemas.microsoft.com/office/powerpoint/2010/main" val="26115549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5"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7016499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82254989"/>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752692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08001" y="1411553"/>
            <a:ext cx="11176001" cy="2417234"/>
          </a:xfrm>
        </p:spPr>
        <p:txBody>
          <a:bodyPr/>
          <a:lstStyle>
            <a:lvl1pPr>
              <a:lnSpc>
                <a:spcPct val="90000"/>
              </a:lnSpc>
              <a:buSzPct val="100000"/>
              <a:buFont typeface="Arial" pitchFamily="34" charset="0"/>
              <a:buChar char="•"/>
              <a:defRPr>
                <a:solidFill>
                  <a:schemeClr val="bg1">
                    <a:lumMod val="75000"/>
                  </a:schemeClr>
                </a:solidFill>
              </a:defRPr>
            </a:lvl1pPr>
            <a:lvl2pPr algn="l" defTabSz="906537" rtl="0" eaLnBrk="1" latinLnBrk="0" hangingPunct="1">
              <a:lnSpc>
                <a:spcPct val="90000"/>
              </a:lnSpc>
              <a:spcBef>
                <a:spcPct val="20000"/>
              </a:spcBef>
              <a:buClr>
                <a:srgbClr val="777777"/>
              </a:buClr>
              <a:buSzPct val="100000"/>
              <a:buFont typeface="Segoe" pitchFamily="34" charset="0"/>
              <a:buChar char="−"/>
              <a:defRPr lang="en-US" sz="2799" kern="1200" dirty="0" smtClean="0">
                <a:solidFill>
                  <a:schemeClr val="bg1">
                    <a:lumMod val="75000"/>
                  </a:schemeClr>
                </a:solidFill>
                <a:latin typeface="+mn-lt"/>
                <a:ea typeface="+mn-ea"/>
                <a:cs typeface="+mn-cs"/>
              </a:defRPr>
            </a:lvl2pPr>
            <a:lvl3pPr algn="l" defTabSz="906537" rtl="0" eaLnBrk="1" latinLnBrk="0" hangingPunct="1">
              <a:lnSpc>
                <a:spcPct val="90000"/>
              </a:lnSpc>
              <a:spcBef>
                <a:spcPct val="20000"/>
              </a:spcBef>
              <a:buClr>
                <a:srgbClr val="777777"/>
              </a:buClr>
              <a:buSzPct val="100000"/>
              <a:buFont typeface="Segoe" pitchFamily="34" charset="0"/>
              <a:buChar char="−"/>
              <a:defRPr lang="en-US" sz="2399" kern="1200" dirty="0" smtClean="0">
                <a:solidFill>
                  <a:schemeClr val="bg1">
                    <a:lumMod val="75000"/>
                  </a:schemeClr>
                </a:solidFill>
                <a:latin typeface="+mn-lt"/>
                <a:ea typeface="+mn-ea"/>
                <a:cs typeface="+mn-cs"/>
              </a:defRPr>
            </a:lvl3pPr>
            <a:lvl4pPr algn="l" defTabSz="906537" rtl="0" eaLnBrk="1" latinLnBrk="0" hangingPunct="1">
              <a:lnSpc>
                <a:spcPct val="90000"/>
              </a:lnSpc>
              <a:spcBef>
                <a:spcPct val="20000"/>
              </a:spcBef>
              <a:buClr>
                <a:srgbClr val="777777"/>
              </a:buClr>
              <a:buSzPct val="100000"/>
              <a:buFont typeface="Segoe" pitchFamily="34" charset="0"/>
              <a:buChar char="−"/>
              <a:defRPr lang="en-US" sz="2399" kern="1200" dirty="0" smtClean="0">
                <a:solidFill>
                  <a:schemeClr val="bg1">
                    <a:lumMod val="75000"/>
                  </a:schemeClr>
                </a:solidFill>
                <a:latin typeface="+mn-lt"/>
                <a:ea typeface="+mn-ea"/>
                <a:cs typeface="+mn-cs"/>
              </a:defRPr>
            </a:lvl4pPr>
            <a:lvl5pPr algn="l" defTabSz="906537" rtl="0" eaLnBrk="1" latinLnBrk="0" hangingPunct="1">
              <a:lnSpc>
                <a:spcPct val="90000"/>
              </a:lnSpc>
              <a:spcBef>
                <a:spcPct val="20000"/>
              </a:spcBef>
              <a:buClr>
                <a:srgbClr val="777777"/>
              </a:buClr>
              <a:buSzPct val="100000"/>
              <a:buFont typeface="Segoe" pitchFamily="34" charset="0"/>
              <a:buChar char="−"/>
              <a:defRPr lang="en-US" sz="2399" kern="1200" dirty="0">
                <a:solidFill>
                  <a:schemeClr val="bg1">
                    <a:lumMod val="75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7437303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3771"/>
            <a:endParaRPr lang="en-US" sz="1764">
              <a:solidFill>
                <a:srgbClr val="EFEFEF"/>
              </a:solidFill>
            </a:endParaRPr>
          </a:p>
        </p:txBody>
      </p:sp>
      <p:sp>
        <p:nvSpPr>
          <p:cNvPr id="2" name="Title 1"/>
          <p:cNvSpPr>
            <a:spLocks noGrp="1"/>
          </p:cNvSpPr>
          <p:nvPr>
            <p:ph type="title" hasCustomPrompt="1"/>
          </p:nvPr>
        </p:nvSpPr>
        <p:spPr>
          <a:xfrm>
            <a:off x="5647788" y="1187622"/>
            <a:ext cx="6274974" cy="2136525"/>
          </a:xfrm>
        </p:spPr>
        <p:txBody>
          <a:bodyPr wrap="square" anchor="t" anchorCtr="0">
            <a:spAutoFit/>
          </a:bodyPr>
          <a:lstStyle>
            <a:lvl1pPr>
              <a:defRPr sz="7055" spc="-150"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647788" y="3877277"/>
            <a:ext cx="6274974" cy="618952"/>
          </a:xfrm>
        </p:spPr>
        <p:txBody>
          <a:bodyPr wrap="square">
            <a:spAutoFit/>
          </a:bodyPr>
          <a:lstStyle>
            <a:lvl1pPr marL="0" indent="0">
              <a:spcBef>
                <a:spcPts val="0"/>
              </a:spcBef>
              <a:buNone/>
              <a:defRPr sz="3135" spc="-70"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526274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17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40" y="1187621"/>
            <a:ext cx="11151917" cy="1988558"/>
          </a:xfrm>
          <a:prstGeom prst="rect">
            <a:avLst/>
          </a:prstGeom>
        </p:spPr>
        <p:txBody>
          <a:bodyPr>
            <a:spAutoFit/>
          </a:bodyPr>
          <a:lstStyle>
            <a:lvl1pPr marL="0" indent="0">
              <a:spcBef>
                <a:spcPts val="2399"/>
              </a:spcBef>
              <a:buNone/>
              <a:defRPr sz="3919">
                <a:gradFill>
                  <a:gsLst>
                    <a:gs pos="100000">
                      <a:schemeClr val="tx2"/>
                    </a:gs>
                    <a:gs pos="0">
                      <a:schemeClr val="tx2"/>
                    </a:gs>
                  </a:gsLst>
                  <a:lin ang="5400000" scaled="0"/>
                </a:gradFill>
                <a:latin typeface="+mj-lt"/>
              </a:defRPr>
            </a:lvl1pPr>
            <a:lvl2pPr marL="0" indent="0">
              <a:buNone/>
              <a:defRPr sz="1960" spc="-50" baseline="0">
                <a:gradFill>
                  <a:gsLst>
                    <a:gs pos="100000">
                      <a:schemeClr val="tx1"/>
                    </a:gs>
                    <a:gs pos="6000">
                      <a:schemeClr val="tx1"/>
                    </a:gs>
                  </a:gsLst>
                  <a:lin ang="5400000" scaled="0"/>
                </a:gradFill>
              </a:defRPr>
            </a:lvl2pPr>
            <a:lvl3pPr marL="231684" indent="0">
              <a:buNone/>
              <a:defRPr sz="1960" spc="-50" baseline="0">
                <a:gradFill>
                  <a:gsLst>
                    <a:gs pos="100000">
                      <a:schemeClr val="tx1"/>
                    </a:gs>
                    <a:gs pos="6000">
                      <a:schemeClr val="tx1"/>
                    </a:gs>
                  </a:gsLst>
                  <a:lin ang="5400000" scaled="0"/>
                </a:gradFill>
              </a:defRPr>
            </a:lvl3pPr>
            <a:lvl4pPr marL="457021" indent="0">
              <a:buNone/>
              <a:defRPr sz="1764" spc="-50" baseline="0">
                <a:gradFill>
                  <a:gsLst>
                    <a:gs pos="100000">
                      <a:schemeClr val="tx1"/>
                    </a:gs>
                    <a:gs pos="6000">
                      <a:schemeClr val="tx1"/>
                    </a:gs>
                  </a:gsLst>
                  <a:lin ang="5400000" scaled="0"/>
                </a:gradFill>
              </a:defRPr>
            </a:lvl4pPr>
            <a:lvl5pPr marL="693466" indent="0">
              <a:buNone/>
              <a:defRPr sz="1764" spc="-50"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69240" y="286381"/>
            <a:ext cx="11151917" cy="927940"/>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3427148641"/>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3106066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solidFill>
                <a:srgbClr val="000000">
                  <a:tint val="75000"/>
                </a:srgbClr>
              </a:solidFill>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65684922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1"/>
            <a:ext cx="12192000" cy="727571"/>
          </a:xfrm>
        </p:spPr>
        <p:txBody>
          <a:bodyPr/>
          <a:lstStyle>
            <a:lvl1pPr marL="0" indent="0">
              <a:buNone/>
              <a:defRPr/>
            </a:lvl1pPr>
          </a:lstStyle>
          <a:p>
            <a:endParaRPr lang="en-US"/>
          </a:p>
        </p:txBody>
      </p:sp>
      <p:sp>
        <p:nvSpPr>
          <p:cNvPr id="9" name="Title 1"/>
          <p:cNvSpPr>
            <a:spLocks noGrp="1"/>
          </p:cNvSpPr>
          <p:nvPr>
            <p:ph type="title" hasCustomPrompt="1"/>
          </p:nvPr>
        </p:nvSpPr>
        <p:spPr>
          <a:xfrm>
            <a:off x="269304" y="291069"/>
            <a:ext cx="5378485" cy="1793104"/>
          </a:xfrm>
          <a:noFill/>
        </p:spPr>
        <p:txBody>
          <a:bodyPr lIns="182880" tIns="146304" rIns="182880" bIns="146304" anchor="t" anchorCtr="0"/>
          <a:lstStyle>
            <a:lvl1pPr>
              <a:defRPr sz="4703" spc="-98"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139308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1"/>
            <a:ext cx="12192000" cy="727571"/>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3"/>
            </a:lvl1pPr>
          </a:lstStyle>
          <a:p>
            <a:r>
              <a:rPr lang="en-US" dirty="0" smtClean="0"/>
              <a:t>Click to edit Master title style</a:t>
            </a:r>
            <a:endParaRPr lang="en-US" dirty="0"/>
          </a:p>
        </p:txBody>
      </p:sp>
    </p:spTree>
    <p:extLst>
      <p:ext uri="{BB962C8B-B14F-4D97-AF65-F5344CB8AC3E}">
        <p14:creationId xmlns:p14="http://schemas.microsoft.com/office/powerpoint/2010/main" val="29149231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699787F-C452-417B-9AC0-3D94BCDDF498}" type="datetimeFigureOut">
              <a:rPr lang="en-US" smtClean="0"/>
              <a:t>10/15/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49DC884-0787-438E-A7C9-E02BDBF08A08}" type="slidenum">
              <a:rPr lang="en-US" smtClean="0"/>
              <a:t>‹#›</a:t>
            </a:fld>
            <a:endParaRPr lang="en-US"/>
          </a:p>
        </p:txBody>
      </p:sp>
    </p:spTree>
    <p:extLst>
      <p:ext uri="{BB962C8B-B14F-4D97-AF65-F5344CB8AC3E}">
        <p14:creationId xmlns:p14="http://schemas.microsoft.com/office/powerpoint/2010/main" val="2174827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6225318"/>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060176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Tree>
    <p:extLst>
      <p:ext uri="{BB962C8B-B14F-4D97-AF65-F5344CB8AC3E}">
        <p14:creationId xmlns:p14="http://schemas.microsoft.com/office/powerpoint/2010/main" val="2745824671"/>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3"/>
            <a:ext cx="3406434" cy="3406937"/>
          </a:xfrm>
        </p:spPr>
        <p:txBody>
          <a:bodyPr/>
          <a:lstStyle>
            <a:lvl1pPr>
              <a:defRPr/>
            </a:lvl1pPr>
          </a:lstStyle>
          <a:p>
            <a:r>
              <a:rPr lang="en-US" dirty="0" smtClean="0"/>
              <a:t>Click to edit Master title style </a:t>
            </a:r>
            <a:endParaRPr lang="en-US" dirty="0"/>
          </a:p>
        </p:txBody>
      </p:sp>
      <p:sp>
        <p:nvSpPr>
          <p:cNvPr id="3" name="Rectangle 2"/>
          <p:cNvSpPr/>
          <p:nvPr userDrawn="1"/>
        </p:nvSpPr>
        <p:spPr bwMode="auto">
          <a:xfrm>
            <a:off x="3854939"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9"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770144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3850" y="4056270"/>
            <a:ext cx="2689274" cy="2510690"/>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082814" y="4056272"/>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700185" y="4056272"/>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5891499" y="4056272"/>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3850"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2932014380"/>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4"/>
            <a:ext cx="11653834" cy="1793071"/>
          </a:xfrm>
        </p:spPr>
        <p:txBody>
          <a:bodyPr/>
          <a:lstStyle>
            <a:lvl1pPr>
              <a:defRPr sz="5684">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70"/>
            <a:ext cx="7171399" cy="510461"/>
          </a:xfrm>
        </p:spPr>
        <p:txBody>
          <a:bodyPr/>
          <a:lstStyle>
            <a:lvl1pPr marL="0" indent="0">
              <a:buNone/>
              <a:defRPr sz="2352">
                <a:gradFill>
                  <a:gsLst>
                    <a:gs pos="1250">
                      <a:schemeClr val="tx1"/>
                    </a:gs>
                    <a:gs pos="100000">
                      <a:schemeClr val="tx1"/>
                    </a:gs>
                  </a:gsLst>
                  <a:lin ang="5400000" scaled="0"/>
                </a:gradFill>
                <a:latin typeface="+mn-lt"/>
              </a:defRPr>
            </a:lvl1pPr>
            <a:lvl2pPr>
              <a:defRPr sz="2352"/>
            </a:lvl2pPr>
            <a:lvl3pPr>
              <a:defRPr sz="2352"/>
            </a:lvl3pPr>
            <a:lvl4pPr>
              <a:defRPr sz="2352"/>
            </a:lvl4pPr>
            <a:lvl5pPr>
              <a:defRPr sz="2352"/>
            </a:lvl5pPr>
          </a:lstStyle>
          <a:p>
            <a:pPr lvl="0"/>
            <a:r>
              <a:rPr lang="en-US" smtClean="0"/>
              <a:t>Click to edit Master text styles</a:t>
            </a:r>
          </a:p>
        </p:txBody>
      </p:sp>
    </p:spTree>
    <p:extLst>
      <p:ext uri="{BB962C8B-B14F-4D97-AF65-F5344CB8AC3E}">
        <p14:creationId xmlns:p14="http://schemas.microsoft.com/office/powerpoint/2010/main" val="2181028457"/>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4">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6560478"/>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4"/>
            <a:ext cx="11653834" cy="1793071"/>
          </a:xfrm>
        </p:spPr>
        <p:txBody>
          <a:bodyPr/>
          <a:lstStyle>
            <a:lvl1pPr>
              <a:defRPr sz="5684">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70"/>
            <a:ext cx="7171399" cy="510461"/>
          </a:xfrm>
        </p:spPr>
        <p:txBody>
          <a:bodyPr/>
          <a:lstStyle>
            <a:lvl1pPr marL="0" indent="0">
              <a:buNone/>
              <a:defRPr sz="2352">
                <a:gradFill>
                  <a:gsLst>
                    <a:gs pos="1250">
                      <a:schemeClr val="tx1"/>
                    </a:gs>
                    <a:gs pos="100000">
                      <a:schemeClr val="tx1"/>
                    </a:gs>
                  </a:gsLst>
                  <a:lin ang="5400000" scaled="0"/>
                </a:gradFill>
                <a:latin typeface="+mn-lt"/>
              </a:defRPr>
            </a:lvl1pPr>
            <a:lvl2pPr>
              <a:defRPr sz="2352"/>
            </a:lvl2pPr>
            <a:lvl3pPr>
              <a:defRPr sz="2352"/>
            </a:lvl3pPr>
            <a:lvl4pPr>
              <a:defRPr sz="2352"/>
            </a:lvl4pPr>
            <a:lvl5pPr>
              <a:defRPr sz="2352"/>
            </a:lvl5pPr>
          </a:lstStyle>
          <a:p>
            <a:pPr lvl="0"/>
            <a:r>
              <a:rPr lang="en-US" smtClean="0"/>
              <a:t>Click to edit Master text styles</a:t>
            </a:r>
          </a:p>
        </p:txBody>
      </p:sp>
    </p:spTree>
    <p:extLst>
      <p:ext uri="{BB962C8B-B14F-4D97-AF65-F5344CB8AC3E}">
        <p14:creationId xmlns:p14="http://schemas.microsoft.com/office/powerpoint/2010/main" val="411437948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4">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9480440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5"/>
            <a:ext cx="8964248" cy="832882"/>
          </a:xfrm>
        </p:spPr>
        <p:txBody>
          <a:bodyPr/>
          <a:lstStyle>
            <a:lvl1pPr marL="0" indent="0">
              <a:buNone/>
              <a:defRPr sz="4703"/>
            </a:lvl1pPr>
            <a:lvl2pPr>
              <a:defRPr sz="3527"/>
            </a:lvl2pPr>
            <a:lvl3pPr>
              <a:defRPr sz="3527"/>
            </a:lvl3pPr>
            <a:lvl4pPr>
              <a:defRPr sz="3527"/>
            </a:lvl4pPr>
            <a:lvl5pPr>
              <a:defRPr sz="3527"/>
            </a:lvl5pPr>
          </a:lstStyle>
          <a:p>
            <a:pPr lvl="0"/>
            <a:r>
              <a:rPr lang="en-US" dirty="0" smtClean="0"/>
              <a:t>Click to edit Master text styles</a:t>
            </a:r>
          </a:p>
        </p:txBody>
      </p:sp>
    </p:spTree>
    <p:extLst>
      <p:ext uri="{BB962C8B-B14F-4D97-AF65-F5344CB8AC3E}">
        <p14:creationId xmlns:p14="http://schemas.microsoft.com/office/powerpoint/2010/main" val="307306910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699787F-C452-417B-9AC0-3D94BCDDF498}" type="datetimeFigureOut">
              <a:rPr lang="en-US" smtClean="0"/>
              <a:t>10/15/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49DC884-0787-438E-A7C9-E02BDBF08A08}" type="slidenum">
              <a:rPr lang="en-US" smtClean="0"/>
              <a:t>‹#›</a:t>
            </a:fld>
            <a:endParaRPr lang="en-US"/>
          </a:p>
        </p:txBody>
      </p:sp>
    </p:spTree>
    <p:extLst>
      <p:ext uri="{BB962C8B-B14F-4D97-AF65-F5344CB8AC3E}">
        <p14:creationId xmlns:p14="http://schemas.microsoft.com/office/powerpoint/2010/main" val="14890421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239" y="1663915"/>
            <a:ext cx="8964248" cy="832882"/>
          </a:xfrm>
        </p:spPr>
        <p:txBody>
          <a:bodyPr/>
          <a:lstStyle>
            <a:lvl1pPr marL="0" indent="0">
              <a:buNone/>
              <a:defRPr sz="4703"/>
            </a:lvl1pPr>
            <a:lvl2pPr>
              <a:defRPr sz="3527"/>
            </a:lvl2pPr>
            <a:lvl3pPr>
              <a:defRPr sz="3527"/>
            </a:lvl3pPr>
            <a:lvl4pPr>
              <a:defRPr sz="3527"/>
            </a:lvl4pPr>
            <a:lvl5pPr>
              <a:defRPr sz="3527"/>
            </a:lvl5pPr>
          </a:lstStyle>
          <a:p>
            <a:pPr lvl="0"/>
            <a:r>
              <a:rPr lang="en-US" dirty="0" smtClean="0"/>
              <a:t>Click to edit Master text styles</a:t>
            </a:r>
          </a:p>
        </p:txBody>
      </p:sp>
    </p:spTree>
    <p:extLst>
      <p:ext uri="{BB962C8B-B14F-4D97-AF65-F5344CB8AC3E}">
        <p14:creationId xmlns:p14="http://schemas.microsoft.com/office/powerpoint/2010/main" val="249132477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8964560" cy="5379279"/>
          </a:xfrm>
        </p:spPr>
        <p:txBody>
          <a:bodyPr/>
          <a:lstStyle>
            <a:lvl1pPr>
              <a:defRPr sz="4703"/>
            </a:lvl1pPr>
          </a:lstStyle>
          <a:p>
            <a:r>
              <a:rPr lang="en-US" dirty="0" smtClean="0"/>
              <a:t>Click to edit Master title style</a:t>
            </a:r>
            <a:endParaRPr lang="en-US" dirty="0"/>
          </a:p>
        </p:txBody>
      </p:sp>
    </p:spTree>
    <p:extLst>
      <p:ext uri="{BB962C8B-B14F-4D97-AF65-F5344CB8AC3E}">
        <p14:creationId xmlns:p14="http://schemas.microsoft.com/office/powerpoint/2010/main" val="308739594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4">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027566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5"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2"/>
            <a:ext cx="9860674" cy="1793881"/>
          </a:xfrm>
          <a:noFill/>
        </p:spPr>
        <p:txBody>
          <a:bodyPr lIns="182880" tIns="146304" rIns="182880" bIns="146304">
            <a:noAutofit/>
          </a:bodyPr>
          <a:lstStyle>
            <a:lvl1pPr marL="0" indent="0">
              <a:spcBef>
                <a:spcPts val="0"/>
              </a:spcBef>
              <a:buNone/>
              <a:defRPr sz="3527"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917286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5"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88401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67049154"/>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558418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08001" y="1411553"/>
            <a:ext cx="11176001" cy="2417234"/>
          </a:xfrm>
        </p:spPr>
        <p:txBody>
          <a:bodyPr/>
          <a:lstStyle>
            <a:lvl1pPr>
              <a:lnSpc>
                <a:spcPct val="90000"/>
              </a:lnSpc>
              <a:buSzPct val="100000"/>
              <a:buFont typeface="Arial" pitchFamily="34" charset="0"/>
              <a:buChar char="•"/>
              <a:defRPr>
                <a:solidFill>
                  <a:schemeClr val="bg1">
                    <a:lumMod val="75000"/>
                  </a:schemeClr>
                </a:solidFill>
              </a:defRPr>
            </a:lvl1pPr>
            <a:lvl2pPr algn="l" defTabSz="906537" rtl="0" eaLnBrk="1" latinLnBrk="0" hangingPunct="1">
              <a:lnSpc>
                <a:spcPct val="90000"/>
              </a:lnSpc>
              <a:spcBef>
                <a:spcPct val="20000"/>
              </a:spcBef>
              <a:buClr>
                <a:srgbClr val="777777"/>
              </a:buClr>
              <a:buSzPct val="100000"/>
              <a:buFont typeface="Segoe" pitchFamily="34" charset="0"/>
              <a:buChar char="−"/>
              <a:defRPr lang="en-US" sz="2799" kern="1200" dirty="0" smtClean="0">
                <a:solidFill>
                  <a:schemeClr val="bg1">
                    <a:lumMod val="75000"/>
                  </a:schemeClr>
                </a:solidFill>
                <a:latin typeface="+mn-lt"/>
                <a:ea typeface="+mn-ea"/>
                <a:cs typeface="+mn-cs"/>
              </a:defRPr>
            </a:lvl2pPr>
            <a:lvl3pPr algn="l" defTabSz="906537" rtl="0" eaLnBrk="1" latinLnBrk="0" hangingPunct="1">
              <a:lnSpc>
                <a:spcPct val="90000"/>
              </a:lnSpc>
              <a:spcBef>
                <a:spcPct val="20000"/>
              </a:spcBef>
              <a:buClr>
                <a:srgbClr val="777777"/>
              </a:buClr>
              <a:buSzPct val="100000"/>
              <a:buFont typeface="Segoe" pitchFamily="34" charset="0"/>
              <a:buChar char="−"/>
              <a:defRPr lang="en-US" sz="2399" kern="1200" dirty="0" smtClean="0">
                <a:solidFill>
                  <a:schemeClr val="bg1">
                    <a:lumMod val="75000"/>
                  </a:schemeClr>
                </a:solidFill>
                <a:latin typeface="+mn-lt"/>
                <a:ea typeface="+mn-ea"/>
                <a:cs typeface="+mn-cs"/>
              </a:defRPr>
            </a:lvl3pPr>
            <a:lvl4pPr algn="l" defTabSz="906537" rtl="0" eaLnBrk="1" latinLnBrk="0" hangingPunct="1">
              <a:lnSpc>
                <a:spcPct val="90000"/>
              </a:lnSpc>
              <a:spcBef>
                <a:spcPct val="20000"/>
              </a:spcBef>
              <a:buClr>
                <a:srgbClr val="777777"/>
              </a:buClr>
              <a:buSzPct val="100000"/>
              <a:buFont typeface="Segoe" pitchFamily="34" charset="0"/>
              <a:buChar char="−"/>
              <a:defRPr lang="en-US" sz="2399" kern="1200" dirty="0" smtClean="0">
                <a:solidFill>
                  <a:schemeClr val="bg1">
                    <a:lumMod val="75000"/>
                  </a:schemeClr>
                </a:solidFill>
                <a:latin typeface="+mn-lt"/>
                <a:ea typeface="+mn-ea"/>
                <a:cs typeface="+mn-cs"/>
              </a:defRPr>
            </a:lvl4pPr>
            <a:lvl5pPr algn="l" defTabSz="906537" rtl="0" eaLnBrk="1" latinLnBrk="0" hangingPunct="1">
              <a:lnSpc>
                <a:spcPct val="90000"/>
              </a:lnSpc>
              <a:spcBef>
                <a:spcPct val="20000"/>
              </a:spcBef>
              <a:buClr>
                <a:srgbClr val="777777"/>
              </a:buClr>
              <a:buSzPct val="100000"/>
              <a:buFont typeface="Segoe" pitchFamily="34" charset="0"/>
              <a:buChar char="−"/>
              <a:defRPr lang="en-US" sz="2399" kern="1200" dirty="0">
                <a:solidFill>
                  <a:schemeClr val="bg1">
                    <a:lumMod val="75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49409578"/>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08001" y="1412875"/>
            <a:ext cx="11176001" cy="218480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3017785"/>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1"/>
            <a:ext cx="12192000" cy="727571"/>
          </a:xfrm>
        </p:spPr>
        <p:txBody>
          <a:bodyPr/>
          <a:lstStyle>
            <a:lvl1pPr marL="0" indent="0">
              <a:buNone/>
              <a:defRPr/>
            </a:lvl1pPr>
          </a:lstStyle>
          <a:p>
            <a:endParaRPr lang="en-US"/>
          </a:p>
        </p:txBody>
      </p:sp>
      <p:sp>
        <p:nvSpPr>
          <p:cNvPr id="9" name="Title 1"/>
          <p:cNvSpPr>
            <a:spLocks noGrp="1"/>
          </p:cNvSpPr>
          <p:nvPr>
            <p:ph type="title" hasCustomPrompt="1"/>
          </p:nvPr>
        </p:nvSpPr>
        <p:spPr>
          <a:xfrm>
            <a:off x="269304" y="291069"/>
            <a:ext cx="5378485" cy="1793104"/>
          </a:xfrm>
          <a:noFill/>
        </p:spPr>
        <p:txBody>
          <a:bodyPr lIns="182880" tIns="146304" rIns="182880" bIns="146304" anchor="t" anchorCtr="0"/>
          <a:lstStyle>
            <a:lvl1pPr>
              <a:defRPr sz="4703" spc="-98"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980584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699787F-C452-417B-9AC0-3D94BCDDF498}" type="datetimeFigureOut">
              <a:rPr lang="en-US" smtClean="0"/>
              <a:t>10/15/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49DC884-0787-438E-A7C9-E02BDBF08A08}" type="slidenum">
              <a:rPr lang="en-US" smtClean="0"/>
              <a:t>‹#›</a:t>
            </a:fld>
            <a:endParaRPr lang="en-US"/>
          </a:p>
        </p:txBody>
      </p:sp>
    </p:spTree>
    <p:extLst>
      <p:ext uri="{BB962C8B-B14F-4D97-AF65-F5344CB8AC3E}">
        <p14:creationId xmlns:p14="http://schemas.microsoft.com/office/powerpoint/2010/main" val="68644842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1"/>
            <a:ext cx="12192000" cy="727571"/>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3"/>
            </a:lvl1pPr>
          </a:lstStyle>
          <a:p>
            <a:r>
              <a:rPr lang="en-US" dirty="0" smtClean="0"/>
              <a:t>Click to edit Master title style</a:t>
            </a:r>
            <a:endParaRPr lang="en-US" dirty="0"/>
          </a:p>
        </p:txBody>
      </p:sp>
    </p:spTree>
    <p:extLst>
      <p:ext uri="{BB962C8B-B14F-4D97-AF65-F5344CB8AC3E}">
        <p14:creationId xmlns:p14="http://schemas.microsoft.com/office/powerpoint/2010/main" val="340262520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4791505"/>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351710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Tree>
    <p:extLst>
      <p:ext uri="{BB962C8B-B14F-4D97-AF65-F5344CB8AC3E}">
        <p14:creationId xmlns:p14="http://schemas.microsoft.com/office/powerpoint/2010/main" val="3056415341"/>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3"/>
            <a:ext cx="3406434" cy="3406937"/>
          </a:xfrm>
        </p:spPr>
        <p:txBody>
          <a:bodyPr/>
          <a:lstStyle>
            <a:lvl1pPr>
              <a:defRPr/>
            </a:lvl1pPr>
          </a:lstStyle>
          <a:p>
            <a:r>
              <a:rPr lang="en-US" dirty="0" smtClean="0"/>
              <a:t>Click to edit Master title style </a:t>
            </a:r>
            <a:endParaRPr lang="en-US" dirty="0"/>
          </a:p>
        </p:txBody>
      </p:sp>
      <p:sp>
        <p:nvSpPr>
          <p:cNvPr id="3" name="Rectangle 2"/>
          <p:cNvSpPr/>
          <p:nvPr userDrawn="1"/>
        </p:nvSpPr>
        <p:spPr bwMode="auto">
          <a:xfrm>
            <a:off x="3854939"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9"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03302390"/>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2"/>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3850" y="4056270"/>
            <a:ext cx="2689274" cy="2510690"/>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082814" y="4056272"/>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700185" y="4056272"/>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5891499" y="4056272"/>
            <a:ext cx="2688994" cy="2510662"/>
          </a:xfrm>
          <a:prstGeom prst="rect">
            <a:avLst/>
          </a:prstGeom>
          <a:solidFill>
            <a:schemeClr val="accent3">
              <a:lumMod val="50000"/>
            </a:schemeClr>
          </a:solidFill>
        </p:spPr>
        <p:txBody>
          <a:bodyPr lIns="182880" tIns="146304" rIns="182880" bIns="146304">
            <a:noAutofit/>
          </a:bodyPr>
          <a:lstStyle>
            <a:lvl1pPr marL="0" indent="0">
              <a:lnSpc>
                <a:spcPts val="1411"/>
              </a:lnSpc>
              <a:spcBef>
                <a:spcPts val="0"/>
              </a:spcBef>
              <a:spcAft>
                <a:spcPts val="588"/>
              </a:spcAft>
              <a:buFontTx/>
              <a:buNone/>
              <a:defRPr sz="1175" b="0">
                <a:gradFill>
                  <a:gsLst>
                    <a:gs pos="15929">
                      <a:schemeClr val="tx1"/>
                    </a:gs>
                    <a:gs pos="41000">
                      <a:schemeClr val="tx1"/>
                    </a:gs>
                  </a:gsLst>
                  <a:lin ang="5400000" scaled="0"/>
                </a:gradFill>
                <a:latin typeface="+mn-lt"/>
                <a:cs typeface="Segoe Pro"/>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3850"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2">
                <a:gradFill>
                  <a:gsLst>
                    <a:gs pos="1770">
                      <a:schemeClr val="bg1"/>
                    </a:gs>
                    <a:gs pos="15929">
                      <a:schemeClr val="bg1"/>
                    </a:gs>
                  </a:gsLst>
                  <a:lin ang="5400000" scaled="0"/>
                </a:gradFill>
                <a:latin typeface="+mj-lt"/>
              </a:defRPr>
            </a:lvl1pPr>
            <a:lvl2pPr marL="335979" indent="0">
              <a:buFontTx/>
              <a:buNone/>
              <a:defRPr/>
            </a:lvl2pPr>
            <a:lvl3pPr marL="559964" indent="0">
              <a:buFontTx/>
              <a:buNone/>
              <a:defRPr/>
            </a:lvl3pPr>
            <a:lvl4pPr marL="783951" indent="0">
              <a:buFontTx/>
              <a:buNone/>
              <a:defRPr/>
            </a:lvl4pPr>
            <a:lvl5pPr marL="1007936"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3906625695"/>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4"/>
            <a:ext cx="11653834" cy="1793071"/>
          </a:xfrm>
        </p:spPr>
        <p:txBody>
          <a:bodyPr/>
          <a:lstStyle>
            <a:lvl1pPr>
              <a:defRPr sz="5684">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70"/>
            <a:ext cx="7171399" cy="510461"/>
          </a:xfrm>
        </p:spPr>
        <p:txBody>
          <a:bodyPr/>
          <a:lstStyle>
            <a:lvl1pPr marL="0" indent="0">
              <a:buNone/>
              <a:defRPr sz="2352">
                <a:gradFill>
                  <a:gsLst>
                    <a:gs pos="1250">
                      <a:schemeClr val="tx1"/>
                    </a:gs>
                    <a:gs pos="100000">
                      <a:schemeClr val="tx1"/>
                    </a:gs>
                  </a:gsLst>
                  <a:lin ang="5400000" scaled="0"/>
                </a:gradFill>
                <a:latin typeface="+mn-lt"/>
              </a:defRPr>
            </a:lvl1pPr>
            <a:lvl2pPr>
              <a:defRPr sz="2352"/>
            </a:lvl2pPr>
            <a:lvl3pPr>
              <a:defRPr sz="2352"/>
            </a:lvl3pPr>
            <a:lvl4pPr>
              <a:defRPr sz="2352"/>
            </a:lvl4pPr>
            <a:lvl5pPr>
              <a:defRPr sz="2352"/>
            </a:lvl5pPr>
          </a:lstStyle>
          <a:p>
            <a:pPr lvl="0"/>
            <a:r>
              <a:rPr lang="en-US" smtClean="0"/>
              <a:t>Click to edit Master text styles</a:t>
            </a:r>
          </a:p>
        </p:txBody>
      </p:sp>
    </p:spTree>
    <p:extLst>
      <p:ext uri="{BB962C8B-B14F-4D97-AF65-F5344CB8AC3E}">
        <p14:creationId xmlns:p14="http://schemas.microsoft.com/office/powerpoint/2010/main" val="3557859373"/>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4">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2833847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4"/>
            <a:ext cx="11653834" cy="1793071"/>
          </a:xfrm>
        </p:spPr>
        <p:txBody>
          <a:bodyPr/>
          <a:lstStyle>
            <a:lvl1pPr>
              <a:defRPr sz="5684">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70"/>
            <a:ext cx="7171399" cy="510461"/>
          </a:xfrm>
        </p:spPr>
        <p:txBody>
          <a:bodyPr/>
          <a:lstStyle>
            <a:lvl1pPr marL="0" indent="0">
              <a:buNone/>
              <a:defRPr sz="2352">
                <a:gradFill>
                  <a:gsLst>
                    <a:gs pos="1250">
                      <a:schemeClr val="tx1"/>
                    </a:gs>
                    <a:gs pos="100000">
                      <a:schemeClr val="tx1"/>
                    </a:gs>
                  </a:gsLst>
                  <a:lin ang="5400000" scaled="0"/>
                </a:gradFill>
                <a:latin typeface="+mn-lt"/>
              </a:defRPr>
            </a:lvl1pPr>
            <a:lvl2pPr>
              <a:defRPr sz="2352"/>
            </a:lvl2pPr>
            <a:lvl3pPr>
              <a:defRPr sz="2352"/>
            </a:lvl3pPr>
            <a:lvl4pPr>
              <a:defRPr sz="2352"/>
            </a:lvl4pPr>
            <a:lvl5pPr>
              <a:defRPr sz="2352"/>
            </a:lvl5pPr>
          </a:lstStyle>
          <a:p>
            <a:pPr lvl="0"/>
            <a:r>
              <a:rPr lang="en-US" smtClean="0"/>
              <a:t>Click to edit Master text styles</a:t>
            </a:r>
          </a:p>
        </p:txBody>
      </p:sp>
    </p:spTree>
    <p:extLst>
      <p:ext uri="{BB962C8B-B14F-4D97-AF65-F5344CB8AC3E}">
        <p14:creationId xmlns:p14="http://schemas.microsoft.com/office/powerpoint/2010/main" val="1904252738"/>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9" y="291103"/>
            <a:ext cx="11653834" cy="896518"/>
          </a:xfrm>
        </p:spPr>
        <p:txBody>
          <a:bodyPr/>
          <a:lstStyle>
            <a:lvl1pPr>
              <a:defRPr sz="5684">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1663938"/>
            <a:ext cx="10757098" cy="1864934"/>
          </a:xfrm>
        </p:spPr>
        <p:txBody>
          <a:bodyPr/>
          <a:lstStyle>
            <a:lvl1pPr>
              <a:defRPr sz="2548">
                <a:gradFill>
                  <a:gsLst>
                    <a:gs pos="1250">
                      <a:schemeClr val="tx1"/>
                    </a:gs>
                    <a:gs pos="100000">
                      <a:schemeClr val="tx1"/>
                    </a:gs>
                  </a:gsLst>
                  <a:lin ang="5400000" scaled="0"/>
                </a:gradFill>
                <a:latin typeface="+mn-lt"/>
              </a:defRPr>
            </a:lvl1pPr>
            <a:lvl2pPr>
              <a:defRPr sz="2352"/>
            </a:lvl2pPr>
            <a:lvl3pPr>
              <a:defRPr sz="1960"/>
            </a:lvl3pPr>
            <a:lvl4pPr>
              <a:defRPr sz="1764"/>
            </a:lvl4pPr>
            <a:lvl5pPr>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552828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theme" Target="../theme/theme10.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10" Type="http://schemas.openxmlformats.org/officeDocument/2006/relationships/slideLayout" Target="../slideLayouts/slideLayout194.xml"/><Relationship Id="rId19" Type="http://schemas.openxmlformats.org/officeDocument/2006/relationships/theme" Target="../theme/theme11.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26" Type="http://schemas.openxmlformats.org/officeDocument/2006/relationships/slideLayout" Target="../slideLayouts/slideLayout228.xml"/><Relationship Id="rId3" Type="http://schemas.openxmlformats.org/officeDocument/2006/relationships/slideLayout" Target="../slideLayouts/slideLayout205.xml"/><Relationship Id="rId21" Type="http://schemas.openxmlformats.org/officeDocument/2006/relationships/slideLayout" Target="../slideLayouts/slideLayout223.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slideLayout" Target="../slideLayouts/slideLayout227.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0" Type="http://schemas.openxmlformats.org/officeDocument/2006/relationships/slideLayout" Target="../slideLayouts/slideLayout222.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5" Type="http://schemas.openxmlformats.org/officeDocument/2006/relationships/slideLayout" Target="../slideLayouts/slideLayout207.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 Id="rId22" Type="http://schemas.openxmlformats.org/officeDocument/2006/relationships/slideLayout" Target="../slideLayouts/slideLayout224.xml"/><Relationship Id="rId27"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6"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heme" Target="../theme/theme3.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theme" Target="../theme/theme4.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theme" Target="../theme/theme6.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5" Type="http://schemas.openxmlformats.org/officeDocument/2006/relationships/slideLayout" Target="../slideLayouts/slideLayout115.xml"/><Relationship Id="rId4" Type="http://schemas.openxmlformats.org/officeDocument/2006/relationships/slideLayout" Target="../slideLayouts/slideLayout114.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21" Type="http://schemas.openxmlformats.org/officeDocument/2006/relationships/slideLayout" Target="../slideLayouts/slideLayout160.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theme" Target="../theme/theme9.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699787F-C452-417B-9AC0-3D94BCDDF498}" type="datetimeFigureOut">
              <a:rPr lang="en-US" smtClean="0"/>
              <a:t>10/15/201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9DC884-0787-438E-A7C9-E02BDBF08A08}" type="slidenum">
              <a:rPr lang="en-US" smtClean="0"/>
              <a:t>‹#›</a:t>
            </a:fld>
            <a:endParaRPr lang="en-US"/>
          </a:p>
        </p:txBody>
      </p:sp>
    </p:spTree>
    <p:extLst>
      <p:ext uri="{BB962C8B-B14F-4D97-AF65-F5344CB8AC3E}">
        <p14:creationId xmlns:p14="http://schemas.microsoft.com/office/powerpoint/2010/main" val="199183017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24" r:id="rId12"/>
    <p:sldLayoutId id="2147483903" r:id="rId13"/>
    <p:sldLayoutId id="2147483905"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4250561"/>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6" r:id="rId18"/>
    <p:sldLayoutId id="2147483867" r:id="rId19"/>
    <p:sldLayoutId id="2147483868" r:id="rId20"/>
    <p:sldLayoutId id="2147483869" r:id="rId21"/>
    <p:sldLayoutId id="2147483870" r:id="rId22"/>
    <p:sldLayoutId id="2147483871" r:id="rId23"/>
  </p:sldLayoutIdLst>
  <p:transition>
    <p:fade/>
  </p:transition>
  <p:timing>
    <p:tnLst>
      <p:par>
        <p:cTn id="1" dur="indefinite" restart="never" nodeType="tmRoot"/>
      </p:par>
    </p:tnLst>
  </p:timing>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6" marR="0" indent="-339726"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70" baseline="0">
          <a:gradFill>
            <a:gsLst>
              <a:gs pos="1250">
                <a:schemeClr val="tx1"/>
              </a:gs>
              <a:gs pos="100000">
                <a:schemeClr val="tx1"/>
              </a:gs>
            </a:gsLst>
            <a:lin ang="5400000" scaled="0"/>
          </a:gradFill>
          <a:latin typeface="+mj-lt"/>
          <a:ea typeface="+mn-ea"/>
          <a:cs typeface="+mn-cs"/>
        </a:defRPr>
      </a:lvl1pPr>
      <a:lvl2pPr marL="573090" marR="0" indent="-233364" algn="l" defTabSz="914367" rtl="0" eaLnBrk="1" fontAlgn="auto" latinLnBrk="0" hangingPunct="1">
        <a:lnSpc>
          <a:spcPct val="90000"/>
        </a:lnSpc>
        <a:spcBef>
          <a:spcPct val="20000"/>
        </a:spcBef>
        <a:spcAft>
          <a:spcPts val="0"/>
        </a:spcAft>
        <a:buClrTx/>
        <a:buSzPct val="90000"/>
        <a:buFont typeface="Wingdings"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798516"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1030292" marR="0" indent="-231776" algn="l" defTabSz="914367" rtl="0" eaLnBrk="1" fontAlgn="auto" latinLnBrk="0" hangingPunct="1">
        <a:lnSpc>
          <a:spcPct val="90000"/>
        </a:lnSpc>
        <a:spcBef>
          <a:spcPct val="20000"/>
        </a:spcBef>
        <a:spcAft>
          <a:spcPts val="0"/>
        </a:spcAft>
        <a:buClrTx/>
        <a:buSzPct val="90000"/>
        <a:buFont typeface="Wingdings"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255718"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11850564"/>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21632415"/>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srgbClr val="000000">
                  <a:tint val="75000"/>
                </a:srgb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73028233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4B4FA81-5DBE-4342-A15D-2CE319843FD8}" type="datetimeFigureOut">
              <a:rPr lang="en-US" smtClean="0">
                <a:solidFill>
                  <a:srgbClr val="000000">
                    <a:tint val="75000"/>
                  </a:srgbClr>
                </a:solidFill>
              </a:rPr>
              <a:pPr/>
              <a:t>10/15/2015</a:t>
            </a:fld>
            <a:endParaRPr lang="en-US">
              <a:solidFill>
                <a:srgbClr val="000000">
                  <a:tint val="75000"/>
                </a:srgb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srgbClr val="000000">
                  <a:tint val="75000"/>
                </a:srgb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4C22A3C-F7B9-4C36-84C1-9999F57972B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4020713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7"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69354451"/>
      </p:ext>
    </p:extLst>
  </p:cSld>
  <p:clrMap bg1="dk1" tx1="lt1" bg2="dk2" tx2="lt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948" r:id="rId23"/>
    <p:sldLayoutId id="2147483949" r:id="rId24"/>
  </p:sldLayoutIdLst>
  <p:transition>
    <p:fade/>
  </p:transition>
  <p:timing>
    <p:tnLst>
      <p:par>
        <p:cTn id="1" dur="indefinite" restart="never" nodeType="tmRoot"/>
      </p:par>
    </p:tnLst>
  </p:timing>
  <p:txStyles>
    <p:titleStyle>
      <a:lvl1pPr algn="l" defTabSz="914004"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9388262"/>
      </p:ext>
    </p:extLst>
  </p:cSld>
  <p:clrMap bg1="dk1" tx1="lt1" bg2="dk2" tx2="lt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69" r:id="rId21"/>
  </p:sldLayoutIdLst>
  <p:transition>
    <p:fade/>
  </p:transition>
  <p:timing>
    <p:tnLst>
      <p:par>
        <p:cTn id="1" dur="indefinite" restart="never" nodeType="tmRoot"/>
      </p:par>
    </p:tnLst>
  </p:timing>
  <p:txStyles>
    <p:titleStyle>
      <a:lvl1pPr algn="l" defTabSz="914004"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11462824"/>
      </p:ext>
    </p:extLst>
  </p:cSld>
  <p:clrMap bg1="dk1" tx1="lt1" bg2="dk2" tx2="lt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Lst>
  <p:transition>
    <p:fade/>
  </p:transition>
  <p:timing>
    <p:tnLst>
      <p:par>
        <p:cTn id="1" dur="indefinite" restart="never" nodeType="tmRoot"/>
      </p:par>
    </p:tnLst>
  </p:timing>
  <p:txStyles>
    <p:titleStyle>
      <a:lvl1pPr algn="l" defTabSz="914004"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0"/>
            <a:ext cx="11151917" cy="747897"/>
          </a:xfrm>
          <a:prstGeom prst="rect">
            <a:avLst/>
          </a:prstGeom>
        </p:spPr>
        <p:txBody>
          <a:bodyPr vert="horz" wrap="square" lIns="0" tIns="0" rIns="0" bIns="0" rtlCol="0" anchor="t">
            <a:spAutoFit/>
          </a:bodyPr>
          <a:lstStyle/>
          <a:p>
            <a:pPr lvl="0"/>
            <a:r>
              <a:rPr lang="en-US" dirty="0"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78035269"/>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Lst>
  <p:transition>
    <p:fade/>
  </p:transition>
  <p:txStyles>
    <p:titleStyle>
      <a:lvl1pPr algn="l" defTabSz="914188" rtl="0" eaLnBrk="1" latinLnBrk="0" hangingPunct="1">
        <a:lnSpc>
          <a:spcPct val="90000"/>
        </a:lnSpc>
        <a:spcBef>
          <a:spcPct val="0"/>
        </a:spcBef>
        <a:buNone/>
        <a:defRPr lang="en-US" sz="5399" b="0" kern="1200" cap="none" spc="-100" baseline="0" dirty="0">
          <a:ln w="3175">
            <a:noFill/>
          </a:ln>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effectLst/>
          <a:latin typeface="Segoe UI Light" pitchFamily="34" charset="0"/>
          <a:ea typeface="+mn-ea"/>
          <a:cs typeface="+mn-cs"/>
        </a:defRPr>
      </a:lvl1pPr>
    </p:titleStyle>
    <p:bodyStyle>
      <a:lvl1pPr marL="346009" indent="-346009" algn="l" defTabSz="914188" rtl="0" eaLnBrk="1" latinLnBrk="0" hangingPunct="1">
        <a:lnSpc>
          <a:spcPct val="90000"/>
        </a:lnSpc>
        <a:spcBef>
          <a:spcPct val="20000"/>
        </a:spcBef>
        <a:buClrTx/>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117" indent="-284109" algn="l" defTabSz="914188" rtl="0" eaLnBrk="1" latinLnBrk="0" hangingPunct="1">
        <a:lnSpc>
          <a:spcPct val="90000"/>
        </a:lnSpc>
        <a:spcBef>
          <a:spcPct val="20000"/>
        </a:spcBef>
        <a:buClrTx/>
        <a:buSzPct val="90000"/>
        <a:buFont typeface="Arial" pitchFamily="34" charset="0"/>
        <a:buChar char="•"/>
        <a:tabLst>
          <a:tab pos="630117"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225" indent="-284109" algn="l" defTabSz="914188" rtl="0" eaLnBrk="1" latinLnBrk="0" hangingPunct="1">
        <a:lnSpc>
          <a:spcPct val="90000"/>
        </a:lnSpc>
        <a:spcBef>
          <a:spcPct val="20000"/>
        </a:spcBef>
        <a:buClrTx/>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440" indent="-223795" algn="l" defTabSz="914188" rtl="0" eaLnBrk="1" latinLnBrk="0" hangingPunct="1">
        <a:lnSpc>
          <a:spcPct val="90000"/>
        </a:lnSpc>
        <a:spcBef>
          <a:spcPct val="20000"/>
        </a:spcBef>
        <a:buClrTx/>
        <a:buSzPct val="90000"/>
        <a:buFont typeface="Arial" pitchFamily="34" charset="0"/>
        <a:buChar char="•"/>
        <a:tabLst>
          <a:tab pos="914225"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584" indent="-230144" algn="l" defTabSz="914188" rtl="0" eaLnBrk="1" latinLnBrk="0" hangingPunct="1">
        <a:lnSpc>
          <a:spcPct val="90000"/>
        </a:lnSpc>
        <a:spcBef>
          <a:spcPct val="20000"/>
        </a:spcBef>
        <a:buClrTx/>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017"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10"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04"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8"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88" rtl="0" eaLnBrk="1" latinLnBrk="0" hangingPunct="1">
        <a:defRPr sz="1800" kern="1200">
          <a:solidFill>
            <a:schemeClr val="tx1"/>
          </a:solidFill>
          <a:latin typeface="+mn-lt"/>
          <a:ea typeface="+mn-ea"/>
          <a:cs typeface="+mn-cs"/>
        </a:defRPr>
      </a:lvl1pPr>
      <a:lvl2pPr marL="457094" algn="l" defTabSz="914188" rtl="0" eaLnBrk="1" latinLnBrk="0" hangingPunct="1">
        <a:defRPr sz="1800" kern="1200">
          <a:solidFill>
            <a:schemeClr val="tx1"/>
          </a:solidFill>
          <a:latin typeface="+mn-lt"/>
          <a:ea typeface="+mn-ea"/>
          <a:cs typeface="+mn-cs"/>
        </a:defRPr>
      </a:lvl2pPr>
      <a:lvl3pPr marL="914188" algn="l" defTabSz="914188" rtl="0" eaLnBrk="1" latinLnBrk="0" hangingPunct="1">
        <a:defRPr sz="1800" kern="1200">
          <a:solidFill>
            <a:schemeClr val="tx1"/>
          </a:solidFill>
          <a:latin typeface="+mn-lt"/>
          <a:ea typeface="+mn-ea"/>
          <a:cs typeface="+mn-cs"/>
        </a:defRPr>
      </a:lvl3pPr>
      <a:lvl4pPr marL="1371282" algn="l" defTabSz="914188" rtl="0" eaLnBrk="1" latinLnBrk="0" hangingPunct="1">
        <a:defRPr sz="1800" kern="1200">
          <a:solidFill>
            <a:schemeClr val="tx1"/>
          </a:solidFill>
          <a:latin typeface="+mn-lt"/>
          <a:ea typeface="+mn-ea"/>
          <a:cs typeface="+mn-cs"/>
        </a:defRPr>
      </a:lvl4pPr>
      <a:lvl5pPr marL="1828376" algn="l" defTabSz="914188" rtl="0" eaLnBrk="1" latinLnBrk="0" hangingPunct="1">
        <a:defRPr sz="1800" kern="1200">
          <a:solidFill>
            <a:schemeClr val="tx1"/>
          </a:solidFill>
          <a:latin typeface="+mn-lt"/>
          <a:ea typeface="+mn-ea"/>
          <a:cs typeface="+mn-cs"/>
        </a:defRPr>
      </a:lvl5pPr>
      <a:lvl6pPr marL="2285470" algn="l" defTabSz="914188" rtl="0" eaLnBrk="1" latinLnBrk="0" hangingPunct="1">
        <a:defRPr sz="1800" kern="1200">
          <a:solidFill>
            <a:schemeClr val="tx1"/>
          </a:solidFill>
          <a:latin typeface="+mn-lt"/>
          <a:ea typeface="+mn-ea"/>
          <a:cs typeface="+mn-cs"/>
        </a:defRPr>
      </a:lvl6pPr>
      <a:lvl7pPr marL="2742563" algn="l" defTabSz="914188" rtl="0" eaLnBrk="1" latinLnBrk="0" hangingPunct="1">
        <a:defRPr sz="1800" kern="1200">
          <a:solidFill>
            <a:schemeClr val="tx1"/>
          </a:solidFill>
          <a:latin typeface="+mn-lt"/>
          <a:ea typeface="+mn-ea"/>
          <a:cs typeface="+mn-cs"/>
        </a:defRPr>
      </a:lvl7pPr>
      <a:lvl8pPr marL="3199657" algn="l" defTabSz="914188" rtl="0" eaLnBrk="1" latinLnBrk="0" hangingPunct="1">
        <a:defRPr sz="1800" kern="1200">
          <a:solidFill>
            <a:schemeClr val="tx1"/>
          </a:solidFill>
          <a:latin typeface="+mn-lt"/>
          <a:ea typeface="+mn-ea"/>
          <a:cs typeface="+mn-cs"/>
        </a:defRPr>
      </a:lvl8pPr>
      <a:lvl9pPr marL="3656751" algn="l" defTabSz="914188"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3"/>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93164247"/>
      </p:ext>
    </p:extLst>
  </p:cSld>
  <p:clrMap bg1="dk1" tx1="lt1" bg2="dk2" tx2="lt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Lst>
  <p:transition>
    <p:fade/>
  </p:transition>
  <p:timing>
    <p:tnLst>
      <p:par>
        <p:cTn id="1" dur="indefinite" restart="never" nodeType="tmRoot"/>
      </p:par>
    </p:tnLst>
  </p:timing>
  <p:txStyles>
    <p:titleStyle>
      <a:lvl1pPr algn="l" defTabSz="914004"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4"/>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6752239"/>
      </p:ext>
    </p:extLst>
  </p:cSld>
  <p:clrMap bg1="dk1" tx1="lt1" bg2="dk2" tx2="lt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 id="2147483846" r:id="rId22"/>
  </p:sldLayoutIdLst>
  <p:transition>
    <p:fade/>
  </p:transition>
  <p:timing>
    <p:tnLst>
      <p:par>
        <p:cTn id="1" dur="indefinite" restart="never" nodeType="tmRoot"/>
      </p:par>
    </p:tnLst>
  </p:timing>
  <p:txStyles>
    <p:titleStyle>
      <a:lvl1pPr algn="l" defTabSz="914004"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4"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21.png"/><Relationship Id="rId5" Type="http://schemas.openxmlformats.org/officeDocument/2006/relationships/image" Target="../media/image20.png"/><Relationship Id="rId4" Type="http://schemas.microsoft.com/office/2007/relationships/hdphoto" Target="../media/hdphoto2.wdp"/></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notesSlide" Target="../notesSlides/notesSlide13.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Layout" Target="../slideLayouts/slideLayout171.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1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70.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png"/><Relationship Id="rId5" Type="http://schemas.openxmlformats.org/officeDocument/2006/relationships/notesSlide" Target="../notesSlides/notesSlide14.xml"/><Relationship Id="rId4" Type="http://schemas.openxmlformats.org/officeDocument/2006/relationships/slideLayout" Target="../slideLayouts/slideLayout172.xml"/></Relationships>
</file>

<file path=ppt/slides/_rels/slide15.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emf"/><Relationship Id="rId2" Type="http://schemas.openxmlformats.org/officeDocument/2006/relationships/image" Target="../media/image71.png"/><Relationship Id="rId1" Type="http://schemas.openxmlformats.org/officeDocument/2006/relationships/slideLayout" Target="../slideLayouts/slideLayout171.xml"/><Relationship Id="rId6" Type="http://schemas.openxmlformats.org/officeDocument/2006/relationships/image" Target="../media/image75.emf"/><Relationship Id="rId5" Type="http://schemas.openxmlformats.org/officeDocument/2006/relationships/image" Target="../media/image74.emf"/><Relationship Id="rId10" Type="http://schemas.openxmlformats.org/officeDocument/2006/relationships/image" Target="../media/image79.png"/><Relationship Id="rId4" Type="http://schemas.openxmlformats.org/officeDocument/2006/relationships/image" Target="../media/image73.emf"/><Relationship Id="rId9" Type="http://schemas.openxmlformats.org/officeDocument/2006/relationships/image" Target="../media/image78.emf"/></Relationships>
</file>

<file path=ppt/slides/_rels/slide1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5.xml"/><Relationship Id="rId1" Type="http://schemas.openxmlformats.org/officeDocument/2006/relationships/slideLayout" Target="../slideLayouts/slideLayout172.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4.xml"/></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7.xml"/><Relationship Id="rId3" Type="http://schemas.openxmlformats.org/officeDocument/2006/relationships/tags" Target="../tags/tag20.xml"/><Relationship Id="rId7" Type="http://schemas.openxmlformats.org/officeDocument/2006/relationships/slideLayout" Target="../slideLayouts/slideLayout82.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image" Target="../media/image86.png"/><Relationship Id="rId5" Type="http://schemas.openxmlformats.org/officeDocument/2006/relationships/tags" Target="../tags/tag22.xml"/><Relationship Id="rId10" Type="http://schemas.openxmlformats.org/officeDocument/2006/relationships/image" Target="../media/image85.png"/><Relationship Id="rId4" Type="http://schemas.openxmlformats.org/officeDocument/2006/relationships/tags" Target="../tags/tag21.xml"/><Relationship Id="rId9" Type="http://schemas.openxmlformats.org/officeDocument/2006/relationships/image" Target="../media/image84.png"/></Relationships>
</file>

<file path=ppt/slides/_rels/slide19.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7.png"/><Relationship Id="rId7" Type="http://schemas.openxmlformats.org/officeDocument/2006/relationships/image" Target="../media/image91.png"/><Relationship Id="rId2" Type="http://schemas.openxmlformats.org/officeDocument/2006/relationships/notesSlide" Target="../notesSlides/notesSlide18.xml"/><Relationship Id="rId1" Type="http://schemas.openxmlformats.org/officeDocument/2006/relationships/slideLayout" Target="../slideLayouts/slideLayout71.xml"/><Relationship Id="rId6" Type="http://schemas.openxmlformats.org/officeDocument/2006/relationships/image" Target="../media/image90.png"/><Relationship Id="rId5" Type="http://schemas.openxmlformats.org/officeDocument/2006/relationships/image" Target="../media/image89.png"/><Relationship Id="rId10" Type="http://schemas.openxmlformats.org/officeDocument/2006/relationships/image" Target="../media/image94.png"/><Relationship Id="rId4" Type="http://schemas.openxmlformats.org/officeDocument/2006/relationships/image" Target="../media/image88.png"/><Relationship Id="rId9" Type="http://schemas.openxmlformats.org/officeDocument/2006/relationships/image" Target="../media/image93.png"/></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8.png"/><Relationship Id="rId2" Type="http://schemas.openxmlformats.org/officeDocument/2006/relationships/notesSlide" Target="../notesSlides/notesSlide19.xml"/><Relationship Id="rId1" Type="http://schemas.openxmlformats.org/officeDocument/2006/relationships/slideLayout" Target="../slideLayouts/slideLayout103.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85.png"/></Relationships>
</file>

<file path=ppt/slides/_rels/slide2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0.xml"/><Relationship Id="rId1" Type="http://schemas.openxmlformats.org/officeDocument/2006/relationships/slideLayout" Target="../slideLayouts/slideLayout54.xml"/></Relationships>
</file>

<file path=ppt/slides/_rels/slide2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1.xml"/><Relationship Id="rId1" Type="http://schemas.openxmlformats.org/officeDocument/2006/relationships/slideLayout" Target="../slideLayouts/slideLayout118.xml"/><Relationship Id="rId5" Type="http://schemas.openxmlformats.org/officeDocument/2006/relationships/image" Target="../media/image97.png"/><Relationship Id="rId4" Type="http://schemas.openxmlformats.org/officeDocument/2006/relationships/image" Target="../media/image85.png"/></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22.xml"/><Relationship Id="rId3" Type="http://schemas.openxmlformats.org/officeDocument/2006/relationships/tags" Target="../tags/tag26.xml"/><Relationship Id="rId7" Type="http://schemas.openxmlformats.org/officeDocument/2006/relationships/slideLayout" Target="../slideLayouts/slideLayout13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image" Target="../media/image97.png"/><Relationship Id="rId5" Type="http://schemas.openxmlformats.org/officeDocument/2006/relationships/tags" Target="../tags/tag28.xml"/><Relationship Id="rId10" Type="http://schemas.openxmlformats.org/officeDocument/2006/relationships/image" Target="../media/image85.png"/><Relationship Id="rId4" Type="http://schemas.openxmlformats.org/officeDocument/2006/relationships/tags" Target="../tags/tag27.xml"/><Relationship Id="rId9" Type="http://schemas.openxmlformats.org/officeDocument/2006/relationships/image" Target="../media/image95.png"/></Relationships>
</file>

<file path=ppt/slides/_rels/slide24.xml.rels><?xml version="1.0" encoding="UTF-8" standalone="yes"?>
<Relationships xmlns="http://schemas.openxmlformats.org/package/2006/relationships"><Relationship Id="rId8" Type="http://schemas.openxmlformats.org/officeDocument/2006/relationships/image" Target="../media/image74.emf"/><Relationship Id="rId3" Type="http://schemas.openxmlformats.org/officeDocument/2006/relationships/image" Target="../media/image100.png"/><Relationship Id="rId7" Type="http://schemas.openxmlformats.org/officeDocument/2006/relationships/image" Target="../media/image104.emf"/><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4.xml"/></Relationships>
</file>

<file path=ppt/slides/_rels/slide2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5.xml"/><Relationship Id="rId1" Type="http://schemas.openxmlformats.org/officeDocument/2006/relationships/slideLayout" Target="../slideLayouts/slideLayout5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7.xml"/></Relationships>
</file>

<file path=ppt/slides/_rels/slide3.xml.rels><?xml version="1.0" encoding="UTF-8" standalone="yes"?>
<Relationships xmlns="http://schemas.openxmlformats.org/package/2006/relationships"><Relationship Id="rId3" Type="http://schemas.openxmlformats.org/officeDocument/2006/relationships/image" Target="../media/image25.emf"/><Relationship Id="rId7"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image" Target="../media/image26.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4.xml"/></Relationships>
</file>

<file path=ppt/slides/_rels/slide33.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6.png"/><Relationship Id="rId7" Type="http://schemas.openxmlformats.org/officeDocument/2006/relationships/image" Target="../media/image109.png"/><Relationship Id="rId2" Type="http://schemas.openxmlformats.org/officeDocument/2006/relationships/notesSlide" Target="../notesSlides/notesSlide32.xml"/><Relationship Id="rId1" Type="http://schemas.openxmlformats.org/officeDocument/2006/relationships/slideLayout" Target="../slideLayouts/slideLayout54.xml"/><Relationship Id="rId6" Type="http://schemas.openxmlformats.org/officeDocument/2006/relationships/image" Target="../media/image90.png"/><Relationship Id="rId11" Type="http://schemas.openxmlformats.org/officeDocument/2006/relationships/image" Target="../media/image85.png"/><Relationship Id="rId5" Type="http://schemas.openxmlformats.org/officeDocument/2006/relationships/image" Target="../media/image108.png"/><Relationship Id="rId10" Type="http://schemas.openxmlformats.org/officeDocument/2006/relationships/image" Target="../media/image112.png"/><Relationship Id="rId4" Type="http://schemas.openxmlformats.org/officeDocument/2006/relationships/image" Target="../media/image107.png"/><Relationship Id="rId9" Type="http://schemas.openxmlformats.org/officeDocument/2006/relationships/image" Target="../media/image111.png"/></Relationships>
</file>

<file path=ppt/slides/_rels/slide34.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3.png"/><Relationship Id="rId7" Type="http://schemas.openxmlformats.org/officeDocument/2006/relationships/image" Target="../media/image116.png"/><Relationship Id="rId2" Type="http://schemas.openxmlformats.org/officeDocument/2006/relationships/notesSlide" Target="../notesSlides/notesSlide33.xml"/><Relationship Id="rId1" Type="http://schemas.openxmlformats.org/officeDocument/2006/relationships/slideLayout" Target="../slideLayouts/slideLayout35.xml"/><Relationship Id="rId6" Type="http://schemas.openxmlformats.org/officeDocument/2006/relationships/image" Target="../media/image90.png"/><Relationship Id="rId5" Type="http://schemas.openxmlformats.org/officeDocument/2006/relationships/image" Target="../media/image115.png"/><Relationship Id="rId10" Type="http://schemas.openxmlformats.org/officeDocument/2006/relationships/image" Target="../media/image94.png"/><Relationship Id="rId4" Type="http://schemas.openxmlformats.org/officeDocument/2006/relationships/image" Target="../media/image114.png"/><Relationship Id="rId9" Type="http://schemas.openxmlformats.org/officeDocument/2006/relationships/image" Target="../media/image93.png"/></Relationships>
</file>

<file path=ppt/slides/_rels/slide35.xml.rels><?xml version="1.0" encoding="UTF-8" standalone="yes"?>
<Relationships xmlns="http://schemas.openxmlformats.org/package/2006/relationships"><Relationship Id="rId3" Type="http://schemas.openxmlformats.org/officeDocument/2006/relationships/image" Target="../media/image118.JPG"/><Relationship Id="rId2" Type="http://schemas.openxmlformats.org/officeDocument/2006/relationships/notesSlide" Target="../notesSlides/notesSlide34.xml"/><Relationship Id="rId1" Type="http://schemas.openxmlformats.org/officeDocument/2006/relationships/slideLayout" Target="../slideLayouts/slideLayout4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36.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emf"/><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 Id="rId14" Type="http://schemas.microsoft.com/office/2007/relationships/hdphoto" Target="../media/hdphoto3.wdp"/></Relationships>
</file>

<file path=ppt/slides/_rels/slide5.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4.png"/><Relationship Id="rId26" Type="http://schemas.openxmlformats.org/officeDocument/2006/relationships/image" Target="../media/image58.png"/><Relationship Id="rId3" Type="http://schemas.openxmlformats.org/officeDocument/2006/relationships/image" Target="../media/image41.png"/><Relationship Id="rId21" Type="http://schemas.microsoft.com/office/2007/relationships/hdphoto" Target="../media/hdphoto7.wdp"/><Relationship Id="rId34" Type="http://schemas.microsoft.com/office/2007/relationships/hdphoto" Target="../media/hdphoto12.wdp"/><Relationship Id="rId7" Type="http://schemas.openxmlformats.org/officeDocument/2006/relationships/image" Target="../media/image45.png"/><Relationship Id="rId12" Type="http://schemas.openxmlformats.org/officeDocument/2006/relationships/image" Target="../media/image50.png"/><Relationship Id="rId17" Type="http://schemas.microsoft.com/office/2007/relationships/hdphoto" Target="../media/hdphoto5.wdp"/><Relationship Id="rId25" Type="http://schemas.microsoft.com/office/2007/relationships/hdphoto" Target="../media/hdphoto9.wdp"/><Relationship Id="rId33" Type="http://schemas.openxmlformats.org/officeDocument/2006/relationships/image" Target="../media/image63.png"/><Relationship Id="rId38" Type="http://schemas.microsoft.com/office/2007/relationships/hdphoto" Target="../media/hdphoto14.wdp"/><Relationship Id="rId2" Type="http://schemas.openxmlformats.org/officeDocument/2006/relationships/notesSlide" Target="../notesSlides/notesSlide5.xml"/><Relationship Id="rId16" Type="http://schemas.openxmlformats.org/officeDocument/2006/relationships/image" Target="../media/image53.png"/><Relationship Id="rId20" Type="http://schemas.openxmlformats.org/officeDocument/2006/relationships/image" Target="../media/image55.png"/><Relationship Id="rId29" Type="http://schemas.microsoft.com/office/2007/relationships/hdphoto" Target="../media/hdphoto11.wdp"/><Relationship Id="rId1" Type="http://schemas.openxmlformats.org/officeDocument/2006/relationships/slideLayout" Target="../slideLayouts/slideLayout14.xml"/><Relationship Id="rId6" Type="http://schemas.openxmlformats.org/officeDocument/2006/relationships/image" Target="../media/image44.emf"/><Relationship Id="rId11" Type="http://schemas.openxmlformats.org/officeDocument/2006/relationships/image" Target="../media/image49.emf"/><Relationship Id="rId24" Type="http://schemas.openxmlformats.org/officeDocument/2006/relationships/image" Target="../media/image57.png"/><Relationship Id="rId32" Type="http://schemas.openxmlformats.org/officeDocument/2006/relationships/image" Target="../media/image62.png"/><Relationship Id="rId37" Type="http://schemas.openxmlformats.org/officeDocument/2006/relationships/image" Target="../media/image65.png"/><Relationship Id="rId5" Type="http://schemas.openxmlformats.org/officeDocument/2006/relationships/image" Target="../media/image43.png"/><Relationship Id="rId15" Type="http://schemas.microsoft.com/office/2007/relationships/hdphoto" Target="../media/hdphoto4.wdp"/><Relationship Id="rId23" Type="http://schemas.microsoft.com/office/2007/relationships/hdphoto" Target="../media/hdphoto8.wdp"/><Relationship Id="rId28" Type="http://schemas.openxmlformats.org/officeDocument/2006/relationships/image" Target="../media/image59.png"/><Relationship Id="rId36" Type="http://schemas.microsoft.com/office/2007/relationships/hdphoto" Target="../media/hdphoto13.wdp"/><Relationship Id="rId10" Type="http://schemas.openxmlformats.org/officeDocument/2006/relationships/image" Target="../media/image48.png"/><Relationship Id="rId19" Type="http://schemas.microsoft.com/office/2007/relationships/hdphoto" Target="../media/hdphoto6.wdp"/><Relationship Id="rId31" Type="http://schemas.openxmlformats.org/officeDocument/2006/relationships/image" Target="../media/image61.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56.png"/><Relationship Id="rId27" Type="http://schemas.microsoft.com/office/2007/relationships/hdphoto" Target="../media/hdphoto10.wdp"/><Relationship Id="rId30" Type="http://schemas.openxmlformats.org/officeDocument/2006/relationships/image" Target="../media/image60.png"/><Relationship Id="rId35" Type="http://schemas.openxmlformats.org/officeDocument/2006/relationships/image" Target="../media/image64.png"/></Relationships>
</file>

<file path=ppt/slides/_rels/slide6.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microsoft.com/office/2007/relationships/hdphoto" Target="../media/hdphoto5.wdp"/><Relationship Id="rId3" Type="http://schemas.openxmlformats.org/officeDocument/2006/relationships/image" Target="../media/image41.png"/><Relationship Id="rId21" Type="http://schemas.openxmlformats.org/officeDocument/2006/relationships/image" Target="../media/image58.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3.png"/><Relationship Id="rId2" Type="http://schemas.openxmlformats.org/officeDocument/2006/relationships/notesSlide" Target="../notesSlides/notesSlide6.xml"/><Relationship Id="rId16" Type="http://schemas.openxmlformats.org/officeDocument/2006/relationships/image" Target="../media/image62.png"/><Relationship Id="rId20" Type="http://schemas.microsoft.com/office/2007/relationships/hdphoto" Target="../media/hdphoto7.wdp"/><Relationship Id="rId1" Type="http://schemas.openxmlformats.org/officeDocument/2006/relationships/slideLayout" Target="../slideLayouts/slideLayout14.xml"/><Relationship Id="rId6" Type="http://schemas.openxmlformats.org/officeDocument/2006/relationships/image" Target="../media/image44.emf"/><Relationship Id="rId11" Type="http://schemas.openxmlformats.org/officeDocument/2006/relationships/image" Target="../media/image49.emf"/><Relationship Id="rId5" Type="http://schemas.openxmlformats.org/officeDocument/2006/relationships/image" Target="../media/image43.png"/><Relationship Id="rId15" Type="http://schemas.openxmlformats.org/officeDocument/2006/relationships/image" Target="../media/image61.png"/><Relationship Id="rId10" Type="http://schemas.openxmlformats.org/officeDocument/2006/relationships/image" Target="../media/image48.png"/><Relationship Id="rId19" Type="http://schemas.openxmlformats.org/officeDocument/2006/relationships/image" Target="../media/image55.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60.png"/><Relationship Id="rId22" Type="http://schemas.microsoft.com/office/2007/relationships/hdphoto" Target="../media/hdphoto10.wdp"/></Relationships>
</file>

<file path=ppt/slides/_rels/slide7.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60.png"/><Relationship Id="rId18" Type="http://schemas.openxmlformats.org/officeDocument/2006/relationships/image" Target="../media/image63.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1.png"/><Relationship Id="rId17" Type="http://schemas.openxmlformats.org/officeDocument/2006/relationships/image" Target="../media/image46.png"/><Relationship Id="rId2" Type="http://schemas.openxmlformats.org/officeDocument/2006/relationships/notesSlide" Target="../notesSlides/notesSlide7.xml"/><Relationship Id="rId16" Type="http://schemas.openxmlformats.org/officeDocument/2006/relationships/image" Target="../media/image66.png"/><Relationship Id="rId1" Type="http://schemas.openxmlformats.org/officeDocument/2006/relationships/slideLayout" Target="../slideLayouts/slideLayout14.xml"/><Relationship Id="rId6" Type="http://schemas.openxmlformats.org/officeDocument/2006/relationships/image" Target="../media/image44.emf"/><Relationship Id="rId11" Type="http://schemas.openxmlformats.org/officeDocument/2006/relationships/image" Target="../media/image50.png"/><Relationship Id="rId5" Type="http://schemas.openxmlformats.org/officeDocument/2006/relationships/image" Target="../media/image43.png"/><Relationship Id="rId15" Type="http://schemas.openxmlformats.org/officeDocument/2006/relationships/image" Target="../media/image62.png"/><Relationship Id="rId10" Type="http://schemas.openxmlformats.org/officeDocument/2006/relationships/image" Target="../media/image49.emf"/><Relationship Id="rId4" Type="http://schemas.openxmlformats.org/officeDocument/2006/relationships/image" Target="../media/image42.png"/><Relationship Id="rId9" Type="http://schemas.openxmlformats.org/officeDocument/2006/relationships/image" Target="../media/image48.png"/><Relationship Id="rId14" Type="http://schemas.openxmlformats.org/officeDocument/2006/relationships/image" Target="../media/image6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microsoft.com/office/2007/relationships/hdphoto" Target="../media/hdphoto16.wdp"/><Relationship Id="rId3" Type="http://schemas.openxmlformats.org/officeDocument/2006/relationships/image" Target="../media/image67.png"/><Relationship Id="rId7" Type="http://schemas.openxmlformats.org/officeDocument/2006/relationships/image" Target="../media/image69.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microsoft.com/office/2007/relationships/hdphoto" Target="../media/hdphoto15.wdp"/><Relationship Id="rId5" Type="http://schemas.openxmlformats.org/officeDocument/2006/relationships/image" Target="../media/image48.png"/><Relationship Id="rId4" Type="http://schemas.openxmlformats.org/officeDocument/2006/relationships/image" Target="../media/image6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Left Brace 61"/>
          <p:cNvSpPr/>
          <p:nvPr/>
        </p:nvSpPr>
        <p:spPr>
          <a:xfrm>
            <a:off x="796911" y="2440809"/>
            <a:ext cx="302896" cy="3620741"/>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dirty="0">
              <a:solidFill>
                <a:srgbClr val="FFFFFF"/>
              </a:solidFill>
              <a:latin typeface="Segoe UI"/>
              <a:ea typeface="Segoe UI" pitchFamily="34" charset="0"/>
              <a:cs typeface="Segoe UI" pitchFamily="34" charset="0"/>
            </a:endParaRPr>
          </a:p>
        </p:txBody>
      </p:sp>
      <p:sp>
        <p:nvSpPr>
          <p:cNvPr id="2" name="Title 1"/>
          <p:cNvSpPr>
            <a:spLocks noGrp="1"/>
          </p:cNvSpPr>
          <p:nvPr>
            <p:ph type="title"/>
          </p:nvPr>
        </p:nvSpPr>
        <p:spPr>
          <a:xfrm>
            <a:off x="270759" y="74221"/>
            <a:ext cx="11652805" cy="879681"/>
          </a:xfrm>
        </p:spPr>
        <p:txBody>
          <a:bodyPr/>
          <a:lstStyle/>
          <a:p>
            <a:r>
              <a:rPr lang="en-US" sz="4800" dirty="0"/>
              <a:t>What is Cloud?</a:t>
            </a:r>
            <a:endParaRPr lang="en-US" sz="4800" dirty="0">
              <a:solidFill>
                <a:schemeClr val="accent2">
                  <a:alpha val="99000"/>
                </a:schemeClr>
              </a:solidFill>
            </a:endParaRPr>
          </a:p>
        </p:txBody>
      </p:sp>
      <p:grpSp>
        <p:nvGrpSpPr>
          <p:cNvPr id="4" name="Group 3"/>
          <p:cNvGrpSpPr/>
          <p:nvPr/>
        </p:nvGrpSpPr>
        <p:grpSpPr>
          <a:xfrm>
            <a:off x="484736" y="1538808"/>
            <a:ext cx="2427913" cy="4497741"/>
            <a:chOff x="855665" y="1876063"/>
            <a:chExt cx="2427913" cy="4497741"/>
          </a:xfrm>
        </p:grpSpPr>
        <p:sp>
          <p:nvSpPr>
            <p:cNvPr id="124" name="Rectangle 123"/>
            <p:cNvSpPr/>
            <p:nvPr/>
          </p:nvSpPr>
          <p:spPr>
            <a:xfrm>
              <a:off x="1058318" y="1876063"/>
              <a:ext cx="2225260"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On-Premises</a:t>
              </a:r>
            </a:p>
            <a:p>
              <a:pPr marL="0" lvl="1" defTabSz="1218836" fontAlgn="base">
                <a:spcAft>
                  <a:spcPct val="0"/>
                </a:spcAft>
              </a:pPr>
              <a:r>
                <a:rPr lang="en-US" sz="1600" dirty="0">
                  <a:solidFill>
                    <a:srgbClr val="595959">
                      <a:alpha val="99000"/>
                    </a:srgbClr>
                  </a:solidFill>
                  <a:ea typeface="Kozuka Gothic Pro R" pitchFamily="34" charset="-128"/>
                </a:rPr>
                <a:t>( </a:t>
              </a:r>
              <a:r>
                <a:rPr lang="en-US" sz="2000" b="1" dirty="0">
                  <a:solidFill>
                    <a:srgbClr val="595959">
                      <a:alpha val="99000"/>
                    </a:srgbClr>
                  </a:solidFill>
                  <a:ea typeface="Kozuka Gothic Pro R" pitchFamily="34" charset="-128"/>
                </a:rPr>
                <a:t>Private Cloud </a:t>
              </a:r>
              <a:r>
                <a:rPr lang="en-US" sz="1600" dirty="0" smtClean="0">
                  <a:solidFill>
                    <a:srgbClr val="595959">
                      <a:alpha val="99000"/>
                    </a:srgbClr>
                  </a:solidFill>
                  <a:ea typeface="Kozuka Gothic Pro R" pitchFamily="34" charset="-128"/>
                </a:rPr>
                <a:t>)</a:t>
              </a:r>
            </a:p>
            <a:p>
              <a:pPr marL="0" lvl="1" defTabSz="1218836" fontAlgn="base">
                <a:spcAft>
                  <a:spcPct val="0"/>
                </a:spcAft>
              </a:pPr>
              <a:r>
                <a:rPr lang="en-US" sz="1600" dirty="0" smtClean="0">
                  <a:solidFill>
                    <a:srgbClr val="595959">
                      <a:alpha val="99000"/>
                    </a:srgbClr>
                  </a:solidFill>
                  <a:ea typeface="Kozuka Gothic Pro R" pitchFamily="34" charset="-128"/>
                </a:rPr>
                <a:t>Packaged Software</a:t>
              </a:r>
              <a:endParaRPr lang="en-US" sz="1600" dirty="0">
                <a:solidFill>
                  <a:srgbClr val="595959">
                    <a:alpha val="99000"/>
                  </a:srgbClr>
                </a:solidFill>
                <a:ea typeface="Kozuka Gothic Pro R" pitchFamily="34" charset="-128"/>
              </a:endParaRPr>
            </a:p>
          </p:txBody>
        </p:sp>
        <p:sp>
          <p:nvSpPr>
            <p:cNvPr id="128" name="Rectangle 127"/>
            <p:cNvSpPr/>
            <p:nvPr/>
          </p:nvSpPr>
          <p:spPr>
            <a:xfrm>
              <a:off x="1396458" y="553798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29" name="Rectangle 128"/>
            <p:cNvSpPr/>
            <p:nvPr/>
          </p:nvSpPr>
          <p:spPr>
            <a:xfrm>
              <a:off x="1396458" y="508316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Compute</a:t>
              </a:r>
            </a:p>
          </p:txBody>
        </p:sp>
        <p:sp>
          <p:nvSpPr>
            <p:cNvPr id="130" name="Rectangle 129"/>
            <p:cNvSpPr/>
            <p:nvPr/>
          </p:nvSpPr>
          <p:spPr>
            <a:xfrm>
              <a:off x="1396458" y="599280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31" name="Rectangle 130"/>
            <p:cNvSpPr/>
            <p:nvPr/>
          </p:nvSpPr>
          <p:spPr>
            <a:xfrm>
              <a:off x="1396458" y="461728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 Machine</a:t>
              </a:r>
            </a:p>
          </p:txBody>
        </p:sp>
        <p:sp>
          <p:nvSpPr>
            <p:cNvPr id="132" name="Rectangle 131"/>
            <p:cNvSpPr/>
            <p:nvPr/>
          </p:nvSpPr>
          <p:spPr>
            <a:xfrm>
              <a:off x="1396458" y="416246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Operating System</a:t>
              </a:r>
            </a:p>
          </p:txBody>
        </p:sp>
        <p:sp>
          <p:nvSpPr>
            <p:cNvPr id="134" name="Rectangle 133"/>
            <p:cNvSpPr/>
            <p:nvPr/>
          </p:nvSpPr>
          <p:spPr>
            <a:xfrm>
              <a:off x="1396458" y="325282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35" name="Rectangle 134"/>
            <p:cNvSpPr/>
            <p:nvPr/>
          </p:nvSpPr>
          <p:spPr>
            <a:xfrm>
              <a:off x="1396458" y="2798005"/>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Data &amp; Access</a:t>
              </a:r>
            </a:p>
          </p:txBody>
        </p:sp>
        <p:sp>
          <p:nvSpPr>
            <p:cNvPr id="136" name="Rectangle 135"/>
            <p:cNvSpPr/>
            <p:nvPr/>
          </p:nvSpPr>
          <p:spPr>
            <a:xfrm>
              <a:off x="1396458" y="370764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27" name="TextBox 52"/>
            <p:cNvSpPr txBox="1"/>
            <p:nvPr/>
          </p:nvSpPr>
          <p:spPr>
            <a:xfrm>
              <a:off x="855665" y="3423926"/>
              <a:ext cx="400110" cy="1864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Provision &amp; Manage</a:t>
              </a:r>
            </a:p>
          </p:txBody>
        </p:sp>
      </p:grpSp>
      <p:sp>
        <p:nvSpPr>
          <p:cNvPr id="138" name="Rectangle 137"/>
          <p:cNvSpPr/>
          <p:nvPr/>
        </p:nvSpPr>
        <p:spPr>
          <a:xfrm>
            <a:off x="4069661" y="1511658"/>
            <a:ext cx="2108505"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Infrastructure</a:t>
            </a:r>
          </a:p>
          <a:p>
            <a:pPr defTabSz="1218936"/>
            <a:r>
              <a:rPr lang="en-US" sz="1600" dirty="0">
                <a:solidFill>
                  <a:srgbClr val="595959">
                    <a:alpha val="99000"/>
                  </a:srgbClr>
                </a:solidFill>
                <a:ea typeface="Kozuka Gothic Pro R" pitchFamily="34" charset="-128"/>
              </a:rPr>
              <a:t>( as a Service )</a:t>
            </a:r>
          </a:p>
        </p:txBody>
      </p:sp>
      <p:grpSp>
        <p:nvGrpSpPr>
          <p:cNvPr id="5" name="Group 4"/>
          <p:cNvGrpSpPr/>
          <p:nvPr/>
        </p:nvGrpSpPr>
        <p:grpSpPr>
          <a:xfrm>
            <a:off x="4099806" y="2460754"/>
            <a:ext cx="1645145" cy="3575799"/>
            <a:chOff x="4410447" y="2460753"/>
            <a:chExt cx="1645145" cy="3575799"/>
          </a:xfrm>
        </p:grpSpPr>
        <p:sp>
          <p:nvSpPr>
            <p:cNvPr id="144" name="Rectangle 143"/>
            <p:cNvSpPr/>
            <p:nvPr/>
          </p:nvSpPr>
          <p:spPr>
            <a:xfrm>
              <a:off x="4410447" y="5200735"/>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45" name="Rectangle 144"/>
            <p:cNvSpPr/>
            <p:nvPr/>
          </p:nvSpPr>
          <p:spPr>
            <a:xfrm>
              <a:off x="4410447" y="4745916"/>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Compute</a:t>
              </a:r>
            </a:p>
          </p:txBody>
        </p:sp>
        <p:sp>
          <p:nvSpPr>
            <p:cNvPr id="146" name="Rectangle 145"/>
            <p:cNvSpPr/>
            <p:nvPr/>
          </p:nvSpPr>
          <p:spPr>
            <a:xfrm>
              <a:off x="4410447" y="565555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47" name="Rectangle 146"/>
            <p:cNvSpPr/>
            <p:nvPr/>
          </p:nvSpPr>
          <p:spPr>
            <a:xfrm>
              <a:off x="4410447" y="428002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Virtual Machine</a:t>
              </a:r>
            </a:p>
          </p:txBody>
        </p:sp>
        <p:sp>
          <p:nvSpPr>
            <p:cNvPr id="148" name="Rectangle 147"/>
            <p:cNvSpPr/>
            <p:nvPr/>
          </p:nvSpPr>
          <p:spPr>
            <a:xfrm>
              <a:off x="4410447" y="3825210"/>
              <a:ext cx="1645145" cy="381000"/>
            </a:xfrm>
            <a:prstGeom prst="rect">
              <a:avLst/>
            </a:prstGeom>
            <a:solidFill>
              <a:schemeClr val="accent1"/>
            </a:solidFill>
            <a:ln w="9525" cap="flat" cmpd="sng" algn="ctr">
              <a:solidFill>
                <a:srgbClr val="FFC000"/>
              </a:solid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perating System</a:t>
              </a:r>
            </a:p>
          </p:txBody>
        </p:sp>
        <p:sp>
          <p:nvSpPr>
            <p:cNvPr id="150" name="Rectangle 149"/>
            <p:cNvSpPr/>
            <p:nvPr/>
          </p:nvSpPr>
          <p:spPr>
            <a:xfrm>
              <a:off x="4410447" y="291557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51" name="Rectangle 150"/>
            <p:cNvSpPr/>
            <p:nvPr/>
          </p:nvSpPr>
          <p:spPr>
            <a:xfrm>
              <a:off x="4410447" y="246075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 &amp; Access</a:t>
              </a:r>
            </a:p>
          </p:txBody>
        </p:sp>
        <p:sp>
          <p:nvSpPr>
            <p:cNvPr id="152" name="Rectangle 151"/>
            <p:cNvSpPr/>
            <p:nvPr/>
          </p:nvSpPr>
          <p:spPr>
            <a:xfrm>
              <a:off x="4410447" y="337039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grpSp>
      <p:sp>
        <p:nvSpPr>
          <p:cNvPr id="140" name="Left Brace 139"/>
          <p:cNvSpPr/>
          <p:nvPr/>
        </p:nvSpPr>
        <p:spPr>
          <a:xfrm flipH="1">
            <a:off x="5747277" y="4724823"/>
            <a:ext cx="228600" cy="1325319"/>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dirty="0">
              <a:solidFill>
                <a:srgbClr val="FFFFFF"/>
              </a:solidFill>
              <a:latin typeface="Segoe UI"/>
              <a:ea typeface="Segoe UI" pitchFamily="34" charset="0"/>
              <a:cs typeface="Segoe UI" pitchFamily="34" charset="0"/>
            </a:endParaRPr>
          </a:p>
        </p:txBody>
      </p:sp>
      <p:sp>
        <p:nvSpPr>
          <p:cNvPr id="141" name="TextBox 56"/>
          <p:cNvSpPr txBox="1"/>
          <p:nvPr/>
        </p:nvSpPr>
        <p:spPr>
          <a:xfrm flipH="1">
            <a:off x="6045816" y="4380879"/>
            <a:ext cx="615553" cy="1873524"/>
          </a:xfrm>
          <a:prstGeom prst="rect">
            <a:avLst/>
          </a:prstGeom>
          <a:noFill/>
        </p:spPr>
        <p:txBody>
          <a:bodyPr vert="eaVert"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Physical Fabric Managed by Vendor</a:t>
            </a:r>
          </a:p>
        </p:txBody>
      </p:sp>
      <p:sp>
        <p:nvSpPr>
          <p:cNvPr id="142" name="Left Brace 141"/>
          <p:cNvSpPr/>
          <p:nvPr/>
        </p:nvSpPr>
        <p:spPr>
          <a:xfrm>
            <a:off x="3898337" y="2447306"/>
            <a:ext cx="179434" cy="2200272"/>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dirty="0">
              <a:solidFill>
                <a:srgbClr val="FFFFFF"/>
              </a:solidFill>
              <a:latin typeface="Segoe UI"/>
              <a:ea typeface="Segoe UI" pitchFamily="34" charset="0"/>
              <a:cs typeface="Segoe UI" pitchFamily="34" charset="0"/>
            </a:endParaRPr>
          </a:p>
        </p:txBody>
      </p:sp>
      <p:sp>
        <p:nvSpPr>
          <p:cNvPr id="143" name="TextBox 58"/>
          <p:cNvSpPr txBox="1"/>
          <p:nvPr/>
        </p:nvSpPr>
        <p:spPr>
          <a:xfrm>
            <a:off x="3486068" y="2611053"/>
            <a:ext cx="400110" cy="1864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Provision &amp; Manage</a:t>
            </a:r>
          </a:p>
        </p:txBody>
      </p:sp>
      <p:sp>
        <p:nvSpPr>
          <p:cNvPr id="154" name="Rectangle 153"/>
          <p:cNvSpPr/>
          <p:nvPr/>
        </p:nvSpPr>
        <p:spPr>
          <a:xfrm>
            <a:off x="7101499" y="1501610"/>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Platform</a:t>
            </a:r>
          </a:p>
          <a:p>
            <a:pPr defTabSz="1218936"/>
            <a:r>
              <a:rPr lang="en-US" sz="1600" dirty="0">
                <a:solidFill>
                  <a:srgbClr val="595959">
                    <a:alpha val="99000"/>
                  </a:srgbClr>
                </a:solidFill>
                <a:ea typeface="Kozuka Gothic Pro R" pitchFamily="34" charset="-128"/>
              </a:rPr>
              <a:t>( as a Service )</a:t>
            </a:r>
          </a:p>
        </p:txBody>
      </p:sp>
      <p:sp>
        <p:nvSpPr>
          <p:cNvPr id="155" name="Left Brace 154"/>
          <p:cNvSpPr/>
          <p:nvPr/>
        </p:nvSpPr>
        <p:spPr>
          <a:xfrm flipH="1">
            <a:off x="8827500" y="3370388"/>
            <a:ext cx="182529" cy="2666161"/>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dirty="0">
              <a:solidFill>
                <a:srgbClr val="FFFFFF"/>
              </a:solidFill>
              <a:latin typeface="Segoe UI"/>
              <a:ea typeface="Segoe UI" pitchFamily="34" charset="0"/>
              <a:cs typeface="Segoe UI" pitchFamily="34" charset="0"/>
            </a:endParaRPr>
          </a:p>
        </p:txBody>
      </p:sp>
      <p:sp>
        <p:nvSpPr>
          <p:cNvPr id="156" name="TextBox 54"/>
          <p:cNvSpPr txBox="1"/>
          <p:nvPr/>
        </p:nvSpPr>
        <p:spPr>
          <a:xfrm flipH="1">
            <a:off x="8981493" y="3363075"/>
            <a:ext cx="400110" cy="2624565"/>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Provisioned &amp; Managed by Vendor</a:t>
            </a:r>
          </a:p>
        </p:txBody>
      </p:sp>
      <p:sp>
        <p:nvSpPr>
          <p:cNvPr id="157" name="Left Brace 156"/>
          <p:cNvSpPr/>
          <p:nvPr/>
        </p:nvSpPr>
        <p:spPr>
          <a:xfrm>
            <a:off x="7018172" y="2441702"/>
            <a:ext cx="152400" cy="84772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dirty="0">
              <a:solidFill>
                <a:srgbClr val="FFFFFF"/>
              </a:solidFill>
              <a:latin typeface="Segoe UI"/>
              <a:ea typeface="Segoe UI" pitchFamily="34" charset="0"/>
              <a:cs typeface="Segoe UI" pitchFamily="34" charset="0"/>
            </a:endParaRPr>
          </a:p>
        </p:txBody>
      </p:sp>
      <p:sp>
        <p:nvSpPr>
          <p:cNvPr id="158" name="TextBox 60"/>
          <p:cNvSpPr txBox="1"/>
          <p:nvPr/>
        </p:nvSpPr>
        <p:spPr>
          <a:xfrm>
            <a:off x="6675183" y="2366818"/>
            <a:ext cx="400110" cy="991169"/>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grpSp>
        <p:nvGrpSpPr>
          <p:cNvPr id="9" name="Group 8"/>
          <p:cNvGrpSpPr/>
          <p:nvPr/>
        </p:nvGrpSpPr>
        <p:grpSpPr>
          <a:xfrm>
            <a:off x="7179999" y="2460753"/>
            <a:ext cx="1638240" cy="3575799"/>
            <a:chOff x="6966542" y="2460752"/>
            <a:chExt cx="1638240" cy="3575799"/>
          </a:xfrm>
        </p:grpSpPr>
        <p:sp>
          <p:nvSpPr>
            <p:cNvPr id="160" name="Rectangle 159"/>
            <p:cNvSpPr/>
            <p:nvPr/>
          </p:nvSpPr>
          <p:spPr>
            <a:xfrm>
              <a:off x="6966542" y="520073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61" name="Rectangle 160"/>
            <p:cNvSpPr/>
            <p:nvPr/>
          </p:nvSpPr>
          <p:spPr>
            <a:xfrm>
              <a:off x="6966542" y="474591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Compute</a:t>
              </a:r>
            </a:p>
          </p:txBody>
        </p:sp>
        <p:sp>
          <p:nvSpPr>
            <p:cNvPr id="162" name="Rectangle 161"/>
            <p:cNvSpPr/>
            <p:nvPr/>
          </p:nvSpPr>
          <p:spPr>
            <a:xfrm>
              <a:off x="6966542" y="565555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163" name="Rectangle 162"/>
            <p:cNvSpPr/>
            <p:nvPr/>
          </p:nvSpPr>
          <p:spPr>
            <a:xfrm>
              <a:off x="6966542" y="428002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Virtual Machine</a:t>
              </a:r>
            </a:p>
          </p:txBody>
        </p:sp>
        <p:sp>
          <p:nvSpPr>
            <p:cNvPr id="164" name="Rectangle 163"/>
            <p:cNvSpPr/>
            <p:nvPr/>
          </p:nvSpPr>
          <p:spPr>
            <a:xfrm>
              <a:off x="6966542" y="3825209"/>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perating System</a:t>
              </a:r>
            </a:p>
          </p:txBody>
        </p:sp>
        <p:sp>
          <p:nvSpPr>
            <p:cNvPr id="166" name="Rectangle 165"/>
            <p:cNvSpPr/>
            <p:nvPr/>
          </p:nvSpPr>
          <p:spPr>
            <a:xfrm>
              <a:off x="6966542" y="2460752"/>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 &amp; Access</a:t>
              </a:r>
            </a:p>
          </p:txBody>
        </p:sp>
        <p:sp>
          <p:nvSpPr>
            <p:cNvPr id="167" name="Rectangle 166"/>
            <p:cNvSpPr/>
            <p:nvPr/>
          </p:nvSpPr>
          <p:spPr>
            <a:xfrm>
              <a:off x="6966542" y="337039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68" name="Rectangle 167"/>
            <p:cNvSpPr/>
            <p:nvPr/>
          </p:nvSpPr>
          <p:spPr>
            <a:xfrm>
              <a:off x="6966542" y="2915571"/>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grpSp>
      <p:sp>
        <p:nvSpPr>
          <p:cNvPr id="170" name="Rectangle 169"/>
          <p:cNvSpPr/>
          <p:nvPr/>
        </p:nvSpPr>
        <p:spPr>
          <a:xfrm>
            <a:off x="9581659" y="1501610"/>
            <a:ext cx="212319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836" fontAlgn="base">
              <a:spcAft>
                <a:spcPct val="0"/>
              </a:spcAft>
            </a:pPr>
            <a:r>
              <a:rPr lang="en-US" sz="2000" dirty="0">
                <a:solidFill>
                  <a:srgbClr val="595959">
                    <a:alpha val="99000"/>
                  </a:srgbClr>
                </a:solidFill>
                <a:ea typeface="Kozuka Gothic Pro R" pitchFamily="34" charset="-128"/>
              </a:rPr>
              <a:t>Software</a:t>
            </a:r>
          </a:p>
          <a:p>
            <a:pPr defTabSz="1218936"/>
            <a:r>
              <a:rPr lang="en-US" sz="1600" dirty="0">
                <a:solidFill>
                  <a:srgbClr val="595959">
                    <a:alpha val="99000"/>
                  </a:srgbClr>
                </a:solidFill>
                <a:ea typeface="Kozuka Gothic Pro R" pitchFamily="34" charset="-128"/>
              </a:rPr>
              <a:t>( as a Service )</a:t>
            </a:r>
          </a:p>
        </p:txBody>
      </p:sp>
      <p:sp>
        <p:nvSpPr>
          <p:cNvPr id="172" name="TextBox 64"/>
          <p:cNvSpPr txBox="1"/>
          <p:nvPr/>
        </p:nvSpPr>
        <p:spPr>
          <a:xfrm flipH="1">
            <a:off x="11599578" y="3133214"/>
            <a:ext cx="400110" cy="2624565"/>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Provisioned &amp; Managed by Vendor</a:t>
            </a:r>
          </a:p>
        </p:txBody>
      </p:sp>
      <p:grpSp>
        <p:nvGrpSpPr>
          <p:cNvPr id="11" name="Group 10"/>
          <p:cNvGrpSpPr/>
          <p:nvPr/>
        </p:nvGrpSpPr>
        <p:grpSpPr>
          <a:xfrm>
            <a:off x="9736567" y="2460750"/>
            <a:ext cx="1638240" cy="3575799"/>
            <a:chOff x="9523110" y="2460749"/>
            <a:chExt cx="1638240" cy="3575799"/>
          </a:xfrm>
        </p:grpSpPr>
        <p:sp>
          <p:nvSpPr>
            <p:cNvPr id="174" name="Rectangle 173"/>
            <p:cNvSpPr/>
            <p:nvPr/>
          </p:nvSpPr>
          <p:spPr>
            <a:xfrm>
              <a:off x="9523110" y="520073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175" name="Rectangle 174"/>
            <p:cNvSpPr/>
            <p:nvPr/>
          </p:nvSpPr>
          <p:spPr>
            <a:xfrm>
              <a:off x="9523110" y="474591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Compute</a:t>
              </a:r>
            </a:p>
          </p:txBody>
        </p:sp>
        <p:sp>
          <p:nvSpPr>
            <p:cNvPr id="177" name="Rectangle 176"/>
            <p:cNvSpPr/>
            <p:nvPr/>
          </p:nvSpPr>
          <p:spPr>
            <a:xfrm>
              <a:off x="9523110" y="428002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Virtual Machine</a:t>
              </a:r>
            </a:p>
          </p:txBody>
        </p:sp>
        <p:sp>
          <p:nvSpPr>
            <p:cNvPr id="178" name="Rectangle 177"/>
            <p:cNvSpPr/>
            <p:nvPr/>
          </p:nvSpPr>
          <p:spPr>
            <a:xfrm>
              <a:off x="9523110" y="3825206"/>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Operating System</a:t>
              </a:r>
            </a:p>
          </p:txBody>
        </p:sp>
        <p:sp>
          <p:nvSpPr>
            <p:cNvPr id="180" name="Rectangle 179"/>
            <p:cNvSpPr/>
            <p:nvPr/>
          </p:nvSpPr>
          <p:spPr>
            <a:xfrm>
              <a:off x="9523110" y="2460749"/>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Data &amp; Access</a:t>
              </a:r>
            </a:p>
          </p:txBody>
        </p:sp>
        <p:sp>
          <p:nvSpPr>
            <p:cNvPr id="181" name="Rectangle 180"/>
            <p:cNvSpPr/>
            <p:nvPr/>
          </p:nvSpPr>
          <p:spPr>
            <a:xfrm>
              <a:off x="9523110" y="337038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sp>
          <p:nvSpPr>
            <p:cNvPr id="182" name="Rectangle 181"/>
            <p:cNvSpPr/>
            <p:nvPr/>
          </p:nvSpPr>
          <p:spPr>
            <a:xfrm>
              <a:off x="9523110" y="291556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176" name="Rectangle 175"/>
            <p:cNvSpPr/>
            <p:nvPr/>
          </p:nvSpPr>
          <p:spPr>
            <a:xfrm>
              <a:off x="9523110" y="565554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grpSp>
      <p:sp>
        <p:nvSpPr>
          <p:cNvPr id="64" name="Left Brace 63"/>
          <p:cNvSpPr/>
          <p:nvPr/>
        </p:nvSpPr>
        <p:spPr>
          <a:xfrm flipH="1">
            <a:off x="11393332" y="2861103"/>
            <a:ext cx="206246" cy="3213707"/>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dirty="0">
              <a:solidFill>
                <a:srgbClr val="FFFFFF"/>
              </a:solidFill>
              <a:latin typeface="Segoe UI"/>
              <a:ea typeface="Segoe UI" pitchFamily="34" charset="0"/>
              <a:cs typeface="Segoe UI" pitchFamily="34" charset="0"/>
            </a:endParaRPr>
          </a:p>
        </p:txBody>
      </p:sp>
      <p:sp>
        <p:nvSpPr>
          <p:cNvPr id="67" name="Rectangle 66"/>
          <p:cNvSpPr/>
          <p:nvPr/>
        </p:nvSpPr>
        <p:spPr bwMode="auto">
          <a:xfrm flipH="1">
            <a:off x="252797" y="1244462"/>
            <a:ext cx="2529882" cy="513986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9" name="TextBox 58"/>
          <p:cNvSpPr txBox="1"/>
          <p:nvPr/>
        </p:nvSpPr>
        <p:spPr>
          <a:xfrm>
            <a:off x="3349061" y="4743253"/>
            <a:ext cx="615553" cy="114877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Provision</a:t>
            </a:r>
            <a:br>
              <a:rPr lang="en-US" sz="1400" dirty="0">
                <a:solidFill>
                  <a:srgbClr val="595959">
                    <a:alpha val="99000"/>
                  </a:srgbClr>
                </a:solidFill>
                <a:ea typeface="Kozuka Gothic Pro R" pitchFamily="34" charset="-128"/>
              </a:rPr>
            </a:br>
            <a:r>
              <a:rPr lang="en-US" sz="1400" dirty="0">
                <a:solidFill>
                  <a:srgbClr val="595959">
                    <a:alpha val="99000"/>
                  </a:srgbClr>
                </a:solidFill>
                <a:ea typeface="Kozuka Gothic Pro R" pitchFamily="34" charset="-128"/>
              </a:rPr>
              <a:t>Cloud Services</a:t>
            </a:r>
          </a:p>
        </p:txBody>
      </p:sp>
      <p:sp>
        <p:nvSpPr>
          <p:cNvPr id="8" name="Left Bracket 7"/>
          <p:cNvSpPr/>
          <p:nvPr/>
        </p:nvSpPr>
        <p:spPr>
          <a:xfrm>
            <a:off x="3973845" y="4724823"/>
            <a:ext cx="95815" cy="1333645"/>
          </a:xfrm>
          <a:prstGeom prst="leftBracket">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0" name="Straight Connector 9"/>
          <p:cNvCxnSpPr/>
          <p:nvPr/>
        </p:nvCxnSpPr>
        <p:spPr>
          <a:xfrm>
            <a:off x="3875470" y="5364535"/>
            <a:ext cx="107679"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9" name="Left Brace 78"/>
          <p:cNvSpPr/>
          <p:nvPr/>
        </p:nvSpPr>
        <p:spPr>
          <a:xfrm>
            <a:off x="9533760" y="2413083"/>
            <a:ext cx="184282" cy="473868"/>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18936"/>
            <a:endParaRPr lang="en-US" dirty="0">
              <a:solidFill>
                <a:srgbClr val="FFFFFF"/>
              </a:solidFill>
              <a:latin typeface="Segoe UI"/>
              <a:ea typeface="Segoe UI" pitchFamily="34" charset="0"/>
              <a:cs typeface="Segoe UI" pitchFamily="34" charset="0"/>
            </a:endParaRPr>
          </a:p>
        </p:txBody>
      </p:sp>
      <p:sp>
        <p:nvSpPr>
          <p:cNvPr id="80" name="TextBox 60"/>
          <p:cNvSpPr txBox="1"/>
          <p:nvPr/>
        </p:nvSpPr>
        <p:spPr>
          <a:xfrm>
            <a:off x="9181548" y="2142710"/>
            <a:ext cx="400110" cy="991169"/>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836" fontAlgn="base">
              <a:spcAft>
                <a:spcPct val="0"/>
              </a:spcAft>
            </a:pPr>
            <a:r>
              <a:rPr lang="en-US" sz="1400" dirty="0">
                <a:solidFill>
                  <a:srgbClr val="595959">
                    <a:alpha val="99000"/>
                  </a:srgbClr>
                </a:solidFill>
                <a:ea typeface="Kozuka Gothic Pro R" pitchFamily="34" charset="-128"/>
              </a:rPr>
              <a:t>You Manage</a:t>
            </a:r>
          </a:p>
        </p:txBody>
      </p:sp>
      <p:sp>
        <p:nvSpPr>
          <p:cNvPr id="76" name="Rectangle 75"/>
          <p:cNvSpPr/>
          <p:nvPr/>
        </p:nvSpPr>
        <p:spPr bwMode="auto">
          <a:xfrm>
            <a:off x="4069660" y="6384326"/>
            <a:ext cx="1668386" cy="4810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dirty="0">
                <a:gradFill>
                  <a:gsLst>
                    <a:gs pos="0">
                      <a:srgbClr val="FFFFFF"/>
                    </a:gs>
                    <a:gs pos="100000">
                      <a:srgbClr val="FFFFFF"/>
                    </a:gs>
                  </a:gsLst>
                  <a:lin ang="5400000" scaled="0"/>
                </a:gradFill>
              </a:rPr>
              <a:t>Host</a:t>
            </a:r>
          </a:p>
        </p:txBody>
      </p:sp>
      <p:sp>
        <p:nvSpPr>
          <p:cNvPr id="77" name="Rectangle 76"/>
          <p:cNvSpPr/>
          <p:nvPr/>
        </p:nvSpPr>
        <p:spPr bwMode="auto">
          <a:xfrm>
            <a:off x="7149853" y="6376920"/>
            <a:ext cx="1668386" cy="4810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dirty="0">
                <a:gradFill>
                  <a:gsLst>
                    <a:gs pos="0">
                      <a:srgbClr val="FFFFFF"/>
                    </a:gs>
                    <a:gs pos="100000">
                      <a:srgbClr val="FFFFFF"/>
                    </a:gs>
                  </a:gsLst>
                  <a:lin ang="5400000" scaled="0"/>
                </a:gradFill>
              </a:rPr>
              <a:t>Develop</a:t>
            </a:r>
          </a:p>
        </p:txBody>
      </p:sp>
      <p:sp>
        <p:nvSpPr>
          <p:cNvPr id="78" name="Rectangle 77"/>
          <p:cNvSpPr/>
          <p:nvPr/>
        </p:nvSpPr>
        <p:spPr bwMode="auto">
          <a:xfrm>
            <a:off x="9718042" y="6376920"/>
            <a:ext cx="1668386" cy="4810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dirty="0">
                <a:gradFill>
                  <a:gsLst>
                    <a:gs pos="0">
                      <a:srgbClr val="FFFFFF"/>
                    </a:gs>
                    <a:gs pos="100000">
                      <a:srgbClr val="FFFFFF"/>
                    </a:gs>
                  </a:gsLst>
                  <a:lin ang="5400000" scaled="0"/>
                </a:gradFill>
              </a:rPr>
              <a:t>Consume</a:t>
            </a:r>
          </a:p>
        </p:txBody>
      </p:sp>
      <p:pic>
        <p:nvPicPr>
          <p:cNvPr id="113" name="Picture 112"/>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Lst>
          </a:blip>
          <a:stretch>
            <a:fillRect/>
          </a:stretch>
        </p:blipFill>
        <p:spPr>
          <a:xfrm>
            <a:off x="11025671" y="1870720"/>
            <a:ext cx="1041040" cy="290290"/>
          </a:xfrm>
          <a:prstGeom prst="rect">
            <a:avLst/>
          </a:prstGeom>
        </p:spPr>
      </p:pic>
      <p:pic>
        <p:nvPicPr>
          <p:cNvPr id="116" name="Picture 115"/>
          <p:cNvPicPr>
            <a:picLocks noChangeAspect="1"/>
          </p:cNvPicPr>
          <p:nvPr/>
        </p:nvPicPr>
        <p:blipFill rotWithShape="1">
          <a:blip r:embed="rId5" cstate="print">
            <a:extLst>
              <a:ext uri="{28A0092B-C50C-407E-A947-70E740481C1C}">
                <a14:useLocalDpi xmlns:a14="http://schemas.microsoft.com/office/drawing/2010/main" val="0"/>
              </a:ext>
            </a:extLst>
          </a:blip>
          <a:srcRect l="-1481"/>
          <a:stretch/>
        </p:blipFill>
        <p:spPr>
          <a:xfrm>
            <a:off x="11386428" y="2181608"/>
            <a:ext cx="685924" cy="344206"/>
          </a:xfrm>
          <a:prstGeom prst="rect">
            <a:avLst/>
          </a:prstGeom>
        </p:spPr>
      </p:pic>
      <p:pic>
        <p:nvPicPr>
          <p:cNvPr id="118" name="Content Placeholder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25672" y="1512664"/>
            <a:ext cx="1049863" cy="337309"/>
          </a:xfrm>
          <a:prstGeom prst="rect">
            <a:avLst/>
          </a:prstGeom>
          <a:solidFill>
            <a:schemeClr val="bg1"/>
          </a:solidFill>
        </p:spPr>
      </p:pic>
      <p:pic>
        <p:nvPicPr>
          <p:cNvPr id="120" name="Picture 119"/>
          <p:cNvPicPr>
            <a:picLocks noChangeAspect="1"/>
          </p:cNvPicPr>
          <p:nvPr/>
        </p:nvPicPr>
        <p:blipFill>
          <a:blip r:embed="rId7"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241551" y="167399"/>
            <a:ext cx="3153377" cy="759526"/>
          </a:xfrm>
          <a:prstGeom prst="rect">
            <a:avLst/>
          </a:prstGeom>
        </p:spPr>
      </p:pic>
      <p:grpSp>
        <p:nvGrpSpPr>
          <p:cNvPr id="15" name="Group 14"/>
          <p:cNvGrpSpPr/>
          <p:nvPr/>
        </p:nvGrpSpPr>
        <p:grpSpPr>
          <a:xfrm>
            <a:off x="2923363" y="860108"/>
            <a:ext cx="9211569" cy="5435096"/>
            <a:chOff x="2890798" y="860108"/>
            <a:chExt cx="9241866" cy="5435096"/>
          </a:xfrm>
        </p:grpSpPr>
        <p:sp>
          <p:nvSpPr>
            <p:cNvPr id="123" name="Rectangle 122"/>
            <p:cNvSpPr/>
            <p:nvPr/>
          </p:nvSpPr>
          <p:spPr>
            <a:xfrm>
              <a:off x="2890798" y="1092714"/>
              <a:ext cx="9241866" cy="5202490"/>
            </a:xfrm>
            <a:prstGeom prst="rect">
              <a:avLst/>
            </a:prstGeom>
            <a:solidFill>
              <a:schemeClr val="bg2">
                <a:alpha val="2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0" fontAlgn="base">
                <a:spcBef>
                  <a:spcPct val="0"/>
                </a:spcBef>
                <a:spcAft>
                  <a:spcPct val="0"/>
                </a:spcAft>
              </a:pPr>
              <a:endParaRPr lang="en-US">
                <a:solidFill>
                  <a:prstClr val="white"/>
                </a:solidFill>
              </a:endParaRPr>
            </a:p>
          </p:txBody>
        </p:sp>
        <p:sp>
          <p:nvSpPr>
            <p:cNvPr id="125" name="Rectangle 124"/>
            <p:cNvSpPr/>
            <p:nvPr/>
          </p:nvSpPr>
          <p:spPr>
            <a:xfrm>
              <a:off x="5122324" y="929082"/>
              <a:ext cx="4472390" cy="294488"/>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0" fontAlgn="base">
                <a:spcBef>
                  <a:spcPct val="0"/>
                </a:spcBef>
                <a:spcAft>
                  <a:spcPct val="0"/>
                </a:spcAft>
              </a:pPr>
              <a:endParaRPr lang="en-US">
                <a:solidFill>
                  <a:prstClr val="white"/>
                </a:solidFill>
              </a:endParaRPr>
            </a:p>
          </p:txBody>
        </p:sp>
        <p:sp>
          <p:nvSpPr>
            <p:cNvPr id="126" name="TextBox 125"/>
            <p:cNvSpPr txBox="1"/>
            <p:nvPr/>
          </p:nvSpPr>
          <p:spPr>
            <a:xfrm>
              <a:off x="5214112" y="860108"/>
              <a:ext cx="4066256" cy="369332"/>
            </a:xfrm>
            <a:prstGeom prst="rect">
              <a:avLst/>
            </a:prstGeom>
            <a:noFill/>
          </p:spPr>
          <p:txBody>
            <a:bodyPr wrap="square" rtlCol="0">
              <a:spAutoFit/>
            </a:bodyPr>
            <a:lstStyle/>
            <a:p>
              <a:pPr algn="ctr" defTabSz="914210" fontAlgn="base">
                <a:spcBef>
                  <a:spcPct val="0"/>
                </a:spcBef>
                <a:spcAft>
                  <a:spcPct val="0"/>
                </a:spcAft>
              </a:pPr>
              <a:r>
                <a:rPr lang="en-US" b="1" dirty="0">
                  <a:solidFill>
                    <a:prstClr val="black"/>
                  </a:solidFill>
                  <a:latin typeface="Arial" charset="0"/>
                </a:rPr>
                <a:t>Public Cloud</a:t>
              </a:r>
            </a:p>
          </p:txBody>
        </p:sp>
      </p:grpSp>
      <p:pic>
        <p:nvPicPr>
          <p:cNvPr id="82" name="Picture 11" descr="Cloud 512x512.png"/>
          <p:cNvPicPr>
            <a:picLocks noChangeAspect="1"/>
          </p:cNvPicPr>
          <p:nvPr/>
        </p:nvPicPr>
        <p:blipFill>
          <a:blip r:embed="rId8"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2989460" y="1117844"/>
            <a:ext cx="1014104" cy="10141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8653453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4" fill="hold" grpId="0" nodeType="clickEffect">
                                  <p:stCondLst>
                                    <p:cond delay="0"/>
                                  </p:stCondLst>
                                  <p:childTnLst>
                                    <p:set>
                                      <p:cBhvr>
                                        <p:cTn id="10" dur="1" fill="hold">
                                          <p:stCondLst>
                                            <p:cond delay="0"/>
                                          </p:stCondLst>
                                        </p:cTn>
                                        <p:tgtEl>
                                          <p:spTgt spid="141"/>
                                        </p:tgtEl>
                                        <p:attrNameLst>
                                          <p:attrName>style.visibility</p:attrName>
                                        </p:attrNameLst>
                                      </p:cBhvr>
                                      <p:to>
                                        <p:strVal val="visible"/>
                                      </p:to>
                                    </p:set>
                                    <p:animEffect transition="in" filter="wipe(down)">
                                      <p:cBhvr>
                                        <p:cTn id="11" dur="500"/>
                                        <p:tgtEl>
                                          <p:spTgt spid="141"/>
                                        </p:tgtEl>
                                      </p:cBhvr>
                                    </p:animEffect>
                                  </p:childTnLst>
                                </p:cTn>
                              </p:par>
                              <p:par>
                                <p:cTn id="12" presetID="22" presetClass="entr" presetSubtype="4" fill="hold" grpId="0" nodeType="withEffect">
                                  <p:stCondLst>
                                    <p:cond delay="0"/>
                                  </p:stCondLst>
                                  <p:childTnLst>
                                    <p:set>
                                      <p:cBhvr>
                                        <p:cTn id="13" dur="1" fill="hold">
                                          <p:stCondLst>
                                            <p:cond delay="0"/>
                                          </p:stCondLst>
                                        </p:cTn>
                                        <p:tgtEl>
                                          <p:spTgt spid="140"/>
                                        </p:tgtEl>
                                        <p:attrNameLst>
                                          <p:attrName>style.visibility</p:attrName>
                                        </p:attrNameLst>
                                      </p:cBhvr>
                                      <p:to>
                                        <p:strVal val="visible"/>
                                      </p:to>
                                    </p:set>
                                    <p:animEffect transition="in" filter="wipe(down)">
                                      <p:cBhvr>
                                        <p:cTn id="14" dur="500"/>
                                        <p:tgtEl>
                                          <p:spTgt spid="140"/>
                                        </p:tgtEl>
                                      </p:cBhvr>
                                    </p:animEffect>
                                  </p:childTnLst>
                                </p:cTn>
                              </p:par>
                              <p:par>
                                <p:cTn id="15" presetID="22" presetClass="entr" presetSubtype="4"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down)">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69"/>
                                        </p:tgtEl>
                                        <p:attrNameLst>
                                          <p:attrName>style.visibility</p:attrName>
                                        </p:attrNameLst>
                                      </p:cBhvr>
                                      <p:to>
                                        <p:strVal val="visible"/>
                                      </p:to>
                                    </p:set>
                                    <p:animEffect transition="in" filter="wipe(down)">
                                      <p:cBhvr>
                                        <p:cTn id="22" dur="500"/>
                                        <p:tgtEl>
                                          <p:spTgt spid="69"/>
                                        </p:tgtEl>
                                      </p:cBhvr>
                                    </p:animEffect>
                                  </p:childTnLst>
                                </p:cTn>
                              </p:par>
                              <p:par>
                                <p:cTn id="23" presetID="16" presetClass="entr" presetSubtype="21"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barn(inVertical)">
                                      <p:cBhvr>
                                        <p:cTn id="25" dur="500"/>
                                        <p:tgtEl>
                                          <p:spTgt spid="10"/>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wipe(down)">
                                      <p:cBhvr>
                                        <p:cTn id="28" dur="500"/>
                                        <p:tgtEl>
                                          <p:spTgt spid="8"/>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grpId="0" nodeType="clickEffect">
                                  <p:stCondLst>
                                    <p:cond delay="0"/>
                                  </p:stCondLst>
                                  <p:childTnLst>
                                    <p:set>
                                      <p:cBhvr>
                                        <p:cTn id="32" dur="1" fill="hold">
                                          <p:stCondLst>
                                            <p:cond delay="0"/>
                                          </p:stCondLst>
                                        </p:cTn>
                                        <p:tgtEl>
                                          <p:spTgt spid="142"/>
                                        </p:tgtEl>
                                        <p:attrNameLst>
                                          <p:attrName>style.visibility</p:attrName>
                                        </p:attrNameLst>
                                      </p:cBhvr>
                                      <p:to>
                                        <p:strVal val="visible"/>
                                      </p:to>
                                    </p:set>
                                    <p:animEffect transition="in" filter="wipe(down)">
                                      <p:cBhvr>
                                        <p:cTn id="33" dur="500"/>
                                        <p:tgtEl>
                                          <p:spTgt spid="142"/>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143"/>
                                        </p:tgtEl>
                                        <p:attrNameLst>
                                          <p:attrName>style.visibility</p:attrName>
                                        </p:attrNameLst>
                                      </p:cBhvr>
                                      <p:to>
                                        <p:strVal val="visible"/>
                                      </p:to>
                                    </p:set>
                                    <p:animEffect transition="in" filter="wipe(down)">
                                      <p:cBhvr>
                                        <p:cTn id="36" dur="500"/>
                                        <p:tgtEl>
                                          <p:spTgt spid="143"/>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4" fill="hold" grpId="0" nodeType="clickEffect">
                                  <p:stCondLst>
                                    <p:cond delay="0"/>
                                  </p:stCondLst>
                                  <p:childTnLst>
                                    <p:set>
                                      <p:cBhvr>
                                        <p:cTn id="40" dur="1" fill="hold">
                                          <p:stCondLst>
                                            <p:cond delay="0"/>
                                          </p:stCondLst>
                                        </p:cTn>
                                        <p:tgtEl>
                                          <p:spTgt spid="156"/>
                                        </p:tgtEl>
                                        <p:attrNameLst>
                                          <p:attrName>style.visibility</p:attrName>
                                        </p:attrNameLst>
                                      </p:cBhvr>
                                      <p:to>
                                        <p:strVal val="visible"/>
                                      </p:to>
                                    </p:set>
                                    <p:animEffect transition="in" filter="wipe(down)">
                                      <p:cBhvr>
                                        <p:cTn id="41" dur="500"/>
                                        <p:tgtEl>
                                          <p:spTgt spid="156"/>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155"/>
                                        </p:tgtEl>
                                        <p:attrNameLst>
                                          <p:attrName>style.visibility</p:attrName>
                                        </p:attrNameLst>
                                      </p:cBhvr>
                                      <p:to>
                                        <p:strVal val="visible"/>
                                      </p:to>
                                    </p:set>
                                    <p:animEffect transition="in" filter="wipe(down)">
                                      <p:cBhvr>
                                        <p:cTn id="44" dur="500"/>
                                        <p:tgtEl>
                                          <p:spTgt spid="155"/>
                                        </p:tgtEl>
                                      </p:cBhvr>
                                    </p:animEffect>
                                  </p:childTnLst>
                                </p:cTn>
                              </p:par>
                              <p:par>
                                <p:cTn id="45" presetID="22" presetClass="entr" presetSubtype="4" fill="hold" nodeType="with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wipe(down)">
                                      <p:cBhvr>
                                        <p:cTn id="47" dur="500"/>
                                        <p:tgtEl>
                                          <p:spTgt spid="9"/>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grpId="0" nodeType="clickEffect">
                                  <p:stCondLst>
                                    <p:cond delay="0"/>
                                  </p:stCondLst>
                                  <p:childTnLst>
                                    <p:set>
                                      <p:cBhvr>
                                        <p:cTn id="51" dur="1" fill="hold">
                                          <p:stCondLst>
                                            <p:cond delay="0"/>
                                          </p:stCondLst>
                                        </p:cTn>
                                        <p:tgtEl>
                                          <p:spTgt spid="157"/>
                                        </p:tgtEl>
                                        <p:attrNameLst>
                                          <p:attrName>style.visibility</p:attrName>
                                        </p:attrNameLst>
                                      </p:cBhvr>
                                      <p:to>
                                        <p:strVal val="visible"/>
                                      </p:to>
                                    </p:set>
                                    <p:animEffect transition="in" filter="wipe(down)">
                                      <p:cBhvr>
                                        <p:cTn id="52" dur="500"/>
                                        <p:tgtEl>
                                          <p:spTgt spid="157"/>
                                        </p:tgtEl>
                                      </p:cBhvr>
                                    </p:animEffect>
                                  </p:childTnLst>
                                </p:cTn>
                              </p:par>
                              <p:par>
                                <p:cTn id="53" presetID="22" presetClass="entr" presetSubtype="4" fill="hold" grpId="0" nodeType="withEffect">
                                  <p:stCondLst>
                                    <p:cond delay="0"/>
                                  </p:stCondLst>
                                  <p:childTnLst>
                                    <p:set>
                                      <p:cBhvr>
                                        <p:cTn id="54" dur="1" fill="hold">
                                          <p:stCondLst>
                                            <p:cond delay="0"/>
                                          </p:stCondLst>
                                        </p:cTn>
                                        <p:tgtEl>
                                          <p:spTgt spid="158"/>
                                        </p:tgtEl>
                                        <p:attrNameLst>
                                          <p:attrName>style.visibility</p:attrName>
                                        </p:attrNameLst>
                                      </p:cBhvr>
                                      <p:to>
                                        <p:strVal val="visible"/>
                                      </p:to>
                                    </p:set>
                                    <p:animEffect transition="in" filter="wipe(down)">
                                      <p:cBhvr>
                                        <p:cTn id="55" dur="500"/>
                                        <p:tgtEl>
                                          <p:spTgt spid="158"/>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4" fill="hold" grpId="0" nodeType="clickEffect">
                                  <p:stCondLst>
                                    <p:cond delay="0"/>
                                  </p:stCondLst>
                                  <p:childTnLst>
                                    <p:set>
                                      <p:cBhvr>
                                        <p:cTn id="59" dur="1" fill="hold">
                                          <p:stCondLst>
                                            <p:cond delay="0"/>
                                          </p:stCondLst>
                                        </p:cTn>
                                        <p:tgtEl>
                                          <p:spTgt spid="172"/>
                                        </p:tgtEl>
                                        <p:attrNameLst>
                                          <p:attrName>style.visibility</p:attrName>
                                        </p:attrNameLst>
                                      </p:cBhvr>
                                      <p:to>
                                        <p:strVal val="visible"/>
                                      </p:to>
                                    </p:set>
                                    <p:animEffect transition="in" filter="wipe(down)">
                                      <p:cBhvr>
                                        <p:cTn id="60" dur="500"/>
                                        <p:tgtEl>
                                          <p:spTgt spid="172"/>
                                        </p:tgtEl>
                                      </p:cBhvr>
                                    </p:animEffect>
                                  </p:childTnLst>
                                </p:cTn>
                              </p:par>
                              <p:par>
                                <p:cTn id="61" presetID="22" presetClass="entr" presetSubtype="4" fill="hold" grpId="0" nodeType="withEffect">
                                  <p:stCondLst>
                                    <p:cond delay="0"/>
                                  </p:stCondLst>
                                  <p:childTnLst>
                                    <p:set>
                                      <p:cBhvr>
                                        <p:cTn id="62" dur="1" fill="hold">
                                          <p:stCondLst>
                                            <p:cond delay="0"/>
                                          </p:stCondLst>
                                        </p:cTn>
                                        <p:tgtEl>
                                          <p:spTgt spid="64"/>
                                        </p:tgtEl>
                                        <p:attrNameLst>
                                          <p:attrName>style.visibility</p:attrName>
                                        </p:attrNameLst>
                                      </p:cBhvr>
                                      <p:to>
                                        <p:strVal val="visible"/>
                                      </p:to>
                                    </p:set>
                                    <p:animEffect transition="in" filter="wipe(down)">
                                      <p:cBhvr>
                                        <p:cTn id="63" dur="500"/>
                                        <p:tgtEl>
                                          <p:spTgt spid="64"/>
                                        </p:tgtEl>
                                      </p:cBhvr>
                                    </p:animEffect>
                                  </p:childTnLst>
                                </p:cTn>
                              </p:par>
                              <p:par>
                                <p:cTn id="64" presetID="22" presetClass="entr" presetSubtype="4"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wipe(down)">
                                      <p:cBhvr>
                                        <p:cTn id="66" dur="500"/>
                                        <p:tgtEl>
                                          <p:spTgt spid="11"/>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4" fill="hold" grpId="0" nodeType="clickEffect">
                                  <p:stCondLst>
                                    <p:cond delay="0"/>
                                  </p:stCondLst>
                                  <p:childTnLst>
                                    <p:set>
                                      <p:cBhvr>
                                        <p:cTn id="70" dur="1" fill="hold">
                                          <p:stCondLst>
                                            <p:cond delay="0"/>
                                          </p:stCondLst>
                                        </p:cTn>
                                        <p:tgtEl>
                                          <p:spTgt spid="79"/>
                                        </p:tgtEl>
                                        <p:attrNameLst>
                                          <p:attrName>style.visibility</p:attrName>
                                        </p:attrNameLst>
                                      </p:cBhvr>
                                      <p:to>
                                        <p:strVal val="visible"/>
                                      </p:to>
                                    </p:set>
                                    <p:animEffect transition="in" filter="wipe(down)">
                                      <p:cBhvr>
                                        <p:cTn id="71" dur="500"/>
                                        <p:tgtEl>
                                          <p:spTgt spid="79"/>
                                        </p:tgtEl>
                                      </p:cBhvr>
                                    </p:animEffect>
                                  </p:childTnLst>
                                </p:cTn>
                              </p:par>
                              <p:par>
                                <p:cTn id="72" presetID="22" presetClass="entr" presetSubtype="4" fill="hold" grpId="0" nodeType="withEffect">
                                  <p:stCondLst>
                                    <p:cond delay="0"/>
                                  </p:stCondLst>
                                  <p:childTnLst>
                                    <p:set>
                                      <p:cBhvr>
                                        <p:cTn id="73" dur="1" fill="hold">
                                          <p:stCondLst>
                                            <p:cond delay="0"/>
                                          </p:stCondLst>
                                        </p:cTn>
                                        <p:tgtEl>
                                          <p:spTgt spid="80"/>
                                        </p:tgtEl>
                                        <p:attrNameLst>
                                          <p:attrName>style.visibility</p:attrName>
                                        </p:attrNameLst>
                                      </p:cBhvr>
                                      <p:to>
                                        <p:strVal val="visible"/>
                                      </p:to>
                                    </p:set>
                                    <p:animEffect transition="in" filter="wipe(down)">
                                      <p:cBhvr>
                                        <p:cTn id="74"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1" grpId="0"/>
      <p:bldP spid="142" grpId="0" animBg="1"/>
      <p:bldP spid="143" grpId="0"/>
      <p:bldP spid="155" grpId="0" animBg="1"/>
      <p:bldP spid="156" grpId="0"/>
      <p:bldP spid="157" grpId="0" animBg="1"/>
      <p:bldP spid="158" grpId="0"/>
      <p:bldP spid="172" grpId="0"/>
      <p:bldP spid="64" grpId="0" animBg="1"/>
      <p:bldP spid="69" grpId="0"/>
      <p:bldP spid="8" grpId="0" animBg="1"/>
      <p:bldP spid="79" grpId="0" animBg="1"/>
      <p:bldP spid="80"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a:grpSpLocks noChangeAspect="1"/>
          </p:cNvGrpSpPr>
          <p:nvPr/>
        </p:nvGrpSpPr>
        <p:grpSpPr>
          <a:xfrm>
            <a:off x="8243028" y="1244037"/>
            <a:ext cx="3775741" cy="1836948"/>
            <a:chOff x="4965149" y="1453916"/>
            <a:chExt cx="7414023" cy="4082634"/>
          </a:xfrm>
        </p:grpSpPr>
        <p:sp>
          <p:nvSpPr>
            <p:cNvPr id="10" name="Freeform 128"/>
            <p:cNvSpPr>
              <a:spLocks noChangeAspect="1"/>
            </p:cNvSpPr>
            <p:nvPr/>
          </p:nvSpPr>
          <p:spPr bwMode="black">
            <a:xfrm>
              <a:off x="4965149" y="1453916"/>
              <a:ext cx="7414023" cy="40826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11" name="Freeform 79"/>
            <p:cNvSpPr>
              <a:spLocks noEditPoints="1"/>
            </p:cNvSpPr>
            <p:nvPr/>
          </p:nvSpPr>
          <p:spPr bwMode="black">
            <a:xfrm>
              <a:off x="7790054" y="2500711"/>
              <a:ext cx="1958183" cy="25795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0666" tIns="40334" rIns="80666" bIns="40334" numCol="1" anchor="t" anchorCtr="0" compatLnSpc="1">
              <a:prstTxWarp prst="textNoShape">
                <a:avLst/>
              </a:prstTxWarp>
            </a:bodyPr>
            <a:lstStyle/>
            <a:p>
              <a:pPr defTabSz="913946"/>
              <a:endParaRPr lang="en-US" sz="1568" dirty="0">
                <a:solidFill>
                  <a:srgbClr val="505050"/>
                </a:solidFill>
              </a:endParaRPr>
            </a:p>
          </p:txBody>
        </p:sp>
      </p:grpSp>
      <p:grpSp>
        <p:nvGrpSpPr>
          <p:cNvPr id="3" name="Group 2"/>
          <p:cNvGrpSpPr/>
          <p:nvPr/>
        </p:nvGrpSpPr>
        <p:grpSpPr>
          <a:xfrm>
            <a:off x="4651756" y="1572518"/>
            <a:ext cx="7266386" cy="3959991"/>
            <a:chOff x="4744649" y="1560875"/>
            <a:chExt cx="7414023" cy="4082634"/>
          </a:xfrm>
        </p:grpSpPr>
        <p:sp>
          <p:nvSpPr>
            <p:cNvPr id="4" name="Freeform 128"/>
            <p:cNvSpPr>
              <a:spLocks noChangeAspect="1"/>
            </p:cNvSpPr>
            <p:nvPr/>
          </p:nvSpPr>
          <p:spPr bwMode="black">
            <a:xfrm>
              <a:off x="4744649" y="1560875"/>
              <a:ext cx="7414023" cy="40826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5" name="Freeform 79"/>
            <p:cNvSpPr>
              <a:spLocks noEditPoints="1"/>
            </p:cNvSpPr>
            <p:nvPr/>
          </p:nvSpPr>
          <p:spPr bwMode="black">
            <a:xfrm>
              <a:off x="7790054" y="2750285"/>
              <a:ext cx="1958183" cy="25795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0666" tIns="40334" rIns="80666" bIns="40334" numCol="1" anchor="t" anchorCtr="0" compatLnSpc="1">
              <a:prstTxWarp prst="textNoShape">
                <a:avLst/>
              </a:prstTxWarp>
            </a:bodyPr>
            <a:lstStyle/>
            <a:p>
              <a:pPr defTabSz="913946"/>
              <a:endParaRPr lang="en-US" sz="1568" dirty="0">
                <a:solidFill>
                  <a:srgbClr val="505050"/>
                </a:solidFill>
              </a:endParaRPr>
            </a:p>
          </p:txBody>
        </p:sp>
      </p:grpSp>
      <p:sp>
        <p:nvSpPr>
          <p:cNvPr id="13" name="TextBox 12"/>
          <p:cNvSpPr txBox="1"/>
          <p:nvPr/>
        </p:nvSpPr>
        <p:spPr>
          <a:xfrm>
            <a:off x="454834" y="1952898"/>
            <a:ext cx="4027711" cy="2989809"/>
          </a:xfrm>
          <a:prstGeom prst="rect">
            <a:avLst/>
          </a:prstGeom>
          <a:noFill/>
        </p:spPr>
        <p:txBody>
          <a:bodyPr wrap="square" lIns="179238" tIns="143391" rIns="179238" bIns="143391" rtlCol="0">
            <a:spAutoFit/>
          </a:bodyPr>
          <a:lstStyle/>
          <a:p>
            <a:pPr defTabSz="895908" fontAlgn="base">
              <a:lnSpc>
                <a:spcPct val="90000"/>
              </a:lnSpc>
              <a:spcBef>
                <a:spcPct val="0"/>
              </a:spcBef>
              <a:spcAft>
                <a:spcPct val="0"/>
              </a:spcAft>
            </a:pPr>
            <a:r>
              <a:rPr lang="en-US" sz="2744" spc="-49" dirty="0">
                <a:gradFill>
                  <a:gsLst>
                    <a:gs pos="36283">
                      <a:srgbClr val="00188F"/>
                    </a:gs>
                    <a:gs pos="28000">
                      <a:srgbClr val="00188F"/>
                    </a:gs>
                  </a:gsLst>
                  <a:lin ang="5400000" scaled="0"/>
                </a:gradFill>
                <a:latin typeface="Segoe UI Light"/>
              </a:rPr>
              <a:t>Microsoft Azure Storage</a:t>
            </a:r>
          </a:p>
          <a:p>
            <a:pPr defTabSz="895908" fontAlgn="base">
              <a:lnSpc>
                <a:spcPct val="90000"/>
              </a:lnSpc>
              <a:spcBef>
                <a:spcPct val="0"/>
              </a:spcBef>
              <a:spcAft>
                <a:spcPct val="0"/>
              </a:spcAft>
            </a:pPr>
            <a:endParaRPr lang="en-US" sz="2352" spc="-49" dirty="0">
              <a:gradFill>
                <a:gsLst>
                  <a:gs pos="36283">
                    <a:srgbClr val="00188F"/>
                  </a:gs>
                  <a:gs pos="28000">
                    <a:srgbClr val="00188F"/>
                  </a:gs>
                </a:gsLst>
                <a:lin ang="5400000" scaled="0"/>
              </a:gradFill>
              <a:latin typeface="Segoe UI Light"/>
            </a:endParaRPr>
          </a:p>
          <a:p>
            <a:pPr defTabSz="895908" fontAlgn="base">
              <a:lnSpc>
                <a:spcPct val="90000"/>
              </a:lnSpc>
              <a:spcBef>
                <a:spcPct val="0"/>
              </a:spcBef>
              <a:spcAft>
                <a:spcPct val="0"/>
              </a:spcAft>
            </a:pPr>
            <a:r>
              <a:rPr lang="en-US" sz="7200" spc="-49" dirty="0" smtClean="0">
                <a:gradFill>
                  <a:gsLst>
                    <a:gs pos="36283">
                      <a:srgbClr val="00188F"/>
                    </a:gs>
                    <a:gs pos="28000">
                      <a:srgbClr val="00188F"/>
                    </a:gs>
                  </a:gsLst>
                  <a:lin ang="5400000" scaled="0"/>
                </a:gradFill>
                <a:latin typeface="Segoe UI Light"/>
              </a:rPr>
              <a:t>35 </a:t>
            </a:r>
            <a:r>
              <a:rPr lang="en-US" sz="7200" spc="-49" dirty="0">
                <a:gradFill>
                  <a:gsLst>
                    <a:gs pos="36283">
                      <a:srgbClr val="00188F"/>
                    </a:gs>
                    <a:gs pos="28000">
                      <a:srgbClr val="00188F"/>
                    </a:gs>
                  </a:gsLst>
                  <a:lin ang="5400000" scaled="0"/>
                </a:gradFill>
                <a:latin typeface="Segoe UI Light"/>
              </a:rPr>
              <a:t>Trillion Objects</a:t>
            </a:r>
          </a:p>
        </p:txBody>
      </p:sp>
      <p:sp>
        <p:nvSpPr>
          <p:cNvPr id="2" name="TextBox 1"/>
          <p:cNvSpPr txBox="1"/>
          <p:nvPr/>
        </p:nvSpPr>
        <p:spPr>
          <a:xfrm>
            <a:off x="270757" y="5857885"/>
            <a:ext cx="11919656" cy="853663"/>
          </a:xfrm>
          <a:prstGeom prst="rect">
            <a:avLst/>
          </a:prstGeom>
          <a:noFill/>
        </p:spPr>
        <p:txBody>
          <a:bodyPr wrap="square" lIns="179238" tIns="143391" rIns="0" bIns="143391" rtlCol="0">
            <a:spAutoFit/>
          </a:bodyPr>
          <a:lstStyle/>
          <a:p>
            <a:pPr defTabSz="913946">
              <a:lnSpc>
                <a:spcPct val="90000"/>
              </a:lnSpc>
              <a:spcAft>
                <a:spcPts val="588"/>
              </a:spcAft>
            </a:pPr>
            <a:r>
              <a:rPr lang="en-US" sz="1960" spc="-49" dirty="0">
                <a:gradFill>
                  <a:gsLst>
                    <a:gs pos="2917">
                      <a:srgbClr val="00188F"/>
                    </a:gs>
                    <a:gs pos="95000">
                      <a:srgbClr val="00188F"/>
                    </a:gs>
                  </a:gsLst>
                  <a:lin ang="5400000" scaled="0"/>
                </a:gradFill>
              </a:rPr>
              <a:t>“Azure Blob storage has taken a significant step ahead of last year’s leader Amazon S3, to take the top spot” </a:t>
            </a:r>
          </a:p>
          <a:p>
            <a:pPr defTabSz="913946">
              <a:lnSpc>
                <a:spcPct val="90000"/>
              </a:lnSpc>
            </a:pPr>
            <a:r>
              <a:rPr lang="en-US" sz="1568" i="1" spc="-49" dirty="0">
                <a:gradFill>
                  <a:gsLst>
                    <a:gs pos="2917">
                      <a:srgbClr val="00188F"/>
                    </a:gs>
                    <a:gs pos="95000">
                      <a:srgbClr val="00188F"/>
                    </a:gs>
                  </a:gsLst>
                  <a:lin ang="5400000" scaled="0"/>
                </a:gradFill>
                <a:latin typeface="Segoe UI Light"/>
              </a:rPr>
              <a:t>								                  </a:t>
            </a:r>
            <a:r>
              <a:rPr lang="en-US" sz="1568" spc="-49" dirty="0">
                <a:gradFill>
                  <a:gsLst>
                    <a:gs pos="2917">
                      <a:srgbClr val="00188F"/>
                    </a:gs>
                    <a:gs pos="95000">
                      <a:srgbClr val="00188F"/>
                    </a:gs>
                  </a:gsLst>
                  <a:lin ang="5400000" scaled="0"/>
                </a:gradFill>
              </a:rPr>
              <a:t>– </a:t>
            </a:r>
            <a:r>
              <a:rPr lang="en-US" sz="1568" spc="-49" dirty="0" err="1">
                <a:gradFill>
                  <a:gsLst>
                    <a:gs pos="2917">
                      <a:srgbClr val="00188F"/>
                    </a:gs>
                    <a:gs pos="95000">
                      <a:srgbClr val="00188F"/>
                    </a:gs>
                  </a:gsLst>
                  <a:lin ang="5400000" scaled="0"/>
                </a:gradFill>
              </a:rPr>
              <a:t>Nasuni</a:t>
            </a:r>
            <a:r>
              <a:rPr lang="en-US" sz="1568" spc="-49" dirty="0">
                <a:gradFill>
                  <a:gsLst>
                    <a:gs pos="2917">
                      <a:srgbClr val="00188F"/>
                    </a:gs>
                    <a:gs pos="95000">
                      <a:srgbClr val="00188F"/>
                    </a:gs>
                  </a:gsLst>
                  <a:lin ang="5400000" scaled="0"/>
                </a:gradFill>
              </a:rPr>
              <a:t> 2013 Cloud Storage Report</a:t>
            </a:r>
          </a:p>
        </p:txBody>
      </p:sp>
      <p:sp>
        <p:nvSpPr>
          <p:cNvPr id="8" name="Title 7"/>
          <p:cNvSpPr>
            <a:spLocks noGrp="1"/>
          </p:cNvSpPr>
          <p:nvPr>
            <p:ph type="title"/>
          </p:nvPr>
        </p:nvSpPr>
        <p:spPr/>
        <p:txBody>
          <a:bodyPr/>
          <a:lstStyle/>
          <a:p>
            <a:r>
              <a:rPr lang="en-US" dirty="0" smtClean="0"/>
              <a:t>Storage Scale</a:t>
            </a:r>
            <a:endParaRPr lang="en-US" dirty="0"/>
          </a:p>
        </p:txBody>
      </p:sp>
    </p:spTree>
    <p:extLst>
      <p:ext uri="{BB962C8B-B14F-4D97-AF65-F5344CB8AC3E}">
        <p14:creationId xmlns:p14="http://schemas.microsoft.com/office/powerpoint/2010/main" val="11861438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36000" decel="64000" fill="hold" nodeType="afterEffect">
                                  <p:stCondLst>
                                    <p:cond delay="0"/>
                                  </p:stCondLst>
                                  <p:childTnLst>
                                    <p:animMotion origin="layout" path="M -2.3998E-6 -4.65729E-6 L -0.1422 0.21039 " pathEditMode="relative" rAng="0" ptsTypes="AA">
                                      <p:cBhvr>
                                        <p:cTn id="6" dur="500" fill="hold"/>
                                        <p:tgtEl>
                                          <p:spTgt spid="9"/>
                                        </p:tgtEl>
                                        <p:attrNameLst>
                                          <p:attrName>ppt_x</p:attrName>
                                          <p:attrName>ppt_y</p:attrName>
                                        </p:attrNameLst>
                                      </p:cBhvr>
                                      <p:rCtr x="-7059" y="10826"/>
                                    </p:animMotion>
                                  </p:childTnLst>
                                </p:cTn>
                              </p:par>
                              <p:par>
                                <p:cTn id="7" presetID="6" presetClass="emph" presetSubtype="0" accel="36000" decel="64000" fill="hold" nodeType="withEffect">
                                  <p:stCondLst>
                                    <p:cond delay="0"/>
                                  </p:stCondLst>
                                  <p:childTnLst>
                                    <p:animScale>
                                      <p:cBhvr>
                                        <p:cTn id="8" dur="500" fill="hold"/>
                                        <p:tgtEl>
                                          <p:spTgt spid="9"/>
                                        </p:tgtEl>
                                      </p:cBhvr>
                                      <p:by x="192310" y="192310"/>
                                    </p:animScale>
                                  </p:childTnLst>
                                </p:cTn>
                              </p:par>
                              <p:par>
                                <p:cTn id="9" presetID="1" presetClass="entr" presetSubtype="0" fill="hold" nodeType="withEffect">
                                  <p:stCondLst>
                                    <p:cond delay="50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xit" presetSubtype="0" fill="hold" nodeType="withEffect">
                                  <p:stCondLst>
                                    <p:cond delay="500"/>
                                  </p:stCondLst>
                                  <p:childTnLst>
                                    <p:set>
                                      <p:cBhvr>
                                        <p:cTn id="12" dur="1" fill="hold">
                                          <p:stCondLst>
                                            <p:cond delay="0"/>
                                          </p:stCondLst>
                                        </p:cTn>
                                        <p:tgtEl>
                                          <p:spTgt spid="9"/>
                                        </p:tgtEl>
                                        <p:attrNameLst>
                                          <p:attrName>style.visibility</p:attrName>
                                        </p:attrNameLst>
                                      </p:cBhvr>
                                      <p:to>
                                        <p:strVal val="hidden"/>
                                      </p:to>
                                    </p:set>
                                  </p:childTnLst>
                                </p:cTn>
                              </p:par>
                            </p:childTnLst>
                          </p:cTn>
                        </p:par>
                        <p:par>
                          <p:cTn id="13" fill="hold">
                            <p:stCondLst>
                              <p:cond delay="500"/>
                            </p:stCondLst>
                            <p:childTnLst>
                              <p:par>
                                <p:cTn id="14" presetID="2" presetClass="entr" presetSubtype="8" decel="100000" fill="hold" grpId="0" nodeType="afterEffect">
                                  <p:stCondLst>
                                    <p:cond delay="0"/>
                                  </p:stCondLst>
                                  <p:childTnLst>
                                    <p:set>
                                      <p:cBhvr>
                                        <p:cTn id="15" dur="1" fill="hold">
                                          <p:stCondLst>
                                            <p:cond delay="0"/>
                                          </p:stCondLst>
                                        </p:cTn>
                                        <p:tgtEl>
                                          <p:spTgt spid="13"/>
                                        </p:tgtEl>
                                        <p:attrNameLst>
                                          <p:attrName>style.visibility</p:attrName>
                                        </p:attrNameLst>
                                      </p:cBhvr>
                                      <p:to>
                                        <p:strVal val="visible"/>
                                      </p:to>
                                    </p:set>
                                    <p:anim calcmode="lin" valueType="num">
                                      <p:cBhvr additive="base">
                                        <p:cTn id="16" dur="500" fill="hold"/>
                                        <p:tgtEl>
                                          <p:spTgt spid="13"/>
                                        </p:tgtEl>
                                        <p:attrNameLst>
                                          <p:attrName>ppt_x</p:attrName>
                                        </p:attrNameLst>
                                      </p:cBhvr>
                                      <p:tavLst>
                                        <p:tav tm="0">
                                          <p:val>
                                            <p:strVal val="0-#ppt_w/2"/>
                                          </p:val>
                                        </p:tav>
                                        <p:tav tm="100000">
                                          <p:val>
                                            <p:strVal val="#ppt_x"/>
                                          </p:val>
                                        </p:tav>
                                      </p:tavLst>
                                    </p:anim>
                                    <p:anim calcmode="lin" valueType="num">
                                      <p:cBhvr additive="base">
                                        <p:cTn id="17" dur="5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99796" y="1446213"/>
            <a:ext cx="4983395" cy="3530390"/>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32" tIns="45716" rIns="91432" bIns="365760" numCol="1" rtlCol="0" anchor="t" anchorCtr="0" compatLnSpc="1">
            <a:prstTxWarp prst="textNoShape">
              <a:avLst/>
            </a:prstTxWarp>
          </a:bodyPr>
          <a:lstStyle/>
          <a:p>
            <a:pPr algn="ctr" defTabSz="914061" fontAlgn="base">
              <a:spcBef>
                <a:spcPct val="0"/>
              </a:spcBef>
              <a:spcAft>
                <a:spcPct val="0"/>
              </a:spcAft>
            </a:pPr>
            <a:r>
              <a:rPr lang="en-US" dirty="0">
                <a:solidFill>
                  <a:schemeClr val="bg2">
                    <a:lumMod val="25000"/>
                    <a:alpha val="99000"/>
                  </a:schemeClr>
                </a:solidFill>
              </a:rPr>
              <a:t>VM</a:t>
            </a:r>
          </a:p>
          <a:p>
            <a:pPr algn="ctr" defTabSz="914061" fontAlgn="base">
              <a:spcBef>
                <a:spcPct val="0"/>
              </a:spcBef>
              <a:spcAft>
                <a:spcPct val="0"/>
              </a:spcAft>
            </a:pPr>
            <a:endParaRPr lang="en-US" sz="1500" dirty="0">
              <a:solidFill>
                <a:srgbClr val="595959">
                  <a:alpha val="99000"/>
                </a:srgbClr>
              </a:solidFill>
            </a:endParaRPr>
          </a:p>
          <a:p>
            <a:pPr algn="ctr" defTabSz="914061" fontAlgn="base">
              <a:spcBef>
                <a:spcPct val="0"/>
              </a:spcBef>
              <a:spcAft>
                <a:spcPct val="0"/>
              </a:spcAft>
            </a:pPr>
            <a:endParaRPr lang="en-US" sz="1500" dirty="0">
              <a:solidFill>
                <a:srgbClr val="595959">
                  <a:alpha val="99000"/>
                </a:srgbClr>
              </a:solidFill>
            </a:endParaRPr>
          </a:p>
          <a:p>
            <a:pPr algn="ctr" defTabSz="914061" fontAlgn="base">
              <a:spcBef>
                <a:spcPct val="0"/>
              </a:spcBef>
              <a:spcAft>
                <a:spcPct val="0"/>
              </a:spcAft>
            </a:pPr>
            <a:endParaRPr lang="en-US" sz="1500" dirty="0">
              <a:solidFill>
                <a:srgbClr val="595959">
                  <a:alpha val="99000"/>
                </a:srgbClr>
              </a:solidFill>
            </a:endParaRPr>
          </a:p>
          <a:p>
            <a:pPr algn="ctr" defTabSz="914061" fontAlgn="base">
              <a:spcBef>
                <a:spcPct val="0"/>
              </a:spcBef>
              <a:spcAft>
                <a:spcPct val="0"/>
              </a:spcAft>
            </a:pPr>
            <a:endParaRPr lang="en-US" sz="1500" dirty="0">
              <a:solidFill>
                <a:srgbClr val="595959">
                  <a:alpha val="99000"/>
                </a:srgbClr>
              </a:solidFill>
            </a:endParaRPr>
          </a:p>
          <a:p>
            <a:pPr algn="ctr" defTabSz="914061" fontAlgn="base">
              <a:spcBef>
                <a:spcPct val="0"/>
              </a:spcBef>
              <a:spcAft>
                <a:spcPct val="0"/>
              </a:spcAft>
            </a:pPr>
            <a:endParaRPr lang="en-US" sz="1500" dirty="0">
              <a:solidFill>
                <a:srgbClr val="595959">
                  <a:alpha val="99000"/>
                </a:srgbClr>
              </a:solidFill>
            </a:endParaRPr>
          </a:p>
          <a:p>
            <a:pPr algn="ctr" defTabSz="914061" fontAlgn="base">
              <a:spcBef>
                <a:spcPct val="0"/>
              </a:spcBef>
              <a:spcAft>
                <a:spcPct val="0"/>
              </a:spcAft>
            </a:pPr>
            <a:endParaRPr lang="en-US" sz="1500" dirty="0">
              <a:solidFill>
                <a:srgbClr val="595959">
                  <a:alpha val="99000"/>
                </a:srgbClr>
              </a:solidFill>
            </a:endParaRPr>
          </a:p>
          <a:p>
            <a:pPr algn="ctr" defTabSz="914061" fontAlgn="base">
              <a:spcBef>
                <a:spcPct val="0"/>
              </a:spcBef>
              <a:spcAft>
                <a:spcPct val="0"/>
              </a:spcAft>
            </a:pPr>
            <a:endParaRPr lang="en-US" sz="1500" dirty="0">
              <a:solidFill>
                <a:srgbClr val="595959">
                  <a:alpha val="99000"/>
                </a:srgbClr>
              </a:solidFill>
            </a:endParaRPr>
          </a:p>
          <a:p>
            <a:pPr algn="ctr" defTabSz="914061" fontAlgn="base">
              <a:spcBef>
                <a:spcPct val="0"/>
              </a:spcBef>
              <a:spcAft>
                <a:spcPct val="0"/>
              </a:spcAft>
            </a:pPr>
            <a:endParaRPr lang="en-US" sz="1500" dirty="0">
              <a:solidFill>
                <a:srgbClr val="595959">
                  <a:alpha val="99000"/>
                </a:srgbClr>
              </a:solidFill>
            </a:endParaRPr>
          </a:p>
        </p:txBody>
      </p:sp>
      <p:sp>
        <p:nvSpPr>
          <p:cNvPr id="7" name="Freeform 6"/>
          <p:cNvSpPr>
            <a:spLocks noEditPoints="1"/>
          </p:cNvSpPr>
          <p:nvPr/>
        </p:nvSpPr>
        <p:spPr bwMode="auto">
          <a:xfrm>
            <a:off x="5262729" y="4399662"/>
            <a:ext cx="833272" cy="867282"/>
          </a:xfrm>
          <a:custGeom>
            <a:avLst/>
            <a:gdLst>
              <a:gd name="T0" fmla="*/ 780 w 862"/>
              <a:gd name="T1" fmla="*/ 743 h 895"/>
              <a:gd name="T2" fmla="*/ 787 w 862"/>
              <a:gd name="T3" fmla="*/ 750 h 895"/>
              <a:gd name="T4" fmla="*/ 780 w 862"/>
              <a:gd name="T5" fmla="*/ 757 h 895"/>
              <a:gd name="T6" fmla="*/ 479 w 862"/>
              <a:gd name="T7" fmla="*/ 895 h 895"/>
              <a:gd name="T8" fmla="*/ 451 w 862"/>
              <a:gd name="T9" fmla="*/ 895 h 895"/>
              <a:gd name="T10" fmla="*/ 164 w 862"/>
              <a:gd name="T11" fmla="*/ 785 h 895"/>
              <a:gd name="T12" fmla="*/ 137 w 862"/>
              <a:gd name="T13" fmla="*/ 757 h 895"/>
              <a:gd name="T14" fmla="*/ 27 w 862"/>
              <a:gd name="T15" fmla="*/ 853 h 895"/>
              <a:gd name="T16" fmla="*/ 0 w 862"/>
              <a:gd name="T17" fmla="*/ 509 h 895"/>
              <a:gd name="T18" fmla="*/ 342 w 862"/>
              <a:gd name="T19" fmla="*/ 578 h 895"/>
              <a:gd name="T20" fmla="*/ 232 w 862"/>
              <a:gd name="T21" fmla="*/ 661 h 895"/>
              <a:gd name="T22" fmla="*/ 273 w 862"/>
              <a:gd name="T23" fmla="*/ 688 h 895"/>
              <a:gd name="T24" fmla="*/ 451 w 862"/>
              <a:gd name="T25" fmla="*/ 757 h 895"/>
              <a:gd name="T26" fmla="*/ 465 w 862"/>
              <a:gd name="T27" fmla="*/ 757 h 895"/>
              <a:gd name="T28" fmla="*/ 670 w 862"/>
              <a:gd name="T29" fmla="*/ 661 h 895"/>
              <a:gd name="T30" fmla="*/ 676 w 862"/>
              <a:gd name="T31" fmla="*/ 654 h 895"/>
              <a:gd name="T32" fmla="*/ 684 w 862"/>
              <a:gd name="T33" fmla="*/ 661 h 895"/>
              <a:gd name="T34" fmla="*/ 780 w 862"/>
              <a:gd name="T35" fmla="*/ 743 h 895"/>
              <a:gd name="T36" fmla="*/ 780 w 862"/>
              <a:gd name="T37" fmla="*/ 743 h 895"/>
              <a:gd name="T38" fmla="*/ 862 w 862"/>
              <a:gd name="T39" fmla="*/ 399 h 895"/>
              <a:gd name="T40" fmla="*/ 834 w 862"/>
              <a:gd name="T41" fmla="*/ 55 h 895"/>
              <a:gd name="T42" fmla="*/ 730 w 862"/>
              <a:gd name="T43" fmla="*/ 146 h 895"/>
              <a:gd name="T44" fmla="*/ 725 w 862"/>
              <a:gd name="T45" fmla="*/ 138 h 895"/>
              <a:gd name="T46" fmla="*/ 697 w 862"/>
              <a:gd name="T47" fmla="*/ 110 h 895"/>
              <a:gd name="T48" fmla="*/ 397 w 862"/>
              <a:gd name="T49" fmla="*/ 0 h 895"/>
              <a:gd name="T50" fmla="*/ 383 w 862"/>
              <a:gd name="T51" fmla="*/ 0 h 895"/>
              <a:gd name="T52" fmla="*/ 82 w 862"/>
              <a:gd name="T53" fmla="*/ 138 h 895"/>
              <a:gd name="T54" fmla="*/ 76 w 862"/>
              <a:gd name="T55" fmla="*/ 144 h 895"/>
              <a:gd name="T56" fmla="*/ 178 w 862"/>
              <a:gd name="T57" fmla="*/ 234 h 895"/>
              <a:gd name="T58" fmla="*/ 178 w 862"/>
              <a:gd name="T59" fmla="*/ 234 h 895"/>
              <a:gd name="T60" fmla="*/ 383 w 862"/>
              <a:gd name="T61" fmla="*/ 138 h 895"/>
              <a:gd name="T62" fmla="*/ 397 w 862"/>
              <a:gd name="T63" fmla="*/ 138 h 895"/>
              <a:gd name="T64" fmla="*/ 588 w 862"/>
              <a:gd name="T65" fmla="*/ 193 h 895"/>
              <a:gd name="T66" fmla="*/ 629 w 862"/>
              <a:gd name="T67" fmla="*/ 234 h 895"/>
              <a:gd name="T68" fmla="*/ 520 w 862"/>
              <a:gd name="T69" fmla="*/ 330 h 895"/>
              <a:gd name="T70" fmla="*/ 862 w 862"/>
              <a:gd name="T71" fmla="*/ 399 h 895"/>
              <a:gd name="T72" fmla="*/ 862 w 862"/>
              <a:gd name="T73" fmla="*/ 399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2" h="895">
                <a:moveTo>
                  <a:pt x="780" y="743"/>
                </a:moveTo>
                <a:cubicBezTo>
                  <a:pt x="787" y="750"/>
                  <a:pt x="787" y="750"/>
                  <a:pt x="787" y="750"/>
                </a:cubicBezTo>
                <a:cubicBezTo>
                  <a:pt x="780" y="757"/>
                  <a:pt x="780" y="757"/>
                  <a:pt x="780" y="757"/>
                </a:cubicBezTo>
                <a:cubicBezTo>
                  <a:pt x="697" y="840"/>
                  <a:pt x="588" y="881"/>
                  <a:pt x="479" y="895"/>
                </a:cubicBezTo>
                <a:cubicBezTo>
                  <a:pt x="465" y="895"/>
                  <a:pt x="465" y="895"/>
                  <a:pt x="451" y="895"/>
                </a:cubicBezTo>
                <a:cubicBezTo>
                  <a:pt x="356" y="895"/>
                  <a:pt x="246" y="853"/>
                  <a:pt x="164" y="785"/>
                </a:cubicBezTo>
                <a:cubicBezTo>
                  <a:pt x="137" y="757"/>
                  <a:pt x="137" y="757"/>
                  <a:pt x="137" y="757"/>
                </a:cubicBezTo>
                <a:cubicBezTo>
                  <a:pt x="27" y="853"/>
                  <a:pt x="27" y="853"/>
                  <a:pt x="27" y="853"/>
                </a:cubicBezTo>
                <a:cubicBezTo>
                  <a:pt x="0" y="509"/>
                  <a:pt x="0" y="509"/>
                  <a:pt x="0" y="509"/>
                </a:cubicBezTo>
                <a:cubicBezTo>
                  <a:pt x="342" y="578"/>
                  <a:pt x="342" y="578"/>
                  <a:pt x="342" y="578"/>
                </a:cubicBezTo>
                <a:cubicBezTo>
                  <a:pt x="232" y="661"/>
                  <a:pt x="232" y="661"/>
                  <a:pt x="232" y="661"/>
                </a:cubicBezTo>
                <a:cubicBezTo>
                  <a:pt x="273" y="688"/>
                  <a:pt x="273" y="688"/>
                  <a:pt x="273" y="688"/>
                </a:cubicBezTo>
                <a:cubicBezTo>
                  <a:pt x="328" y="729"/>
                  <a:pt x="397" y="757"/>
                  <a:pt x="451" y="757"/>
                </a:cubicBezTo>
                <a:cubicBezTo>
                  <a:pt x="465" y="757"/>
                  <a:pt x="465" y="757"/>
                  <a:pt x="465" y="757"/>
                </a:cubicBezTo>
                <a:cubicBezTo>
                  <a:pt x="547" y="743"/>
                  <a:pt x="615" y="716"/>
                  <a:pt x="670" y="661"/>
                </a:cubicBezTo>
                <a:cubicBezTo>
                  <a:pt x="676" y="654"/>
                  <a:pt x="676" y="654"/>
                  <a:pt x="676" y="654"/>
                </a:cubicBezTo>
                <a:cubicBezTo>
                  <a:pt x="684" y="661"/>
                  <a:pt x="684" y="661"/>
                  <a:pt x="684" y="661"/>
                </a:cubicBezTo>
                <a:cubicBezTo>
                  <a:pt x="780" y="743"/>
                  <a:pt x="780" y="743"/>
                  <a:pt x="780" y="743"/>
                </a:cubicBezTo>
                <a:cubicBezTo>
                  <a:pt x="780" y="743"/>
                  <a:pt x="780" y="743"/>
                  <a:pt x="780" y="743"/>
                </a:cubicBezTo>
                <a:close/>
                <a:moveTo>
                  <a:pt x="862" y="399"/>
                </a:moveTo>
                <a:cubicBezTo>
                  <a:pt x="834" y="55"/>
                  <a:pt x="834" y="55"/>
                  <a:pt x="834" y="55"/>
                </a:cubicBezTo>
                <a:cubicBezTo>
                  <a:pt x="730" y="146"/>
                  <a:pt x="730" y="146"/>
                  <a:pt x="730" y="146"/>
                </a:cubicBezTo>
                <a:cubicBezTo>
                  <a:pt x="725" y="138"/>
                  <a:pt x="725" y="138"/>
                  <a:pt x="725" y="138"/>
                </a:cubicBezTo>
                <a:cubicBezTo>
                  <a:pt x="697" y="110"/>
                  <a:pt x="697" y="110"/>
                  <a:pt x="697" y="110"/>
                </a:cubicBezTo>
                <a:cubicBezTo>
                  <a:pt x="615" y="41"/>
                  <a:pt x="506" y="0"/>
                  <a:pt x="397" y="0"/>
                </a:cubicBezTo>
                <a:cubicBezTo>
                  <a:pt x="383" y="0"/>
                  <a:pt x="383" y="0"/>
                  <a:pt x="383" y="0"/>
                </a:cubicBezTo>
                <a:cubicBezTo>
                  <a:pt x="273" y="0"/>
                  <a:pt x="166" y="57"/>
                  <a:pt x="82" y="138"/>
                </a:cubicBezTo>
                <a:cubicBezTo>
                  <a:pt x="77" y="142"/>
                  <a:pt x="76" y="144"/>
                  <a:pt x="76" y="144"/>
                </a:cubicBezTo>
                <a:cubicBezTo>
                  <a:pt x="186" y="241"/>
                  <a:pt x="178" y="234"/>
                  <a:pt x="178" y="234"/>
                </a:cubicBezTo>
                <a:cubicBezTo>
                  <a:pt x="178" y="234"/>
                  <a:pt x="178" y="234"/>
                  <a:pt x="178" y="234"/>
                </a:cubicBezTo>
                <a:cubicBezTo>
                  <a:pt x="232" y="179"/>
                  <a:pt x="315" y="138"/>
                  <a:pt x="383" y="138"/>
                </a:cubicBezTo>
                <a:cubicBezTo>
                  <a:pt x="397" y="138"/>
                  <a:pt x="397" y="138"/>
                  <a:pt x="397" y="138"/>
                </a:cubicBezTo>
                <a:cubicBezTo>
                  <a:pt x="465" y="138"/>
                  <a:pt x="533" y="165"/>
                  <a:pt x="588" y="193"/>
                </a:cubicBezTo>
                <a:cubicBezTo>
                  <a:pt x="629" y="234"/>
                  <a:pt x="629" y="234"/>
                  <a:pt x="629" y="234"/>
                </a:cubicBezTo>
                <a:cubicBezTo>
                  <a:pt x="520" y="330"/>
                  <a:pt x="520" y="330"/>
                  <a:pt x="520" y="330"/>
                </a:cubicBezTo>
                <a:cubicBezTo>
                  <a:pt x="862" y="399"/>
                  <a:pt x="862" y="399"/>
                  <a:pt x="862" y="399"/>
                </a:cubicBezTo>
                <a:cubicBezTo>
                  <a:pt x="862" y="399"/>
                  <a:pt x="862" y="399"/>
                  <a:pt x="862" y="399"/>
                </a:cubicBez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6"/>
          <p:cNvSpPr>
            <a:spLocks/>
          </p:cNvSpPr>
          <p:nvPr/>
        </p:nvSpPr>
        <p:spPr bwMode="auto">
          <a:xfrm>
            <a:off x="6096001" y="4067503"/>
            <a:ext cx="3817592" cy="255872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dirty="0">
              <a:ln>
                <a:solidFill>
                  <a:schemeClr val="bg1">
                    <a:alpha val="0"/>
                  </a:schemeClr>
                </a:solidFill>
              </a:ln>
              <a:solidFill>
                <a:srgbClr val="595959"/>
              </a:solidFill>
              <a:latin typeface="Segoe UI Light" pitchFamily="34" charset="0"/>
            </a:endParaRPr>
          </a:p>
        </p:txBody>
      </p:sp>
      <p:sp>
        <p:nvSpPr>
          <p:cNvPr id="2" name="Title 1"/>
          <p:cNvSpPr>
            <a:spLocks noGrp="1"/>
          </p:cNvSpPr>
          <p:nvPr>
            <p:ph type="title"/>
          </p:nvPr>
        </p:nvSpPr>
        <p:spPr>
          <a:xfrm>
            <a:off x="2430291" y="273403"/>
            <a:ext cx="11149013" cy="747897"/>
          </a:xfrm>
        </p:spPr>
        <p:txBody>
          <a:bodyPr>
            <a:normAutofit fontScale="90000"/>
          </a:bodyPr>
          <a:lstStyle/>
          <a:p>
            <a:r>
              <a:rPr lang="en-US" dirty="0" smtClean="0">
                <a:solidFill>
                  <a:schemeClr val="bg1"/>
                </a:solidFill>
              </a:rPr>
              <a:t>How Microsoft Azure Drives Works</a:t>
            </a:r>
            <a:endParaRPr lang="en-US" dirty="0">
              <a:solidFill>
                <a:schemeClr val="bg1"/>
              </a:solidFill>
            </a:endParaRPr>
          </a:p>
        </p:txBody>
      </p:sp>
      <p:sp>
        <p:nvSpPr>
          <p:cNvPr id="17" name="Content Placeholder 2"/>
          <p:cNvSpPr>
            <a:spLocks noGrp="1"/>
          </p:cNvSpPr>
          <p:nvPr>
            <p:ph type="body" sz="quarter" idx="10"/>
          </p:nvPr>
        </p:nvSpPr>
        <p:spPr>
          <a:xfrm>
            <a:off x="6096001" y="1447800"/>
            <a:ext cx="5573712" cy="2400657"/>
          </a:xfrm>
        </p:spPr>
        <p:txBody>
          <a:bodyPr>
            <a:normAutofit lnSpcReduction="10000"/>
          </a:bodyPr>
          <a:lstStyle/>
          <a:p>
            <a:r>
              <a:rPr lang="en-US" sz="2000" dirty="0">
                <a:latin typeface="+mj-lt"/>
              </a:rPr>
              <a:t>Drive is a formatted page blob stored in blob service</a:t>
            </a:r>
          </a:p>
          <a:p>
            <a:r>
              <a:rPr lang="en-US" sz="2000" dirty="0">
                <a:latin typeface="+mj-lt"/>
              </a:rPr>
              <a:t>Mount obtains a blob lease </a:t>
            </a:r>
          </a:p>
          <a:p>
            <a:r>
              <a:rPr lang="en-US" sz="2000" dirty="0">
                <a:latin typeface="+mj-lt"/>
              </a:rPr>
              <a:t>Mount specifies amount of local storage for cache</a:t>
            </a:r>
          </a:p>
          <a:p>
            <a:r>
              <a:rPr lang="en-US" sz="2000" dirty="0">
                <a:latin typeface="+mj-lt"/>
              </a:rPr>
              <a:t>NTFS flushed/</a:t>
            </a:r>
            <a:r>
              <a:rPr lang="en-US" sz="2000" dirty="0" err="1">
                <a:latin typeface="+mj-lt"/>
              </a:rPr>
              <a:t>unbuffered</a:t>
            </a:r>
            <a:r>
              <a:rPr lang="en-US" sz="2000" dirty="0">
                <a:latin typeface="+mj-lt"/>
              </a:rPr>
              <a:t> writes commit to blob store before returning to app</a:t>
            </a:r>
          </a:p>
          <a:p>
            <a:r>
              <a:rPr lang="en-US" sz="2000" dirty="0">
                <a:latin typeface="+mj-lt"/>
              </a:rPr>
              <a:t>NTFS reads can be served from local cache or from blob store (cache miss)</a:t>
            </a:r>
          </a:p>
        </p:txBody>
      </p:sp>
      <p:sp>
        <p:nvSpPr>
          <p:cNvPr id="6" name="Rectangle 5"/>
          <p:cNvSpPr/>
          <p:nvPr/>
        </p:nvSpPr>
        <p:spPr bwMode="auto">
          <a:xfrm>
            <a:off x="6906886" y="5360277"/>
            <a:ext cx="1471449" cy="1082565"/>
          </a:xfrm>
          <a:prstGeom prst="rect">
            <a:avLst/>
          </a:prstGeom>
          <a:solidFill>
            <a:srgbClr val="00188F"/>
          </a:solidFill>
          <a:ln>
            <a:solidFill>
              <a:schemeClr val="bg2">
                <a:lumMod val="25000"/>
              </a:schemeClr>
            </a:solid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5"/>
          </a:lnRef>
          <a:fillRef idx="3">
            <a:schemeClr val="accent5"/>
          </a:fillRef>
          <a:effectRef idx="3">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000" dirty="0">
                <a:gradFill>
                  <a:gsLst>
                    <a:gs pos="0">
                      <a:srgbClr val="FFFFFF"/>
                    </a:gs>
                    <a:gs pos="100000">
                      <a:srgbClr val="FFFFFF"/>
                    </a:gs>
                  </a:gsLst>
                  <a:lin ang="5400000" scaled="0"/>
                </a:gradFill>
              </a:rPr>
              <a:t>DemoBlob</a:t>
            </a:r>
          </a:p>
        </p:txBody>
      </p:sp>
      <p:cxnSp>
        <p:nvCxnSpPr>
          <p:cNvPr id="12" name="Straight Connector 11"/>
          <p:cNvCxnSpPr/>
          <p:nvPr/>
        </p:nvCxnSpPr>
        <p:spPr>
          <a:xfrm>
            <a:off x="918447" y="2929317"/>
            <a:ext cx="470294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5188116" y="2976527"/>
            <a:ext cx="258084" cy="276999"/>
          </a:xfrm>
          <a:prstGeom prst="rect">
            <a:avLst/>
          </a:prstGeom>
          <a:noFill/>
        </p:spPr>
        <p:txBody>
          <a:bodyPr wrap="none" lIns="0" tIns="0" rIns="0" bIns="0" rtlCol="0">
            <a:spAutoFit/>
          </a:bodyPr>
          <a:lstStyle/>
          <a:p>
            <a:r>
              <a:rPr lang="en-US" dirty="0">
                <a:solidFill>
                  <a:schemeClr val="bg2">
                    <a:lumMod val="25000"/>
                    <a:alpha val="99000"/>
                  </a:schemeClr>
                </a:solidFill>
              </a:rPr>
              <a:t>OS</a:t>
            </a:r>
          </a:p>
        </p:txBody>
      </p:sp>
      <p:sp>
        <p:nvSpPr>
          <p:cNvPr id="16" name="Rectangle 15"/>
          <p:cNvSpPr/>
          <p:nvPr/>
        </p:nvSpPr>
        <p:spPr bwMode="auto">
          <a:xfrm>
            <a:off x="2255980" y="1990643"/>
            <a:ext cx="2027877" cy="542167"/>
          </a:xfrm>
          <a:prstGeom prst="rect">
            <a:avLst/>
          </a:prstGeom>
          <a:solidFill>
            <a:srgbClr val="00188F"/>
          </a:solidFill>
          <a:ln>
            <a:solidFill>
              <a:schemeClr val="bg2">
                <a:lumMod val="25000"/>
              </a:schemeClr>
            </a:solid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5"/>
          </a:lnRef>
          <a:fillRef idx="3">
            <a:schemeClr val="accent5"/>
          </a:fillRef>
          <a:effectRef idx="3">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dirty="0">
                <a:solidFill>
                  <a:schemeClr val="bg1">
                    <a:alpha val="99000"/>
                  </a:schemeClr>
                </a:solidFill>
              </a:rPr>
              <a:t>Application</a:t>
            </a:r>
          </a:p>
        </p:txBody>
      </p:sp>
      <p:sp>
        <p:nvSpPr>
          <p:cNvPr id="22" name="Flowchart: Magnetic Disk 21"/>
          <p:cNvSpPr/>
          <p:nvPr/>
        </p:nvSpPr>
        <p:spPr bwMode="auto">
          <a:xfrm>
            <a:off x="2471712" y="2751293"/>
            <a:ext cx="1639560" cy="962952"/>
          </a:xfrm>
          <a:prstGeom prst="flowChartMagneticDisk">
            <a:avLst/>
          </a:prstGeom>
          <a:ln>
            <a:solidFill>
              <a:schemeClr val="bg2">
                <a:lumMod val="25000"/>
              </a:schemeClr>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dirty="0">
                <a:solidFill>
                  <a:srgbClr val="595959">
                    <a:alpha val="99000"/>
                  </a:srgbClr>
                </a:solidFill>
              </a:rPr>
              <a:t>Drive X:</a:t>
            </a:r>
            <a:endParaRPr lang="en-US" sz="1600" dirty="0">
              <a:solidFill>
                <a:srgbClr val="595959">
                  <a:alpha val="99000"/>
                </a:srgbClr>
              </a:solidFill>
            </a:endParaRPr>
          </a:p>
        </p:txBody>
      </p:sp>
      <p:cxnSp>
        <p:nvCxnSpPr>
          <p:cNvPr id="25" name="Straight Arrow Connector 24"/>
          <p:cNvCxnSpPr/>
          <p:nvPr/>
        </p:nvCxnSpPr>
        <p:spPr>
          <a:xfrm flipH="1">
            <a:off x="3109181" y="2533602"/>
            <a:ext cx="1" cy="431055"/>
          </a:xfrm>
          <a:prstGeom prst="straightConnector1">
            <a:avLst/>
          </a:prstGeom>
          <a:ln w="28575">
            <a:solidFill>
              <a:schemeClr val="bg2">
                <a:lumMod val="50000"/>
              </a:schemeClr>
            </a:solidFill>
            <a:tailEnd type="triangle"/>
          </a:ln>
          <a:effectLst/>
        </p:spPr>
        <p:style>
          <a:lnRef idx="1">
            <a:schemeClr val="accent1"/>
          </a:lnRef>
          <a:fillRef idx="0">
            <a:schemeClr val="accent1"/>
          </a:fillRef>
          <a:effectRef idx="0">
            <a:schemeClr val="accent1"/>
          </a:effectRef>
          <a:fontRef idx="minor">
            <a:schemeClr val="tx1"/>
          </a:fontRef>
        </p:style>
      </p:cxnSp>
      <p:grpSp>
        <p:nvGrpSpPr>
          <p:cNvPr id="10" name="Group 32"/>
          <p:cNvGrpSpPr/>
          <p:nvPr/>
        </p:nvGrpSpPr>
        <p:grpSpPr>
          <a:xfrm>
            <a:off x="2001416" y="3717781"/>
            <a:ext cx="4723634" cy="2051241"/>
            <a:chOff x="1618410" y="2787941"/>
            <a:chExt cx="3543649" cy="2051241"/>
          </a:xfrm>
          <a:effectLst/>
        </p:grpSpPr>
        <p:cxnSp>
          <p:nvCxnSpPr>
            <p:cNvPr id="27" name="Straight Arrow Connector 26"/>
            <p:cNvCxnSpPr/>
            <p:nvPr/>
          </p:nvCxnSpPr>
          <p:spPr>
            <a:xfrm flipH="1">
              <a:off x="1618410" y="3626068"/>
              <a:ext cx="202983" cy="185283"/>
            </a:xfrm>
            <a:prstGeom prst="straightConnector1">
              <a:avLst/>
            </a:prstGeom>
            <a:ln w="28575">
              <a:solidFill>
                <a:schemeClr val="accent4"/>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3044310" y="2787941"/>
              <a:ext cx="2117749" cy="2051241"/>
            </a:xfrm>
            <a:prstGeom prst="straightConnector1">
              <a:avLst/>
            </a:prstGeom>
            <a:ln w="28575">
              <a:solidFill>
                <a:schemeClr val="bg2">
                  <a:lumMod val="25000"/>
                </a:schemeClr>
              </a:solidFill>
              <a:tailEnd type="triangle"/>
            </a:ln>
            <a:effectLst/>
          </p:spPr>
          <p:style>
            <a:lnRef idx="1">
              <a:schemeClr val="accent1"/>
            </a:lnRef>
            <a:fillRef idx="0">
              <a:schemeClr val="accent1"/>
            </a:fillRef>
            <a:effectRef idx="0">
              <a:schemeClr val="accent1"/>
            </a:effectRef>
            <a:fontRef idx="minor">
              <a:schemeClr val="tx1"/>
            </a:fontRef>
          </p:style>
        </p:cxnSp>
      </p:grpSp>
      <p:cxnSp>
        <p:nvCxnSpPr>
          <p:cNvPr id="36" name="Straight Arrow Connector 35"/>
          <p:cNvCxnSpPr/>
          <p:nvPr/>
        </p:nvCxnSpPr>
        <p:spPr>
          <a:xfrm flipH="1">
            <a:off x="2126544" y="3520967"/>
            <a:ext cx="365996" cy="266109"/>
          </a:xfrm>
          <a:prstGeom prst="straightConnector1">
            <a:avLst/>
          </a:prstGeom>
          <a:ln w="28575">
            <a:solidFill>
              <a:schemeClr val="bg2">
                <a:lumMod val="25000"/>
              </a:schemeClr>
            </a:solidFill>
            <a:prstDash val="sysDash"/>
            <a:tailEnd type="triangle"/>
          </a:ln>
          <a:effectLst/>
        </p:spPr>
        <p:style>
          <a:lnRef idx="1">
            <a:schemeClr val="accent1"/>
          </a:lnRef>
          <a:fillRef idx="0">
            <a:schemeClr val="accent1"/>
          </a:fillRef>
          <a:effectRef idx="0">
            <a:schemeClr val="accent1"/>
          </a:effectRef>
          <a:fontRef idx="minor">
            <a:schemeClr val="tx1"/>
          </a:fontRef>
        </p:style>
      </p:cxnSp>
      <p:sp>
        <p:nvSpPr>
          <p:cNvPr id="41" name="Freeform 40"/>
          <p:cNvSpPr/>
          <p:nvPr/>
        </p:nvSpPr>
        <p:spPr>
          <a:xfrm>
            <a:off x="2025869" y="2540901"/>
            <a:ext cx="618430" cy="1213805"/>
          </a:xfrm>
          <a:custGeom>
            <a:avLst/>
            <a:gdLst>
              <a:gd name="connsiteX0" fmla="*/ 59341 w 590718"/>
              <a:gd name="connsiteY0" fmla="*/ 1635939 h 1635939"/>
              <a:gd name="connsiteX1" fmla="*/ 75526 w 590718"/>
              <a:gd name="connsiteY1" fmla="*/ 705355 h 1635939"/>
              <a:gd name="connsiteX2" fmla="*/ 512495 w 590718"/>
              <a:gd name="connsiteY2" fmla="*/ 106545 h 1635939"/>
              <a:gd name="connsiteX3" fmla="*/ 544864 w 590718"/>
              <a:gd name="connsiteY3" fmla="*/ 66085 h 1635939"/>
            </a:gdLst>
            <a:ahLst/>
            <a:cxnLst>
              <a:cxn ang="0">
                <a:pos x="connsiteX0" y="connsiteY0"/>
              </a:cxn>
              <a:cxn ang="0">
                <a:pos x="connsiteX1" y="connsiteY1"/>
              </a:cxn>
              <a:cxn ang="0">
                <a:pos x="connsiteX2" y="connsiteY2"/>
              </a:cxn>
              <a:cxn ang="0">
                <a:pos x="connsiteX3" y="connsiteY3"/>
              </a:cxn>
            </a:cxnLst>
            <a:rect l="l" t="t" r="r" b="b"/>
            <a:pathLst>
              <a:path w="590718" h="1635939">
                <a:moveTo>
                  <a:pt x="59341" y="1635939"/>
                </a:moveTo>
                <a:cubicBezTo>
                  <a:pt x="29670" y="1298096"/>
                  <a:pt x="0" y="960254"/>
                  <a:pt x="75526" y="705355"/>
                </a:cubicBezTo>
                <a:cubicBezTo>
                  <a:pt x="151052" y="450456"/>
                  <a:pt x="434272" y="213090"/>
                  <a:pt x="512495" y="106545"/>
                </a:cubicBezTo>
                <a:cubicBezTo>
                  <a:pt x="590718" y="0"/>
                  <a:pt x="567791" y="33042"/>
                  <a:pt x="544864" y="66085"/>
                </a:cubicBezTo>
              </a:path>
            </a:pathLst>
          </a:custGeom>
          <a:ln w="28575">
            <a:solidFill>
              <a:schemeClr val="bg2">
                <a:lumMod val="50000"/>
              </a:schemeClr>
            </a:solidFill>
            <a:tailEnd type="triangle"/>
          </a:ln>
          <a:effectLst/>
        </p:spPr>
        <p:style>
          <a:lnRef idx="1">
            <a:schemeClr val="accent1"/>
          </a:lnRef>
          <a:fillRef idx="0">
            <a:schemeClr val="accent1"/>
          </a:fillRef>
          <a:effectRef idx="0">
            <a:schemeClr val="accent1"/>
          </a:effectRef>
          <a:fontRef idx="minor">
            <a:schemeClr val="tx1"/>
          </a:fontRef>
        </p:style>
        <p:txBody>
          <a:bodyPr lIns="91436" tIns="45719" rIns="91436" bIns="45719" rtlCol="0" anchor="ctr"/>
          <a:lstStyle/>
          <a:p>
            <a:pPr algn="ctr"/>
            <a:endParaRPr lang="en-US" dirty="0"/>
          </a:p>
        </p:txBody>
      </p:sp>
      <p:cxnSp>
        <p:nvCxnSpPr>
          <p:cNvPr id="43" name="Straight Arrow Connector 42"/>
          <p:cNvCxnSpPr/>
          <p:nvPr/>
        </p:nvCxnSpPr>
        <p:spPr>
          <a:xfrm>
            <a:off x="3680209" y="3752193"/>
            <a:ext cx="3121572" cy="2312276"/>
          </a:xfrm>
          <a:prstGeom prst="straightConnector1">
            <a:avLst/>
          </a:prstGeom>
          <a:ln w="28575">
            <a:solidFill>
              <a:schemeClr val="bg2">
                <a:lumMod val="25000"/>
              </a:schemeClr>
            </a:solidFill>
            <a:prstDash val="sysDash"/>
            <a:tailEnd type="triangle"/>
          </a:ln>
          <a:effectLst/>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a:off x="3021092" y="2540346"/>
            <a:ext cx="1" cy="457649"/>
          </a:xfrm>
          <a:prstGeom prst="straightConnector1">
            <a:avLst/>
          </a:prstGeom>
          <a:ln w="28575">
            <a:solidFill>
              <a:schemeClr val="bg2">
                <a:lumMod val="50000"/>
              </a:schemeClr>
            </a:solidFill>
            <a:prstDash val="sysDash"/>
            <a:tailEnd type="triangle"/>
          </a:ln>
          <a:effectLst/>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flipV="1">
            <a:off x="3879905" y="3531476"/>
            <a:ext cx="2890346" cy="2028496"/>
          </a:xfrm>
          <a:prstGeom prst="straightConnector1">
            <a:avLst/>
          </a:prstGeom>
          <a:ln w="28575">
            <a:solidFill>
              <a:schemeClr val="bg2">
                <a:lumMod val="2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H="1">
            <a:off x="2212836" y="3752194"/>
            <a:ext cx="531953" cy="374749"/>
          </a:xfrm>
          <a:prstGeom prst="straightConnector1">
            <a:avLst/>
          </a:prstGeom>
          <a:ln w="28575">
            <a:solidFill>
              <a:schemeClr val="bg2">
                <a:lumMod val="2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flipV="1">
            <a:off x="3427961" y="2575034"/>
            <a:ext cx="9435" cy="370492"/>
          </a:xfrm>
          <a:prstGeom prst="straightConnector1">
            <a:avLst/>
          </a:prstGeom>
          <a:ln w="28575">
            <a:solidFill>
              <a:schemeClr val="bg2">
                <a:lumMod val="50000"/>
              </a:schemeClr>
            </a:solidFill>
            <a:tailEnd type="triangle"/>
          </a:ln>
          <a:effectLst/>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9604870" y="4385873"/>
            <a:ext cx="1979120" cy="707886"/>
          </a:xfrm>
          <a:prstGeom prst="rect">
            <a:avLst/>
          </a:prstGeom>
        </p:spPr>
        <p:txBody>
          <a:bodyPr wrap="square">
            <a:spAutoFit/>
          </a:bodyPr>
          <a:lstStyle/>
          <a:p>
            <a:pPr defTabSz="914061" fontAlgn="base">
              <a:spcBef>
                <a:spcPct val="0"/>
              </a:spcBef>
              <a:spcAft>
                <a:spcPct val="0"/>
              </a:spcAft>
            </a:pPr>
            <a:r>
              <a:rPr lang="en-US" sz="2000" spc="-51" dirty="0">
                <a:gradFill>
                  <a:gsLst>
                    <a:gs pos="0">
                      <a:srgbClr val="595959"/>
                    </a:gs>
                    <a:gs pos="86000">
                      <a:srgbClr val="595959"/>
                    </a:gs>
                  </a:gsLst>
                  <a:lin ang="5400000" scaled="0"/>
                </a:gradFill>
                <a:latin typeface="+mj-lt"/>
              </a:rPr>
              <a:t>Windows Azure </a:t>
            </a:r>
            <a:br>
              <a:rPr lang="en-US" sz="2000" spc="-51" dirty="0">
                <a:gradFill>
                  <a:gsLst>
                    <a:gs pos="0">
                      <a:srgbClr val="595959"/>
                    </a:gs>
                    <a:gs pos="86000">
                      <a:srgbClr val="595959"/>
                    </a:gs>
                  </a:gsLst>
                  <a:lin ang="5400000" scaled="0"/>
                </a:gradFill>
                <a:latin typeface="+mj-lt"/>
              </a:rPr>
            </a:br>
            <a:r>
              <a:rPr lang="en-US" sz="2000" spc="-51" dirty="0">
                <a:gradFill>
                  <a:gsLst>
                    <a:gs pos="0">
                      <a:srgbClr val="595959"/>
                    </a:gs>
                    <a:gs pos="86000">
                      <a:srgbClr val="595959"/>
                    </a:gs>
                  </a:gsLst>
                  <a:lin ang="5400000" scaled="0"/>
                </a:gradFill>
                <a:latin typeface="+mj-lt"/>
              </a:rPr>
              <a:t>Blob Service</a:t>
            </a:r>
          </a:p>
        </p:txBody>
      </p:sp>
      <p:grpSp>
        <p:nvGrpSpPr>
          <p:cNvPr id="28" name="Group 27"/>
          <p:cNvGrpSpPr/>
          <p:nvPr/>
        </p:nvGrpSpPr>
        <p:grpSpPr>
          <a:xfrm>
            <a:off x="1265553" y="3775334"/>
            <a:ext cx="1163929" cy="1035665"/>
            <a:chOff x="3996654" y="5236271"/>
            <a:chExt cx="1163929" cy="1035665"/>
          </a:xfrm>
          <a:solidFill>
            <a:srgbClr val="00188F"/>
          </a:solidFill>
        </p:grpSpPr>
        <p:sp>
          <p:nvSpPr>
            <p:cNvPr id="39" name="TextBox 38"/>
            <p:cNvSpPr txBox="1"/>
            <p:nvPr/>
          </p:nvSpPr>
          <p:spPr>
            <a:xfrm>
              <a:off x="3996654" y="6025715"/>
              <a:ext cx="1163929" cy="246221"/>
            </a:xfrm>
            <a:prstGeom prst="rect">
              <a:avLst/>
            </a:prstGeom>
            <a:grpFill/>
            <a:ln>
              <a:solidFill>
                <a:schemeClr val="bg2">
                  <a:lumMod val="25000"/>
                </a:schemeClr>
              </a:solidFill>
            </a:ln>
          </p:spPr>
          <p:txBody>
            <a:bodyPr wrap="square" lIns="0" tIns="0" rIns="0" bIns="0" rtlCol="0">
              <a:spAutoFit/>
            </a:bodyPr>
            <a:lstStyle/>
            <a:p>
              <a:pPr algn="ctr"/>
              <a:r>
                <a:rPr lang="en-US" sz="1600" dirty="0">
                  <a:gradFill>
                    <a:gsLst>
                      <a:gs pos="0">
                        <a:schemeClr val="tx1"/>
                      </a:gs>
                      <a:gs pos="86000">
                        <a:schemeClr val="tx1"/>
                      </a:gs>
                    </a:gsLst>
                    <a:lin ang="5400000" scaled="0"/>
                  </a:gradFill>
                </a:rPr>
                <a:t>Local Cache</a:t>
              </a:r>
            </a:p>
          </p:txBody>
        </p:sp>
        <p:sp>
          <p:nvSpPr>
            <p:cNvPr id="40" name="Freeform 34"/>
            <p:cNvSpPr>
              <a:spLocks noEditPoints="1"/>
            </p:cNvSpPr>
            <p:nvPr/>
          </p:nvSpPr>
          <p:spPr bwMode="auto">
            <a:xfrm>
              <a:off x="4201020" y="5236271"/>
              <a:ext cx="743008" cy="729114"/>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grpFill/>
            <a:ln>
              <a:solidFill>
                <a:schemeClr val="bg2">
                  <a:lumMod val="25000"/>
                </a:schemeClr>
              </a:solid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5"/>
            </a:lnRef>
            <a:fillRef idx="3">
              <a:schemeClr val="accent5"/>
            </a:fillRef>
            <a:effectRef idx="3">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fontAlgn="base">
                <a:spcBef>
                  <a:spcPct val="0"/>
                </a:spcBef>
                <a:spcAft>
                  <a:spcPct val="0"/>
                </a:spcAft>
              </a:pPr>
              <a:endParaRPr lang="en-US">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417727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xEl>
                                              <p:pRg st="1" end="1"/>
                                            </p:txEl>
                                          </p:spTgt>
                                        </p:tgtEl>
                                        <p:attrNameLst>
                                          <p:attrName>style.visibility</p:attrName>
                                        </p:attrNameLst>
                                      </p:cBhvr>
                                      <p:to>
                                        <p:strVal val="visible"/>
                                      </p:to>
                                    </p:set>
                                    <p:animEffect transition="in" filter="fade">
                                      <p:cBhvr>
                                        <p:cTn id="7" dur="500"/>
                                        <p:tgtEl>
                                          <p:spTgt spid="17">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7">
                                            <p:txEl>
                                              <p:pRg st="2" end="2"/>
                                            </p:txEl>
                                          </p:spTgt>
                                        </p:tgtEl>
                                        <p:attrNameLst>
                                          <p:attrName>style.visibility</p:attrName>
                                        </p:attrNameLst>
                                      </p:cBhvr>
                                      <p:to>
                                        <p:strVal val="visible"/>
                                      </p:to>
                                    </p:set>
                                    <p:animEffect transition="in" filter="fade">
                                      <p:cBhvr>
                                        <p:cTn id="22" dur="500"/>
                                        <p:tgtEl>
                                          <p:spTgt spid="17">
                                            <p:txEl>
                                              <p:pRg st="2" end="2"/>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7">
                                            <p:txEl>
                                              <p:pRg st="3" end="3"/>
                                            </p:txEl>
                                          </p:spTgt>
                                        </p:tgtEl>
                                        <p:attrNameLst>
                                          <p:attrName>style.visibility</p:attrName>
                                        </p:attrNameLst>
                                      </p:cBhvr>
                                      <p:to>
                                        <p:strVal val="visible"/>
                                      </p:to>
                                    </p:set>
                                    <p:animEffect transition="in" filter="fade">
                                      <p:cBhvr>
                                        <p:cTn id="30" dur="500"/>
                                        <p:tgtEl>
                                          <p:spTgt spid="17">
                                            <p:txEl>
                                              <p:pRg st="3" end="3"/>
                                            </p:txEl>
                                          </p:spTgt>
                                        </p:tgtEl>
                                      </p:cBhvr>
                                    </p:animEffect>
                                  </p:childTnLst>
                                </p:cTn>
                              </p:par>
                            </p:childTnLst>
                          </p:cTn>
                        </p:par>
                        <p:par>
                          <p:cTn id="31" fill="hold">
                            <p:stCondLst>
                              <p:cond delay="500"/>
                            </p:stCondLst>
                            <p:childTnLst>
                              <p:par>
                                <p:cTn id="32" presetID="17" presetClass="entr" presetSubtype="1" fill="hold" nodeType="afterEffect">
                                  <p:stCondLst>
                                    <p:cond delay="0"/>
                                  </p:stCondLst>
                                  <p:childTnLst>
                                    <p:set>
                                      <p:cBhvr>
                                        <p:cTn id="33" dur="1" fill="hold">
                                          <p:stCondLst>
                                            <p:cond delay="0"/>
                                          </p:stCondLst>
                                        </p:cTn>
                                        <p:tgtEl>
                                          <p:spTgt spid="25"/>
                                        </p:tgtEl>
                                        <p:attrNameLst>
                                          <p:attrName>style.visibility</p:attrName>
                                        </p:attrNameLst>
                                      </p:cBhvr>
                                      <p:to>
                                        <p:strVal val="visible"/>
                                      </p:to>
                                    </p:set>
                                    <p:anim calcmode="lin" valueType="num">
                                      <p:cBhvr>
                                        <p:cTn id="34" dur="500" fill="hold"/>
                                        <p:tgtEl>
                                          <p:spTgt spid="25"/>
                                        </p:tgtEl>
                                        <p:attrNameLst>
                                          <p:attrName>ppt_x</p:attrName>
                                        </p:attrNameLst>
                                      </p:cBhvr>
                                      <p:tavLst>
                                        <p:tav tm="0">
                                          <p:val>
                                            <p:strVal val="#ppt_x"/>
                                          </p:val>
                                        </p:tav>
                                        <p:tav tm="100000">
                                          <p:val>
                                            <p:strVal val="#ppt_x"/>
                                          </p:val>
                                        </p:tav>
                                      </p:tavLst>
                                    </p:anim>
                                    <p:anim calcmode="lin" valueType="num">
                                      <p:cBhvr>
                                        <p:cTn id="35" dur="500" fill="hold"/>
                                        <p:tgtEl>
                                          <p:spTgt spid="25"/>
                                        </p:tgtEl>
                                        <p:attrNameLst>
                                          <p:attrName>ppt_y</p:attrName>
                                        </p:attrNameLst>
                                      </p:cBhvr>
                                      <p:tavLst>
                                        <p:tav tm="0">
                                          <p:val>
                                            <p:strVal val="#ppt_y-#ppt_h/2"/>
                                          </p:val>
                                        </p:tav>
                                        <p:tav tm="100000">
                                          <p:val>
                                            <p:strVal val="#ppt_y"/>
                                          </p:val>
                                        </p:tav>
                                      </p:tavLst>
                                    </p:anim>
                                    <p:anim calcmode="lin" valueType="num">
                                      <p:cBhvr>
                                        <p:cTn id="36" dur="500" fill="hold"/>
                                        <p:tgtEl>
                                          <p:spTgt spid="25"/>
                                        </p:tgtEl>
                                        <p:attrNameLst>
                                          <p:attrName>ppt_w</p:attrName>
                                        </p:attrNameLst>
                                      </p:cBhvr>
                                      <p:tavLst>
                                        <p:tav tm="0">
                                          <p:val>
                                            <p:strVal val="#ppt_w"/>
                                          </p:val>
                                        </p:tav>
                                        <p:tav tm="100000">
                                          <p:val>
                                            <p:strVal val="#ppt_w"/>
                                          </p:val>
                                        </p:tav>
                                      </p:tavLst>
                                    </p:anim>
                                    <p:anim calcmode="lin" valueType="num">
                                      <p:cBhvr>
                                        <p:cTn id="37" dur="500" fill="hold"/>
                                        <p:tgtEl>
                                          <p:spTgt spid="25"/>
                                        </p:tgtEl>
                                        <p:attrNameLst>
                                          <p:attrName>ppt_h</p:attrName>
                                        </p:attrNameLst>
                                      </p:cBhvr>
                                      <p:tavLst>
                                        <p:tav tm="0">
                                          <p:val>
                                            <p:fltVal val="0"/>
                                          </p:val>
                                        </p:tav>
                                        <p:tav tm="100000">
                                          <p:val>
                                            <p:strVal val="#ppt_h"/>
                                          </p:val>
                                        </p:tav>
                                      </p:tavLst>
                                    </p:anim>
                                  </p:childTnLst>
                                </p:cTn>
                              </p:par>
                            </p:childTnLst>
                          </p:cTn>
                        </p:par>
                        <p:par>
                          <p:cTn id="38" fill="hold">
                            <p:stCondLst>
                              <p:cond delay="1000"/>
                            </p:stCondLst>
                            <p:childTnLst>
                              <p:par>
                                <p:cTn id="39" presetID="22" presetClass="entr" presetSubtype="1" fill="hold" nodeType="after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wipe(up)">
                                      <p:cBhvr>
                                        <p:cTn id="41" dur="500"/>
                                        <p:tgtEl>
                                          <p:spTgt spid="1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7">
                                            <p:txEl>
                                              <p:pRg st="4" end="4"/>
                                            </p:txEl>
                                          </p:spTgt>
                                        </p:tgtEl>
                                        <p:attrNameLst>
                                          <p:attrName>style.visibility</p:attrName>
                                        </p:attrNameLst>
                                      </p:cBhvr>
                                      <p:to>
                                        <p:strVal val="visible"/>
                                      </p:to>
                                    </p:set>
                                    <p:animEffect transition="in" filter="fade">
                                      <p:cBhvr>
                                        <p:cTn id="46" dur="500"/>
                                        <p:tgtEl>
                                          <p:spTgt spid="17">
                                            <p:txEl>
                                              <p:pRg st="4" end="4"/>
                                            </p:txEl>
                                          </p:spTgt>
                                        </p:tgtEl>
                                      </p:cBhvr>
                                    </p:animEffect>
                                  </p:childTnLst>
                                </p:cTn>
                              </p:par>
                              <p:par>
                                <p:cTn id="47" presetID="1" presetClass="exit" presetSubtype="0" fill="hold" nodeType="withEffect">
                                  <p:stCondLst>
                                    <p:cond delay="0"/>
                                  </p:stCondLst>
                                  <p:childTnLst>
                                    <p:set>
                                      <p:cBhvr>
                                        <p:cTn id="48" dur="1" fill="hold">
                                          <p:stCondLst>
                                            <p:cond delay="0"/>
                                          </p:stCondLst>
                                        </p:cTn>
                                        <p:tgtEl>
                                          <p:spTgt spid="10"/>
                                        </p:tgtEl>
                                        <p:attrNameLst>
                                          <p:attrName>style.visibility</p:attrName>
                                        </p:attrNameLst>
                                      </p:cBhvr>
                                      <p:to>
                                        <p:strVal val="hidden"/>
                                      </p:to>
                                    </p:set>
                                  </p:childTnLst>
                                </p:cTn>
                              </p:par>
                              <p:par>
                                <p:cTn id="49" presetID="1" presetClass="exit" presetSubtype="0" fill="hold" nodeType="withEffect">
                                  <p:stCondLst>
                                    <p:cond delay="0"/>
                                  </p:stCondLst>
                                  <p:childTnLst>
                                    <p:set>
                                      <p:cBhvr>
                                        <p:cTn id="50" dur="1" fill="hold">
                                          <p:stCondLst>
                                            <p:cond delay="0"/>
                                          </p:stCondLst>
                                        </p:cTn>
                                        <p:tgtEl>
                                          <p:spTgt spid="25"/>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22" presetClass="entr" presetSubtype="1" fill="hold" nodeType="clickEffect">
                                  <p:stCondLst>
                                    <p:cond delay="0"/>
                                  </p:stCondLst>
                                  <p:childTnLst>
                                    <p:set>
                                      <p:cBhvr>
                                        <p:cTn id="54" dur="1" fill="hold">
                                          <p:stCondLst>
                                            <p:cond delay="0"/>
                                          </p:stCondLst>
                                        </p:cTn>
                                        <p:tgtEl>
                                          <p:spTgt spid="31"/>
                                        </p:tgtEl>
                                        <p:attrNameLst>
                                          <p:attrName>style.visibility</p:attrName>
                                        </p:attrNameLst>
                                      </p:cBhvr>
                                      <p:to>
                                        <p:strVal val="visible"/>
                                      </p:to>
                                    </p:set>
                                    <p:animEffect transition="in" filter="wipe(up)">
                                      <p:cBhvr>
                                        <p:cTn id="55" dur="500"/>
                                        <p:tgtEl>
                                          <p:spTgt spid="31"/>
                                        </p:tgtEl>
                                      </p:cBhvr>
                                    </p:animEffect>
                                  </p:childTnLst>
                                </p:cTn>
                              </p:par>
                            </p:childTnLst>
                          </p:cTn>
                        </p:par>
                        <p:par>
                          <p:cTn id="56" fill="hold">
                            <p:stCondLst>
                              <p:cond delay="500"/>
                            </p:stCondLst>
                            <p:childTnLst>
                              <p:par>
                                <p:cTn id="57" presetID="22" presetClass="entr" presetSubtype="2" fill="hold" nodeType="afterEffect">
                                  <p:stCondLst>
                                    <p:cond delay="0"/>
                                  </p:stCondLst>
                                  <p:childTnLst>
                                    <p:set>
                                      <p:cBhvr>
                                        <p:cTn id="58" dur="1" fill="hold">
                                          <p:stCondLst>
                                            <p:cond delay="0"/>
                                          </p:stCondLst>
                                        </p:cTn>
                                        <p:tgtEl>
                                          <p:spTgt spid="36"/>
                                        </p:tgtEl>
                                        <p:attrNameLst>
                                          <p:attrName>style.visibility</p:attrName>
                                        </p:attrNameLst>
                                      </p:cBhvr>
                                      <p:to>
                                        <p:strVal val="visible"/>
                                      </p:to>
                                    </p:set>
                                    <p:animEffect transition="in" filter="wipe(right)">
                                      <p:cBhvr>
                                        <p:cTn id="59" dur="500"/>
                                        <p:tgtEl>
                                          <p:spTgt spid="36"/>
                                        </p:tgtEl>
                                      </p:cBhvr>
                                    </p:animEffect>
                                  </p:childTnLst>
                                </p:cTn>
                              </p:par>
                            </p:childTnLst>
                          </p:cTn>
                        </p:par>
                        <p:par>
                          <p:cTn id="60" fill="hold">
                            <p:stCondLst>
                              <p:cond delay="1000"/>
                            </p:stCondLst>
                            <p:childTnLst>
                              <p:par>
                                <p:cTn id="61" presetID="26" presetClass="emph" presetSubtype="0" fill="hold" nodeType="afterEffect">
                                  <p:stCondLst>
                                    <p:cond delay="0"/>
                                  </p:stCondLst>
                                  <p:childTnLst>
                                    <p:animEffect transition="out" filter="fade">
                                      <p:cBhvr>
                                        <p:cTn id="62" dur="500" tmFilter="0, 0; .2, .5; .8, .5; 1, 0"/>
                                        <p:tgtEl>
                                          <p:spTgt spid="28"/>
                                        </p:tgtEl>
                                      </p:cBhvr>
                                    </p:animEffect>
                                    <p:animScale>
                                      <p:cBhvr>
                                        <p:cTn id="63" dur="250" autoRev="1" fill="hold"/>
                                        <p:tgtEl>
                                          <p:spTgt spid="28"/>
                                        </p:tgtEl>
                                      </p:cBhvr>
                                      <p:by x="105000" y="105000"/>
                                    </p:animScale>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wipe(left)">
                                      <p:cBhvr>
                                        <p:cTn id="68" dur="5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22" presetClass="entr" presetSubtype="2" fill="hold" nodeType="click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wipe(right)">
                                      <p:cBhvr>
                                        <p:cTn id="73" dur="500"/>
                                        <p:tgtEl>
                                          <p:spTgt spid="34"/>
                                        </p:tgtEl>
                                      </p:cBhvr>
                                    </p:animEffect>
                                  </p:childTnLst>
                                </p:cTn>
                              </p:par>
                            </p:childTnLst>
                          </p:cTn>
                        </p:par>
                        <p:par>
                          <p:cTn id="74" fill="hold">
                            <p:stCondLst>
                              <p:cond delay="500"/>
                            </p:stCondLst>
                            <p:childTnLst>
                              <p:par>
                                <p:cTn id="75" presetID="22" presetClass="entr" presetSubtype="2" fill="hold" nodeType="afterEffect">
                                  <p:stCondLst>
                                    <p:cond delay="500"/>
                                  </p:stCondLst>
                                  <p:childTnLst>
                                    <p:set>
                                      <p:cBhvr>
                                        <p:cTn id="76" dur="1" fill="hold">
                                          <p:stCondLst>
                                            <p:cond delay="0"/>
                                          </p:stCondLst>
                                        </p:cTn>
                                        <p:tgtEl>
                                          <p:spTgt spid="38"/>
                                        </p:tgtEl>
                                        <p:attrNameLst>
                                          <p:attrName>style.visibility</p:attrName>
                                        </p:attrNameLst>
                                      </p:cBhvr>
                                      <p:to>
                                        <p:strVal val="visible"/>
                                      </p:to>
                                    </p:set>
                                    <p:animEffect transition="in" filter="wipe(right)">
                                      <p:cBhvr>
                                        <p:cTn id="77" dur="500"/>
                                        <p:tgtEl>
                                          <p:spTgt spid="38"/>
                                        </p:tgtEl>
                                      </p:cBhvr>
                                    </p:animEffect>
                                  </p:childTnLst>
                                </p:cTn>
                              </p:par>
                              <p:par>
                                <p:cTn id="78" presetID="22" presetClass="entr" presetSubtype="4" fill="hold" nodeType="withEffect">
                                  <p:stCondLst>
                                    <p:cond delay="500"/>
                                  </p:stCondLst>
                                  <p:childTnLst>
                                    <p:set>
                                      <p:cBhvr>
                                        <p:cTn id="79" dur="1" fill="hold">
                                          <p:stCondLst>
                                            <p:cond delay="0"/>
                                          </p:stCondLst>
                                        </p:cTn>
                                        <p:tgtEl>
                                          <p:spTgt spid="35"/>
                                        </p:tgtEl>
                                        <p:attrNameLst>
                                          <p:attrName>style.visibility</p:attrName>
                                        </p:attrNameLst>
                                      </p:cBhvr>
                                      <p:to>
                                        <p:strVal val="visible"/>
                                      </p:to>
                                    </p:set>
                                    <p:animEffect transition="in" filter="wipe(down)">
                                      <p:cBhvr>
                                        <p:cTn id="80" dur="500"/>
                                        <p:tgtEl>
                                          <p:spTgt spid="35"/>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1" fill="hold" nodeType="clickEffect">
                                  <p:stCondLst>
                                    <p:cond delay="0"/>
                                  </p:stCondLst>
                                  <p:childTnLst>
                                    <p:set>
                                      <p:cBhvr>
                                        <p:cTn id="84" dur="1" fill="hold">
                                          <p:stCondLst>
                                            <p:cond delay="0"/>
                                          </p:stCondLst>
                                        </p:cTn>
                                        <p:tgtEl>
                                          <p:spTgt spid="31"/>
                                        </p:tgtEl>
                                        <p:attrNameLst>
                                          <p:attrName>style.visibility</p:attrName>
                                        </p:attrNameLst>
                                      </p:cBhvr>
                                      <p:to>
                                        <p:strVal val="visible"/>
                                      </p:to>
                                    </p:set>
                                    <p:animEffect transition="in" filter="wipe(up)">
                                      <p:cBhvr>
                                        <p:cTn id="85" dur="500"/>
                                        <p:tgtEl>
                                          <p:spTgt spid="31"/>
                                        </p:tgtEl>
                                      </p:cBhvr>
                                    </p:animEffect>
                                  </p:childTnLst>
                                </p:cTn>
                              </p:par>
                              <p:par>
                                <p:cTn id="86" presetID="1" presetClass="exit" presetSubtype="0" fill="hold" nodeType="withEffect">
                                  <p:stCondLst>
                                    <p:cond delay="0"/>
                                  </p:stCondLst>
                                  <p:childTnLst>
                                    <p:set>
                                      <p:cBhvr>
                                        <p:cTn id="87" dur="1" fill="hold">
                                          <p:stCondLst>
                                            <p:cond delay="0"/>
                                          </p:stCondLst>
                                        </p:cTn>
                                        <p:tgtEl>
                                          <p:spTgt spid="34"/>
                                        </p:tgtEl>
                                        <p:attrNameLst>
                                          <p:attrName>style.visibility</p:attrName>
                                        </p:attrNameLst>
                                      </p:cBhvr>
                                      <p:to>
                                        <p:strVal val="hidden"/>
                                      </p:to>
                                    </p:set>
                                  </p:childTnLst>
                                </p:cTn>
                              </p:par>
                              <p:par>
                                <p:cTn id="88" presetID="1" presetClass="exit" presetSubtype="0" fill="hold" nodeType="withEffect">
                                  <p:stCondLst>
                                    <p:cond delay="0"/>
                                  </p:stCondLst>
                                  <p:childTnLst>
                                    <p:set>
                                      <p:cBhvr>
                                        <p:cTn id="89" dur="1" fill="hold">
                                          <p:stCondLst>
                                            <p:cond delay="0"/>
                                          </p:stCondLst>
                                        </p:cTn>
                                        <p:tgtEl>
                                          <p:spTgt spid="43"/>
                                        </p:tgtEl>
                                        <p:attrNameLst>
                                          <p:attrName>style.visibility</p:attrName>
                                        </p:attrNameLst>
                                      </p:cBhvr>
                                      <p:to>
                                        <p:strVal val="hidden"/>
                                      </p:to>
                                    </p:set>
                                  </p:childTnLst>
                                </p:cTn>
                              </p:par>
                              <p:par>
                                <p:cTn id="90" presetID="10" presetClass="exit" presetSubtype="0" fill="hold" nodeType="withEffect">
                                  <p:stCondLst>
                                    <p:cond delay="0"/>
                                  </p:stCondLst>
                                  <p:childTnLst>
                                    <p:animEffect transition="out" filter="fade">
                                      <p:cBhvr>
                                        <p:cTn id="91" dur="500"/>
                                        <p:tgtEl>
                                          <p:spTgt spid="36"/>
                                        </p:tgtEl>
                                      </p:cBhvr>
                                    </p:animEffect>
                                    <p:set>
                                      <p:cBhvr>
                                        <p:cTn id="92" dur="1" fill="hold">
                                          <p:stCondLst>
                                            <p:cond delay="499"/>
                                          </p:stCondLst>
                                        </p:cTn>
                                        <p:tgtEl>
                                          <p:spTgt spid="36"/>
                                        </p:tgtEl>
                                        <p:attrNameLst>
                                          <p:attrName>style.visibility</p:attrName>
                                        </p:attrNameLst>
                                      </p:cBhvr>
                                      <p:to>
                                        <p:strVal val="hidden"/>
                                      </p:to>
                                    </p:set>
                                  </p:childTnLst>
                                </p:cTn>
                              </p:par>
                              <p:par>
                                <p:cTn id="93" presetID="1" presetClass="exit" presetSubtype="0" fill="hold" nodeType="withEffect">
                                  <p:stCondLst>
                                    <p:cond delay="0"/>
                                  </p:stCondLst>
                                  <p:childTnLst>
                                    <p:set>
                                      <p:cBhvr>
                                        <p:cTn id="94" dur="1" fill="hold">
                                          <p:stCondLst>
                                            <p:cond delay="0"/>
                                          </p:stCondLst>
                                        </p:cTn>
                                        <p:tgtEl>
                                          <p:spTgt spid="38"/>
                                        </p:tgtEl>
                                        <p:attrNameLst>
                                          <p:attrName>style.visibility</p:attrName>
                                        </p:attrNameLst>
                                      </p:cBhvr>
                                      <p:to>
                                        <p:strVal val="hidden"/>
                                      </p:to>
                                    </p:set>
                                  </p:childTnLst>
                                </p:cTn>
                              </p:par>
                              <p:par>
                                <p:cTn id="95" presetID="1" presetClass="exit" presetSubtype="0" fill="hold" nodeType="withEffect">
                                  <p:stCondLst>
                                    <p:cond delay="0"/>
                                  </p:stCondLst>
                                  <p:childTnLst>
                                    <p:set>
                                      <p:cBhvr>
                                        <p:cTn id="96" dur="1" fill="hold">
                                          <p:stCondLst>
                                            <p:cond delay="0"/>
                                          </p:stCondLst>
                                        </p:cTn>
                                        <p:tgtEl>
                                          <p:spTgt spid="35"/>
                                        </p:tgtEl>
                                        <p:attrNameLst>
                                          <p:attrName>style.visibility</p:attrName>
                                        </p:attrNameLst>
                                      </p:cBhvr>
                                      <p:to>
                                        <p:strVal val="hidden"/>
                                      </p:to>
                                    </p:set>
                                  </p:childTnLst>
                                </p:cTn>
                              </p:par>
                            </p:childTnLst>
                          </p:cTn>
                        </p:par>
                        <p:par>
                          <p:cTn id="97" fill="hold">
                            <p:stCondLst>
                              <p:cond delay="500"/>
                            </p:stCondLst>
                            <p:childTnLst>
                              <p:par>
                                <p:cTn id="98" presetID="22" presetClass="entr" presetSubtype="2" fill="hold" nodeType="afterEffect">
                                  <p:stCondLst>
                                    <p:cond delay="0"/>
                                  </p:stCondLst>
                                  <p:childTnLst>
                                    <p:set>
                                      <p:cBhvr>
                                        <p:cTn id="99" dur="1" fill="hold">
                                          <p:stCondLst>
                                            <p:cond delay="0"/>
                                          </p:stCondLst>
                                        </p:cTn>
                                        <p:tgtEl>
                                          <p:spTgt spid="36"/>
                                        </p:tgtEl>
                                        <p:attrNameLst>
                                          <p:attrName>style.visibility</p:attrName>
                                        </p:attrNameLst>
                                      </p:cBhvr>
                                      <p:to>
                                        <p:strVal val="visible"/>
                                      </p:to>
                                    </p:set>
                                    <p:animEffect transition="in" filter="wipe(right)">
                                      <p:cBhvr>
                                        <p:cTn id="100" dur="500"/>
                                        <p:tgtEl>
                                          <p:spTgt spid="36"/>
                                        </p:tgtEl>
                                      </p:cBhvr>
                                    </p:animEffect>
                                  </p:childTnLst>
                                </p:cTn>
                              </p:par>
                            </p:childTnLst>
                          </p:cTn>
                        </p:par>
                        <p:par>
                          <p:cTn id="101" fill="hold">
                            <p:stCondLst>
                              <p:cond delay="1000"/>
                            </p:stCondLst>
                            <p:childTnLst>
                              <p:par>
                                <p:cTn id="102" presetID="26" presetClass="emph" presetSubtype="0" fill="hold" nodeType="afterEffect">
                                  <p:stCondLst>
                                    <p:cond delay="0"/>
                                  </p:stCondLst>
                                  <p:childTnLst>
                                    <p:animEffect transition="out" filter="fade">
                                      <p:cBhvr>
                                        <p:cTn id="103" dur="500" tmFilter="0, 0; .2, .5; .8, .5; 1, 0"/>
                                        <p:tgtEl>
                                          <p:spTgt spid="28"/>
                                        </p:tgtEl>
                                      </p:cBhvr>
                                    </p:animEffect>
                                    <p:animScale>
                                      <p:cBhvr>
                                        <p:cTn id="104" dur="250" autoRev="1" fill="hold"/>
                                        <p:tgtEl>
                                          <p:spTgt spid="28"/>
                                        </p:tgtEl>
                                      </p:cBhvr>
                                      <p:by x="105000" y="105000"/>
                                    </p:animScale>
                                  </p:childTnLst>
                                </p:cTn>
                              </p:par>
                            </p:childTnLst>
                          </p:cTn>
                        </p:par>
                      </p:childTnLst>
                    </p:cTn>
                  </p:par>
                  <p:par>
                    <p:cTn id="105" fill="hold">
                      <p:stCondLst>
                        <p:cond delay="indefinite"/>
                      </p:stCondLst>
                      <p:childTnLst>
                        <p:par>
                          <p:cTn id="106" fill="hold">
                            <p:stCondLst>
                              <p:cond delay="0"/>
                            </p:stCondLst>
                            <p:childTnLst>
                              <p:par>
                                <p:cTn id="107" presetID="22" presetClass="entr" presetSubtype="4" fill="hold" grpId="0" nodeType="clickEffect">
                                  <p:stCondLst>
                                    <p:cond delay="0"/>
                                  </p:stCondLst>
                                  <p:childTnLst>
                                    <p:set>
                                      <p:cBhvr>
                                        <p:cTn id="108" dur="1" fill="hold">
                                          <p:stCondLst>
                                            <p:cond delay="0"/>
                                          </p:stCondLst>
                                        </p:cTn>
                                        <p:tgtEl>
                                          <p:spTgt spid="41"/>
                                        </p:tgtEl>
                                        <p:attrNameLst>
                                          <p:attrName>style.visibility</p:attrName>
                                        </p:attrNameLst>
                                      </p:cBhvr>
                                      <p:to>
                                        <p:strVal val="visible"/>
                                      </p:to>
                                    </p:set>
                                    <p:animEffect transition="in" filter="wipe(down)">
                                      <p:cBhvr>
                                        <p:cTn id="109"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2" grpId="0" animBg="1"/>
      <p:bldP spid="4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28820" y="356117"/>
            <a:ext cx="8566150" cy="747713"/>
          </a:xfrm>
          <a:prstGeom prst="rect">
            <a:avLst/>
          </a:prstGeom>
        </p:spPr>
        <p:txBody>
          <a:bodyPr vert="horz" wrap="square" lIns="0" tIns="0" rIns="0" bIns="0" numCol="1" anchor="t" anchorCtr="0" compatLnSpc="1">
            <a:prstTxWarp prst="textNoShape">
              <a:avLst/>
            </a:prstTxWarp>
            <a:spAutoFit/>
          </a:bodyPr>
          <a:lstStyle>
            <a:lvl1pPr algn="l" defTabSz="912813" rtl="0" fontAlgn="base">
              <a:lnSpc>
                <a:spcPct val="90000"/>
              </a:lnSpc>
              <a:spcBef>
                <a:spcPct val="0"/>
              </a:spcBef>
              <a:spcAft>
                <a:spcPct val="0"/>
              </a:spcAft>
              <a:defRPr lang="en-US" sz="5400" kern="1200" spc="-100" baseline="0" dirty="0">
                <a:ln w="3175">
                  <a:noFill/>
                </a:ln>
                <a:solidFill>
                  <a:srgbClr val="FFC000"/>
                </a:solidFill>
                <a:latin typeface="Segoe UI Light" pitchFamily="34" charset="0"/>
                <a:ea typeface="ＭＳ Ｐゴシック" panose="020B0600070205080204" pitchFamily="34" charset="-128"/>
                <a:cs typeface="Arial" charset="0"/>
              </a:defRPr>
            </a:lvl1pPr>
            <a:lvl2pPr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2pPr>
            <a:lvl3pPr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3pPr>
            <a:lvl4pPr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4pPr>
            <a:lvl5pPr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5pPr>
            <a:lvl6pPr marL="457200"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6pPr>
            <a:lvl7pPr marL="914400"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7pPr>
            <a:lvl8pPr marL="1371600"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8pPr>
            <a:lvl9pPr marL="1828800" algn="l" defTabSz="912813" rtl="0" fontAlgn="base">
              <a:lnSpc>
                <a:spcPct val="90000"/>
              </a:lnSpc>
              <a:spcBef>
                <a:spcPct val="0"/>
              </a:spcBef>
              <a:spcAft>
                <a:spcPct val="0"/>
              </a:spcAft>
              <a:defRPr sz="5400">
                <a:solidFill>
                  <a:schemeClr val="tx1"/>
                </a:solidFill>
                <a:latin typeface="Segoe UI Light" panose="020B0502040204020203" pitchFamily="34" charset="0"/>
                <a:ea typeface="ＭＳ Ｐゴシック" panose="020B0600070205080204" pitchFamily="34" charset="-128"/>
              </a:defRPr>
            </a:lvl9pPr>
          </a:lstStyle>
          <a:p>
            <a:r>
              <a:rPr lang="en-US" dirty="0">
                <a:solidFill>
                  <a:schemeClr val="tx1"/>
                </a:solidFill>
              </a:rPr>
              <a:t>DNS Scenarios</a:t>
            </a:r>
          </a:p>
        </p:txBody>
      </p:sp>
      <p:sp>
        <p:nvSpPr>
          <p:cNvPr id="5" name="Rectangle 4"/>
          <p:cNvSpPr/>
          <p:nvPr/>
        </p:nvSpPr>
        <p:spPr bwMode="auto">
          <a:xfrm>
            <a:off x="6328449" y="1226168"/>
            <a:ext cx="5293858" cy="551353"/>
          </a:xfrm>
          <a:prstGeom prst="rect">
            <a:avLst/>
          </a:prstGeom>
          <a:solidFill>
            <a:srgbClr val="051A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defTabSz="914023" fontAlgn="base">
              <a:spcBef>
                <a:spcPct val="0"/>
              </a:spcBef>
              <a:spcAft>
                <a:spcPct val="0"/>
              </a:spcAft>
            </a:pPr>
            <a:r>
              <a:rPr lang="en-US" sz="2300" dirty="0">
                <a:gradFill>
                  <a:gsLst>
                    <a:gs pos="0">
                      <a:srgbClr val="FFFFFF"/>
                    </a:gs>
                    <a:gs pos="100000">
                      <a:srgbClr val="FFFFFF"/>
                    </a:gs>
                  </a:gsLst>
                  <a:lin ang="5400000" scaled="0"/>
                </a:gradFill>
              </a:rPr>
              <a:t>Windows Azure DNS Scenarios</a:t>
            </a:r>
          </a:p>
        </p:txBody>
      </p:sp>
      <p:sp>
        <p:nvSpPr>
          <p:cNvPr id="6" name="Rectangle 5"/>
          <p:cNvSpPr/>
          <p:nvPr/>
        </p:nvSpPr>
        <p:spPr bwMode="auto">
          <a:xfrm>
            <a:off x="541826" y="4016123"/>
            <a:ext cx="5293858" cy="551353"/>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defTabSz="914023" fontAlgn="base">
              <a:spcBef>
                <a:spcPct val="0"/>
              </a:spcBef>
              <a:spcAft>
                <a:spcPct val="0"/>
              </a:spcAft>
            </a:pPr>
            <a:r>
              <a:rPr lang="en-US" sz="2300" dirty="0">
                <a:gradFill>
                  <a:gsLst>
                    <a:gs pos="0">
                      <a:srgbClr val="FFFFFF"/>
                    </a:gs>
                    <a:gs pos="100000">
                      <a:srgbClr val="FFFFFF"/>
                    </a:gs>
                  </a:gsLst>
                  <a:lin ang="5400000" scaled="0"/>
                </a:gradFill>
              </a:rPr>
              <a:t>Use your own DNS Scenarios</a:t>
            </a:r>
          </a:p>
        </p:txBody>
      </p:sp>
      <p:sp>
        <p:nvSpPr>
          <p:cNvPr id="7" name="Rectangle 6"/>
          <p:cNvSpPr/>
          <p:nvPr/>
        </p:nvSpPr>
        <p:spPr bwMode="auto">
          <a:xfrm>
            <a:off x="6328449" y="1777523"/>
            <a:ext cx="5293858" cy="22533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91432" rIns="91428" bIns="91432" numCol="1" rtlCol="0" anchor="t" anchorCtr="0" compatLnSpc="1">
            <a:prstTxWarp prst="textNoShape">
              <a:avLst/>
            </a:prstTxWarp>
          </a:bodyPr>
          <a:lstStyle/>
          <a:p>
            <a:pPr defTabSz="914023" fontAlgn="base">
              <a:spcBef>
                <a:spcPct val="0"/>
              </a:spcBef>
              <a:spcAft>
                <a:spcPct val="0"/>
              </a:spcAft>
            </a:pPr>
            <a:r>
              <a:rPr lang="en-US" sz="1500" b="1" dirty="0">
                <a:solidFill>
                  <a:schemeClr val="tx2">
                    <a:lumMod val="50000"/>
                    <a:alpha val="99000"/>
                  </a:schemeClr>
                </a:solidFill>
              </a:rPr>
              <a:t>A</a:t>
            </a:r>
            <a:r>
              <a:rPr lang="en-US" sz="1500" dirty="0">
                <a:solidFill>
                  <a:schemeClr val="tx2">
                    <a:lumMod val="50000"/>
                    <a:alpha val="99000"/>
                  </a:schemeClr>
                </a:solidFill>
              </a:rPr>
              <a:t>. Client-server applications using VMs</a:t>
            </a:r>
          </a:p>
        </p:txBody>
      </p:sp>
      <p:sp>
        <p:nvSpPr>
          <p:cNvPr id="8" name="Rectangle 7"/>
          <p:cNvSpPr/>
          <p:nvPr/>
        </p:nvSpPr>
        <p:spPr bwMode="auto">
          <a:xfrm>
            <a:off x="541826" y="4567476"/>
            <a:ext cx="5293858" cy="22533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91432" rIns="91428" bIns="91432" numCol="1" rtlCol="0" anchor="t" anchorCtr="0" compatLnSpc="1">
            <a:prstTxWarp prst="textNoShape">
              <a:avLst/>
            </a:prstTxWarp>
          </a:bodyPr>
          <a:lstStyle/>
          <a:p>
            <a:pPr defTabSz="914023" fontAlgn="base">
              <a:spcBef>
                <a:spcPct val="0"/>
              </a:spcBef>
              <a:spcAft>
                <a:spcPct val="0"/>
              </a:spcAft>
            </a:pPr>
            <a:r>
              <a:rPr lang="en-US" sz="1500" b="1" dirty="0">
                <a:solidFill>
                  <a:schemeClr val="tx2">
                    <a:lumMod val="50000"/>
                    <a:alpha val="99000"/>
                  </a:schemeClr>
                </a:solidFill>
              </a:rPr>
              <a:t>B</a:t>
            </a:r>
            <a:r>
              <a:rPr lang="en-US" sz="1500" dirty="0">
                <a:solidFill>
                  <a:schemeClr val="tx2">
                    <a:lumMod val="50000"/>
                    <a:alpha val="99000"/>
                  </a:schemeClr>
                </a:solidFill>
              </a:rPr>
              <a:t>. Hybrid connectivity with on-premise (DNS on-premise)</a:t>
            </a:r>
          </a:p>
        </p:txBody>
      </p:sp>
      <p:sp>
        <p:nvSpPr>
          <p:cNvPr id="9" name="Rectangle 8"/>
          <p:cNvSpPr/>
          <p:nvPr/>
        </p:nvSpPr>
        <p:spPr bwMode="auto">
          <a:xfrm>
            <a:off x="6328449" y="4465875"/>
            <a:ext cx="5293858" cy="22533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91432" rIns="91428" bIns="91432" numCol="1" rtlCol="0" anchor="t" anchorCtr="0" compatLnSpc="1">
            <a:prstTxWarp prst="textNoShape">
              <a:avLst/>
            </a:prstTxWarp>
          </a:bodyPr>
          <a:lstStyle/>
          <a:p>
            <a:pPr defTabSz="914023" fontAlgn="base">
              <a:spcBef>
                <a:spcPct val="0"/>
              </a:spcBef>
              <a:spcAft>
                <a:spcPct val="0"/>
              </a:spcAft>
            </a:pPr>
            <a:r>
              <a:rPr lang="en-US" sz="1500" b="1" dirty="0">
                <a:solidFill>
                  <a:schemeClr val="tx2">
                    <a:lumMod val="50000"/>
                    <a:alpha val="99000"/>
                  </a:schemeClr>
                </a:solidFill>
              </a:rPr>
              <a:t>C</a:t>
            </a:r>
            <a:r>
              <a:rPr lang="en-US" sz="1500" dirty="0">
                <a:solidFill>
                  <a:schemeClr val="tx2">
                    <a:lumMod val="50000"/>
                    <a:alpha val="99000"/>
                  </a:schemeClr>
                </a:solidFill>
              </a:rPr>
              <a:t>. SharePoint with custom DNS (VM)</a:t>
            </a:r>
          </a:p>
        </p:txBody>
      </p:sp>
      <p:sp>
        <p:nvSpPr>
          <p:cNvPr id="10" name="Freeform 53"/>
          <p:cNvSpPr>
            <a:spLocks noEditPoints="1"/>
          </p:cNvSpPr>
          <p:nvPr/>
        </p:nvSpPr>
        <p:spPr bwMode="black">
          <a:xfrm>
            <a:off x="6492032" y="2591594"/>
            <a:ext cx="771267" cy="870403"/>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051A92"/>
          </a:solidFill>
          <a:ln>
            <a:noFill/>
          </a:ln>
          <a:extLst/>
        </p:spPr>
        <p:txBody>
          <a:bodyPr vert="horz" wrap="square" lIns="91432" tIns="45717" rIns="91432" bIns="45717" numCol="1" anchor="t" anchorCtr="0" compatLnSpc="1">
            <a:prstTxWarp prst="textNoShape">
              <a:avLst/>
            </a:prstTxWarp>
          </a:bodyPr>
          <a:lstStyle/>
          <a:p>
            <a:endParaRPr lang="en-US" dirty="0"/>
          </a:p>
        </p:txBody>
      </p:sp>
      <p:grpSp>
        <p:nvGrpSpPr>
          <p:cNvPr id="11" name="Group 10"/>
          <p:cNvGrpSpPr/>
          <p:nvPr/>
        </p:nvGrpSpPr>
        <p:grpSpPr>
          <a:xfrm>
            <a:off x="7753065" y="2400393"/>
            <a:ext cx="914400" cy="1252807"/>
            <a:chOff x="1889125" y="2338073"/>
            <a:chExt cx="914400" cy="1252807"/>
          </a:xfrm>
          <a:solidFill>
            <a:srgbClr val="051A92"/>
          </a:solidFill>
        </p:grpSpPr>
        <p:sp>
          <p:nvSpPr>
            <p:cNvPr id="12" name="Rectangle 11"/>
            <p:cNvSpPr/>
            <p:nvPr/>
          </p:nvSpPr>
          <p:spPr bwMode="auto">
            <a:xfrm>
              <a:off x="1889125" y="2338073"/>
              <a:ext cx="914400" cy="12528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18288" numCol="1" rtlCol="0" anchor="b" anchorCtr="0" compatLnSpc="1">
              <a:prstTxWarp prst="textNoShape">
                <a:avLst/>
              </a:prstTxWarp>
            </a:bodyPr>
            <a:lstStyle/>
            <a:p>
              <a:pPr algn="ctr" defTabSz="914023" fontAlgn="base">
                <a:lnSpc>
                  <a:spcPct val="90000"/>
                </a:lnSpc>
                <a:spcBef>
                  <a:spcPct val="0"/>
                </a:spcBef>
                <a:spcAft>
                  <a:spcPct val="0"/>
                </a:spcAft>
              </a:pPr>
              <a:r>
                <a:rPr lang="en-US" sz="1500" dirty="0">
                  <a:gradFill>
                    <a:gsLst>
                      <a:gs pos="0">
                        <a:srgbClr val="FFFFFF"/>
                      </a:gs>
                      <a:gs pos="100000">
                        <a:srgbClr val="FFFFFF"/>
                      </a:gs>
                    </a:gsLst>
                    <a:lin ang="5400000" scaled="0"/>
                  </a:gradFill>
                </a:rPr>
                <a:t> VM</a:t>
              </a:r>
            </a:p>
          </p:txBody>
        </p:sp>
        <p:sp>
          <p:nvSpPr>
            <p:cNvPr id="13" name="Rectangle 12"/>
            <p:cNvSpPr/>
            <p:nvPr/>
          </p:nvSpPr>
          <p:spPr bwMode="auto">
            <a:xfrm>
              <a:off x="1924731" y="2438399"/>
              <a:ext cx="843189" cy="67373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18288" numCol="1" rtlCol="0" anchor="ctr" anchorCtr="0" compatLnSpc="1">
              <a:prstTxWarp prst="textNoShape">
                <a:avLst/>
              </a:prstTxWarp>
            </a:bodyPr>
            <a:lstStyle/>
            <a:p>
              <a:pPr algn="ctr" defTabSz="914023" fontAlgn="base">
                <a:lnSpc>
                  <a:spcPct val="90000"/>
                </a:lnSpc>
                <a:spcBef>
                  <a:spcPct val="0"/>
                </a:spcBef>
                <a:spcAft>
                  <a:spcPct val="0"/>
                </a:spcAft>
              </a:pPr>
              <a:r>
                <a:rPr lang="en-US" sz="1200" dirty="0">
                  <a:solidFill>
                    <a:schemeClr val="bg1"/>
                  </a:solidFill>
                </a:rPr>
                <a:t>SQL Reporting Service</a:t>
              </a:r>
            </a:p>
          </p:txBody>
        </p:sp>
      </p:grpSp>
      <p:grpSp>
        <p:nvGrpSpPr>
          <p:cNvPr id="14" name="Group 13"/>
          <p:cNvGrpSpPr/>
          <p:nvPr/>
        </p:nvGrpSpPr>
        <p:grpSpPr>
          <a:xfrm>
            <a:off x="9157234" y="2400393"/>
            <a:ext cx="914400" cy="1252807"/>
            <a:chOff x="1889125" y="2338073"/>
            <a:chExt cx="914400" cy="1252807"/>
          </a:xfrm>
          <a:solidFill>
            <a:srgbClr val="051A92"/>
          </a:solidFill>
        </p:grpSpPr>
        <p:sp>
          <p:nvSpPr>
            <p:cNvPr id="15" name="Rectangle 14"/>
            <p:cNvSpPr/>
            <p:nvPr/>
          </p:nvSpPr>
          <p:spPr bwMode="auto">
            <a:xfrm>
              <a:off x="1889125" y="2338073"/>
              <a:ext cx="914400" cy="12528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18288" numCol="1" rtlCol="0" anchor="b" anchorCtr="0" compatLnSpc="1">
              <a:prstTxWarp prst="textNoShape">
                <a:avLst/>
              </a:prstTxWarp>
            </a:bodyPr>
            <a:lstStyle/>
            <a:p>
              <a:pPr algn="ctr" defTabSz="914023" fontAlgn="base">
                <a:lnSpc>
                  <a:spcPct val="90000"/>
                </a:lnSpc>
                <a:spcBef>
                  <a:spcPct val="0"/>
                </a:spcBef>
                <a:spcAft>
                  <a:spcPct val="0"/>
                </a:spcAft>
              </a:pPr>
              <a:r>
                <a:rPr lang="en-US" sz="1500" dirty="0">
                  <a:gradFill>
                    <a:gsLst>
                      <a:gs pos="0">
                        <a:srgbClr val="FFFFFF"/>
                      </a:gs>
                      <a:gs pos="100000">
                        <a:srgbClr val="FFFFFF"/>
                      </a:gs>
                    </a:gsLst>
                    <a:lin ang="5400000" scaled="0"/>
                  </a:gradFill>
                </a:rPr>
                <a:t> VM</a:t>
              </a:r>
            </a:p>
          </p:txBody>
        </p:sp>
        <p:sp>
          <p:nvSpPr>
            <p:cNvPr id="16" name="Rectangle 15"/>
            <p:cNvSpPr/>
            <p:nvPr/>
          </p:nvSpPr>
          <p:spPr bwMode="auto">
            <a:xfrm>
              <a:off x="1924731" y="2438399"/>
              <a:ext cx="843189" cy="67373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18288" numCol="1" rtlCol="0" anchor="ctr" anchorCtr="0" compatLnSpc="1">
              <a:prstTxWarp prst="textNoShape">
                <a:avLst/>
              </a:prstTxWarp>
            </a:bodyPr>
            <a:lstStyle/>
            <a:p>
              <a:pPr algn="ctr" defTabSz="914023" fontAlgn="base">
                <a:lnSpc>
                  <a:spcPct val="90000"/>
                </a:lnSpc>
                <a:spcBef>
                  <a:spcPct val="0"/>
                </a:spcBef>
                <a:spcAft>
                  <a:spcPct val="0"/>
                </a:spcAft>
              </a:pPr>
              <a:r>
                <a:rPr lang="en-US" sz="1200" dirty="0">
                  <a:solidFill>
                    <a:schemeClr val="bg1"/>
                  </a:solidFill>
                </a:rPr>
                <a:t>SQL Analysis Service</a:t>
              </a:r>
            </a:p>
          </p:txBody>
        </p:sp>
      </p:grpSp>
      <p:grpSp>
        <p:nvGrpSpPr>
          <p:cNvPr id="17" name="Group 16"/>
          <p:cNvGrpSpPr/>
          <p:nvPr/>
        </p:nvGrpSpPr>
        <p:grpSpPr>
          <a:xfrm>
            <a:off x="10561403" y="2400393"/>
            <a:ext cx="914400" cy="1252807"/>
            <a:chOff x="1889125" y="2338073"/>
            <a:chExt cx="914400" cy="1252807"/>
          </a:xfrm>
          <a:solidFill>
            <a:srgbClr val="051A92"/>
          </a:solidFill>
        </p:grpSpPr>
        <p:sp>
          <p:nvSpPr>
            <p:cNvPr id="18" name="Rectangle 17"/>
            <p:cNvSpPr/>
            <p:nvPr/>
          </p:nvSpPr>
          <p:spPr bwMode="auto">
            <a:xfrm>
              <a:off x="1889125" y="2338073"/>
              <a:ext cx="914400" cy="125280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18288" numCol="1" rtlCol="0" anchor="b" anchorCtr="0" compatLnSpc="1">
              <a:prstTxWarp prst="textNoShape">
                <a:avLst/>
              </a:prstTxWarp>
            </a:bodyPr>
            <a:lstStyle/>
            <a:p>
              <a:pPr algn="ctr" defTabSz="914023" fontAlgn="base">
                <a:lnSpc>
                  <a:spcPct val="90000"/>
                </a:lnSpc>
                <a:spcBef>
                  <a:spcPct val="0"/>
                </a:spcBef>
                <a:spcAft>
                  <a:spcPct val="0"/>
                </a:spcAft>
              </a:pPr>
              <a:r>
                <a:rPr lang="en-US" sz="1500" dirty="0">
                  <a:gradFill>
                    <a:gsLst>
                      <a:gs pos="0">
                        <a:srgbClr val="FFFFFF"/>
                      </a:gs>
                      <a:gs pos="100000">
                        <a:srgbClr val="FFFFFF"/>
                      </a:gs>
                    </a:gsLst>
                    <a:lin ang="5400000" scaled="0"/>
                  </a:gradFill>
                </a:rPr>
                <a:t> VM</a:t>
              </a:r>
            </a:p>
          </p:txBody>
        </p:sp>
        <p:sp>
          <p:nvSpPr>
            <p:cNvPr id="19" name="Flowchart: Magnetic Disk 18"/>
            <p:cNvSpPr/>
            <p:nvPr/>
          </p:nvSpPr>
          <p:spPr bwMode="auto">
            <a:xfrm>
              <a:off x="1924731" y="2438399"/>
              <a:ext cx="843189" cy="673736"/>
            </a:xfrm>
            <a:prstGeom prst="flowChartMagneticDisk">
              <a:avLst/>
            </a:prstGeom>
            <a:grp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18288" numCol="1" rtlCol="0" anchor="t" anchorCtr="0" compatLnSpc="1">
              <a:prstTxWarp prst="textNoShape">
                <a:avLst/>
              </a:prstTxWarp>
            </a:bodyPr>
            <a:lstStyle/>
            <a:p>
              <a:pPr algn="ctr" defTabSz="914023" fontAlgn="base">
                <a:lnSpc>
                  <a:spcPct val="90000"/>
                </a:lnSpc>
                <a:spcBef>
                  <a:spcPct val="0"/>
                </a:spcBef>
                <a:spcAft>
                  <a:spcPct val="0"/>
                </a:spcAft>
              </a:pPr>
              <a:r>
                <a:rPr lang="en-US" sz="1200" dirty="0">
                  <a:solidFill>
                    <a:schemeClr val="bg1"/>
                  </a:solidFill>
                </a:rPr>
                <a:t>SQL </a:t>
              </a:r>
              <a:br>
                <a:rPr lang="en-US" sz="1200" dirty="0">
                  <a:solidFill>
                    <a:schemeClr val="bg1"/>
                  </a:solidFill>
                </a:rPr>
              </a:br>
              <a:r>
                <a:rPr lang="en-US" sz="1200" dirty="0">
                  <a:solidFill>
                    <a:schemeClr val="bg1"/>
                  </a:solidFill>
                </a:rPr>
                <a:t>Service</a:t>
              </a:r>
            </a:p>
          </p:txBody>
        </p:sp>
      </p:grpSp>
      <p:cxnSp>
        <p:nvCxnSpPr>
          <p:cNvPr id="20" name="Straight Arrow Connector 19"/>
          <p:cNvCxnSpPr/>
          <p:nvPr/>
        </p:nvCxnSpPr>
        <p:spPr>
          <a:xfrm flipH="1">
            <a:off x="7281526" y="3026793"/>
            <a:ext cx="507147" cy="0"/>
          </a:xfrm>
          <a:prstGeom prst="straightConnector1">
            <a:avLst/>
          </a:prstGeom>
          <a:ln w="57150">
            <a:solidFill>
              <a:schemeClr val="tx2"/>
            </a:solidFill>
            <a:headEnd type="triangle" w="med" len="sm"/>
            <a:tailEnd type="non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8650089" y="3026793"/>
            <a:ext cx="507147" cy="0"/>
          </a:xfrm>
          <a:prstGeom prst="straightConnector1">
            <a:avLst/>
          </a:prstGeom>
          <a:ln w="57150">
            <a:solidFill>
              <a:schemeClr val="tx2"/>
            </a:solidFill>
            <a:headEnd type="triangle" w="med" len="sm"/>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H="1">
            <a:off x="10071635" y="3026793"/>
            <a:ext cx="507147" cy="0"/>
          </a:xfrm>
          <a:prstGeom prst="straightConnector1">
            <a:avLst/>
          </a:prstGeom>
          <a:ln w="57150">
            <a:solidFill>
              <a:schemeClr val="tx2"/>
            </a:solidFill>
            <a:headEnd type="triangle" w="med" len="sm"/>
            <a:tail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bwMode="auto">
          <a:xfrm>
            <a:off x="705057" y="4993697"/>
            <a:ext cx="1626791" cy="1736664"/>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0" tIns="18286" rIns="27430" bIns="18286" numCol="1" rtlCol="0" anchor="b" anchorCtr="0" compatLnSpc="1">
            <a:prstTxWarp prst="textNoShape">
              <a:avLst/>
            </a:prstTxWarp>
          </a:bodyPr>
          <a:lstStyle/>
          <a:p>
            <a:pPr algn="ctr" defTabSz="914023" fontAlgn="base">
              <a:lnSpc>
                <a:spcPct val="90000"/>
              </a:lnSpc>
              <a:spcBef>
                <a:spcPct val="0"/>
              </a:spcBef>
              <a:spcAft>
                <a:spcPct val="0"/>
              </a:spcAft>
            </a:pPr>
            <a:r>
              <a:rPr lang="en-US" sz="1200" dirty="0">
                <a:gradFill>
                  <a:gsLst>
                    <a:gs pos="0">
                      <a:srgbClr val="FFFFFF"/>
                    </a:gs>
                    <a:gs pos="100000">
                      <a:srgbClr val="FFFFFF"/>
                    </a:gs>
                  </a:gsLst>
                  <a:lin ang="5400000" scaled="0"/>
                </a:gradFill>
              </a:rPr>
              <a:t>On-Premises Machine</a:t>
            </a:r>
          </a:p>
        </p:txBody>
      </p:sp>
      <p:sp>
        <p:nvSpPr>
          <p:cNvPr id="24" name="Rectangle 23"/>
          <p:cNvSpPr/>
          <p:nvPr/>
        </p:nvSpPr>
        <p:spPr bwMode="auto">
          <a:xfrm>
            <a:off x="882137" y="5078342"/>
            <a:ext cx="1272632" cy="2702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0" tIns="18286" rIns="27430" bIns="18286" numCol="1" rtlCol="0" anchor="ctr" anchorCtr="0" compatLnSpc="1">
            <a:prstTxWarp prst="textNoShape">
              <a:avLst/>
            </a:prstTxWarp>
          </a:bodyPr>
          <a:lstStyle/>
          <a:p>
            <a:pPr algn="ctr" defTabSz="914023" fontAlgn="base">
              <a:lnSpc>
                <a:spcPct val="90000"/>
              </a:lnSpc>
              <a:spcBef>
                <a:spcPct val="0"/>
              </a:spcBef>
              <a:spcAft>
                <a:spcPct val="0"/>
              </a:spcAft>
            </a:pPr>
            <a:r>
              <a:rPr lang="en-US" sz="1100" dirty="0">
                <a:solidFill>
                  <a:schemeClr val="tx2"/>
                </a:solidFill>
              </a:rPr>
              <a:t>Active Directory</a:t>
            </a:r>
          </a:p>
        </p:txBody>
      </p:sp>
      <p:sp>
        <p:nvSpPr>
          <p:cNvPr id="25" name="Rectangle 24"/>
          <p:cNvSpPr/>
          <p:nvPr/>
        </p:nvSpPr>
        <p:spPr bwMode="auto">
          <a:xfrm>
            <a:off x="882133" y="5594030"/>
            <a:ext cx="1272632" cy="2702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0" tIns="18286" rIns="27430" bIns="18286" numCol="1" rtlCol="0" anchor="ctr" anchorCtr="0" compatLnSpc="1">
            <a:prstTxWarp prst="textNoShape">
              <a:avLst/>
            </a:prstTxWarp>
          </a:bodyPr>
          <a:lstStyle/>
          <a:p>
            <a:pPr algn="ctr" defTabSz="914023" fontAlgn="base">
              <a:lnSpc>
                <a:spcPct val="90000"/>
              </a:lnSpc>
              <a:spcBef>
                <a:spcPct val="0"/>
              </a:spcBef>
              <a:spcAft>
                <a:spcPct val="0"/>
              </a:spcAft>
            </a:pPr>
            <a:r>
              <a:rPr lang="en-US" sz="1100" dirty="0">
                <a:solidFill>
                  <a:schemeClr val="tx2"/>
                </a:solidFill>
              </a:rPr>
              <a:t>Active Directory</a:t>
            </a:r>
          </a:p>
        </p:txBody>
      </p:sp>
      <p:sp>
        <p:nvSpPr>
          <p:cNvPr id="26" name="Flowchart: Magnetic Disk 25"/>
          <p:cNvSpPr/>
          <p:nvPr/>
        </p:nvSpPr>
        <p:spPr bwMode="auto">
          <a:xfrm>
            <a:off x="882135" y="6109716"/>
            <a:ext cx="1272635" cy="376979"/>
          </a:xfrm>
          <a:prstGeom prst="flowChartMagneticDisk">
            <a:avLst/>
          </a:prstGeom>
          <a:solidFill>
            <a:schemeClr val="bg1"/>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0" tIns="18286" rIns="27430" bIns="18286" numCol="1" rtlCol="0" anchor="t" anchorCtr="0" compatLnSpc="1">
            <a:prstTxWarp prst="textNoShape">
              <a:avLst/>
            </a:prstTxWarp>
          </a:bodyPr>
          <a:lstStyle/>
          <a:p>
            <a:pPr algn="ctr" defTabSz="914023" fontAlgn="base">
              <a:lnSpc>
                <a:spcPct val="90000"/>
              </a:lnSpc>
              <a:spcBef>
                <a:spcPct val="0"/>
              </a:spcBef>
              <a:spcAft>
                <a:spcPct val="0"/>
              </a:spcAft>
            </a:pPr>
            <a:r>
              <a:rPr lang="en-US" sz="1200" dirty="0">
                <a:solidFill>
                  <a:schemeClr val="tx2"/>
                </a:solidFill>
              </a:rPr>
              <a:t>SQL Service</a:t>
            </a:r>
          </a:p>
        </p:txBody>
      </p:sp>
      <p:cxnSp>
        <p:nvCxnSpPr>
          <p:cNvPr id="27" name="Straight Arrow Connector 26"/>
          <p:cNvCxnSpPr/>
          <p:nvPr/>
        </p:nvCxnSpPr>
        <p:spPr>
          <a:xfrm flipH="1" flipV="1">
            <a:off x="1518454" y="5348603"/>
            <a:ext cx="1" cy="245424"/>
          </a:xfrm>
          <a:prstGeom prst="straightConnector1">
            <a:avLst/>
          </a:prstGeom>
          <a:ln w="57150">
            <a:solidFill>
              <a:schemeClr val="bg1"/>
            </a:solidFill>
            <a:headEnd type="triangle" w="med" len="sm"/>
            <a:tailEnd type="non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flipV="1">
            <a:off x="1518455" y="5863465"/>
            <a:ext cx="1" cy="245424"/>
          </a:xfrm>
          <a:prstGeom prst="straightConnector1">
            <a:avLst/>
          </a:prstGeom>
          <a:ln w="57150">
            <a:solidFill>
              <a:schemeClr val="bg1"/>
            </a:solidFill>
            <a:headEnd type="triangle" w="med" len="sm"/>
            <a:tailEnd type="none"/>
          </a:ln>
        </p:spPr>
        <p:style>
          <a:lnRef idx="1">
            <a:schemeClr val="accent1"/>
          </a:lnRef>
          <a:fillRef idx="0">
            <a:schemeClr val="accent1"/>
          </a:fillRef>
          <a:effectRef idx="0">
            <a:schemeClr val="accent1"/>
          </a:effectRef>
          <a:fontRef idx="minor">
            <a:schemeClr val="tx1"/>
          </a:fontRef>
        </p:style>
      </p:cxnSp>
      <p:sp>
        <p:nvSpPr>
          <p:cNvPr id="29" name="Freeform 128"/>
          <p:cNvSpPr>
            <a:spLocks noChangeAspect="1"/>
          </p:cNvSpPr>
          <p:nvPr/>
        </p:nvSpPr>
        <p:spPr bwMode="black">
          <a:xfrm>
            <a:off x="3229238" y="4973107"/>
            <a:ext cx="2466294" cy="173666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lumMod val="60000"/>
              <a:lumOff val="40000"/>
            </a:schemeClr>
          </a:solidFill>
          <a:ln>
            <a:noFill/>
          </a:ln>
          <a:extLst/>
        </p:spPr>
        <p:txBody>
          <a:bodyPr vert="horz" wrap="square" lIns="91432" tIns="45717" rIns="91432" bIns="45717" numCol="1" anchor="t" anchorCtr="0" compatLnSpc="1">
            <a:prstTxWarp prst="textNoShape">
              <a:avLst/>
            </a:prstTxWarp>
          </a:bodyPr>
          <a:lstStyle/>
          <a:p>
            <a:endParaRPr lang="en-US" dirty="0"/>
          </a:p>
        </p:txBody>
      </p:sp>
      <p:sp>
        <p:nvSpPr>
          <p:cNvPr id="30" name="Freeform 53"/>
          <p:cNvSpPr>
            <a:spLocks noEditPoints="1"/>
          </p:cNvSpPr>
          <p:nvPr/>
        </p:nvSpPr>
        <p:spPr bwMode="black">
          <a:xfrm>
            <a:off x="2655324" y="5001940"/>
            <a:ext cx="573915" cy="647683"/>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051A92"/>
          </a:solidFill>
          <a:ln>
            <a:noFill/>
          </a:ln>
          <a:extLst/>
        </p:spPr>
        <p:txBody>
          <a:bodyPr vert="horz" wrap="square" lIns="91432" tIns="45717" rIns="91432" bIns="45717" numCol="1" anchor="t" anchorCtr="0" compatLnSpc="1">
            <a:prstTxWarp prst="textNoShape">
              <a:avLst/>
            </a:prstTxWarp>
          </a:bodyPr>
          <a:lstStyle/>
          <a:p>
            <a:endParaRPr lang="en-US" dirty="0"/>
          </a:p>
        </p:txBody>
      </p:sp>
      <p:sp>
        <p:nvSpPr>
          <p:cNvPr id="31" name="Rectangular Callout 30"/>
          <p:cNvSpPr/>
          <p:nvPr/>
        </p:nvSpPr>
        <p:spPr bwMode="auto">
          <a:xfrm>
            <a:off x="3953818" y="6392160"/>
            <a:ext cx="1358034" cy="270263"/>
          </a:xfrm>
          <a:prstGeom prst="wedgeRectCallout">
            <a:avLst>
              <a:gd name="adj1" fmla="val 21651"/>
              <a:gd name="adj2" fmla="val -94586"/>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0" tIns="18286" rIns="27430" bIns="18286" numCol="1" rtlCol="0" anchor="ctr" anchorCtr="0" compatLnSpc="1">
            <a:prstTxWarp prst="textNoShape">
              <a:avLst/>
            </a:prstTxWarp>
          </a:bodyPr>
          <a:lstStyle/>
          <a:p>
            <a:pPr algn="ctr" defTabSz="914023" fontAlgn="base">
              <a:lnSpc>
                <a:spcPct val="90000"/>
              </a:lnSpc>
              <a:spcBef>
                <a:spcPct val="0"/>
              </a:spcBef>
              <a:spcAft>
                <a:spcPct val="0"/>
              </a:spcAft>
            </a:pPr>
            <a:r>
              <a:rPr lang="en-US" sz="900" dirty="0">
                <a:solidFill>
                  <a:schemeClr val="tx2"/>
                </a:solidFill>
              </a:rPr>
              <a:t>Domain joined to On-Premises Network</a:t>
            </a:r>
          </a:p>
        </p:txBody>
      </p:sp>
      <p:sp>
        <p:nvSpPr>
          <p:cNvPr id="32" name="Rectangle 31"/>
          <p:cNvSpPr/>
          <p:nvPr/>
        </p:nvSpPr>
        <p:spPr bwMode="auto">
          <a:xfrm>
            <a:off x="3953818" y="4993699"/>
            <a:ext cx="1358034" cy="12857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0" tIns="18286" rIns="27430" bIns="18286" numCol="1" rtlCol="0" anchor="b" anchorCtr="0" compatLnSpc="1">
            <a:prstTxWarp prst="textNoShape">
              <a:avLst/>
            </a:prstTxWarp>
          </a:bodyPr>
          <a:lstStyle/>
          <a:p>
            <a:pPr algn="ctr" defTabSz="914023" fontAlgn="base">
              <a:lnSpc>
                <a:spcPct val="90000"/>
              </a:lnSpc>
              <a:spcBef>
                <a:spcPct val="0"/>
              </a:spcBef>
              <a:spcAft>
                <a:spcPct val="0"/>
              </a:spcAft>
            </a:pPr>
            <a:r>
              <a:rPr lang="en-US" sz="900" dirty="0">
                <a:solidFill>
                  <a:schemeClr val="tx2"/>
                </a:solidFill>
              </a:rPr>
              <a:t>On-Premises Machine</a:t>
            </a:r>
          </a:p>
        </p:txBody>
      </p:sp>
      <p:sp>
        <p:nvSpPr>
          <p:cNvPr id="33" name="Rectangle 32"/>
          <p:cNvSpPr/>
          <p:nvPr/>
        </p:nvSpPr>
        <p:spPr bwMode="auto">
          <a:xfrm>
            <a:off x="4026752" y="5800138"/>
            <a:ext cx="1237706" cy="27026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0" tIns="18286" rIns="27430" bIns="18286" numCol="1" rtlCol="0" anchor="ctr" anchorCtr="0" compatLnSpc="1">
            <a:prstTxWarp prst="textNoShape">
              <a:avLst/>
            </a:prstTxWarp>
          </a:bodyPr>
          <a:lstStyle/>
          <a:p>
            <a:pPr algn="ctr" defTabSz="914023" fontAlgn="base">
              <a:lnSpc>
                <a:spcPct val="90000"/>
              </a:lnSpc>
              <a:spcBef>
                <a:spcPct val="0"/>
              </a:spcBef>
              <a:spcAft>
                <a:spcPct val="0"/>
              </a:spcAft>
            </a:pPr>
            <a:r>
              <a:rPr lang="en-US" sz="900" dirty="0">
                <a:solidFill>
                  <a:schemeClr val="bg1"/>
                </a:solidFill>
              </a:rPr>
              <a:t>Business Components &amp; Entities</a:t>
            </a:r>
          </a:p>
        </p:txBody>
      </p:sp>
      <p:sp>
        <p:nvSpPr>
          <p:cNvPr id="34" name="Rectangle 33"/>
          <p:cNvSpPr/>
          <p:nvPr/>
        </p:nvSpPr>
        <p:spPr>
          <a:xfrm>
            <a:off x="4026752" y="5557613"/>
            <a:ext cx="1237706" cy="258532"/>
          </a:xfrm>
          <a:prstGeom prst="rect">
            <a:avLst/>
          </a:prstGeom>
        </p:spPr>
        <p:txBody>
          <a:bodyPr wrap="square" lIns="0" tIns="0" rIns="0" bIns="0">
            <a:spAutoFit/>
          </a:bodyPr>
          <a:lstStyle/>
          <a:p>
            <a:pPr defTabSz="914023" fontAlgn="base">
              <a:lnSpc>
                <a:spcPct val="90000"/>
              </a:lnSpc>
              <a:spcBef>
                <a:spcPct val="0"/>
              </a:spcBef>
              <a:spcAft>
                <a:spcPct val="0"/>
              </a:spcAft>
            </a:pPr>
            <a:r>
              <a:rPr lang="en-US" sz="900" dirty="0">
                <a:solidFill>
                  <a:srgbClr val="5F5F5F"/>
                </a:solidFill>
              </a:rPr>
              <a:t>On-Premises </a:t>
            </a:r>
            <a:br>
              <a:rPr lang="en-US" sz="900" dirty="0">
                <a:solidFill>
                  <a:srgbClr val="5F5F5F"/>
                </a:solidFill>
              </a:rPr>
            </a:br>
            <a:r>
              <a:rPr lang="en-US" sz="900" dirty="0">
                <a:solidFill>
                  <a:srgbClr val="5F5F5F"/>
                </a:solidFill>
              </a:rPr>
              <a:t>Machine</a:t>
            </a:r>
          </a:p>
        </p:txBody>
      </p:sp>
      <p:sp>
        <p:nvSpPr>
          <p:cNvPr id="35" name="Rectangle 34"/>
          <p:cNvSpPr/>
          <p:nvPr/>
        </p:nvSpPr>
        <p:spPr bwMode="auto">
          <a:xfrm>
            <a:off x="4026752" y="5215889"/>
            <a:ext cx="1237706" cy="27026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0" tIns="18286" rIns="27430" bIns="18286" numCol="1" rtlCol="0" anchor="ctr" anchorCtr="0" compatLnSpc="1">
            <a:prstTxWarp prst="textNoShape">
              <a:avLst/>
            </a:prstTxWarp>
          </a:bodyPr>
          <a:lstStyle/>
          <a:p>
            <a:pPr algn="ctr" defTabSz="914023" fontAlgn="base">
              <a:lnSpc>
                <a:spcPct val="90000"/>
              </a:lnSpc>
              <a:spcBef>
                <a:spcPct val="0"/>
              </a:spcBef>
              <a:spcAft>
                <a:spcPct val="0"/>
              </a:spcAft>
            </a:pPr>
            <a:r>
              <a:rPr lang="en-US" sz="900" dirty="0">
                <a:solidFill>
                  <a:schemeClr val="bg1"/>
                </a:solidFill>
              </a:rPr>
              <a:t>UI Process Components</a:t>
            </a:r>
          </a:p>
        </p:txBody>
      </p:sp>
      <p:sp>
        <p:nvSpPr>
          <p:cNvPr id="36" name="Rectangle 35"/>
          <p:cNvSpPr/>
          <p:nvPr/>
        </p:nvSpPr>
        <p:spPr>
          <a:xfrm>
            <a:off x="4026752" y="5093432"/>
            <a:ext cx="1237706" cy="129267"/>
          </a:xfrm>
          <a:prstGeom prst="rect">
            <a:avLst/>
          </a:prstGeom>
        </p:spPr>
        <p:txBody>
          <a:bodyPr wrap="square" lIns="0" tIns="0" rIns="0" bIns="0">
            <a:spAutoFit/>
          </a:bodyPr>
          <a:lstStyle/>
          <a:p>
            <a:pPr defTabSz="914023" fontAlgn="base">
              <a:lnSpc>
                <a:spcPct val="90000"/>
              </a:lnSpc>
              <a:spcBef>
                <a:spcPct val="0"/>
              </a:spcBef>
              <a:spcAft>
                <a:spcPct val="0"/>
              </a:spcAft>
            </a:pPr>
            <a:r>
              <a:rPr lang="en-US" sz="900" dirty="0">
                <a:solidFill>
                  <a:srgbClr val="5F5F5F"/>
                </a:solidFill>
              </a:rPr>
              <a:t>Web Tier</a:t>
            </a:r>
          </a:p>
        </p:txBody>
      </p:sp>
      <p:cxnSp>
        <p:nvCxnSpPr>
          <p:cNvPr id="37" name="Straight Arrow Connector 36"/>
          <p:cNvCxnSpPr/>
          <p:nvPr/>
        </p:nvCxnSpPr>
        <p:spPr>
          <a:xfrm flipV="1">
            <a:off x="4927924" y="5486151"/>
            <a:ext cx="0" cy="313987"/>
          </a:xfrm>
          <a:prstGeom prst="straightConnector1">
            <a:avLst/>
          </a:prstGeom>
          <a:ln w="57150">
            <a:solidFill>
              <a:schemeClr val="tx2"/>
            </a:solidFill>
            <a:headEnd type="triangle" w="med" len="sm"/>
            <a:tailEnd type="non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H="1" flipV="1">
            <a:off x="3229240" y="5471317"/>
            <a:ext cx="645740" cy="390712"/>
          </a:xfrm>
          <a:prstGeom prst="straightConnector1">
            <a:avLst/>
          </a:prstGeom>
          <a:ln w="57150">
            <a:solidFill>
              <a:schemeClr val="tx2"/>
            </a:solidFill>
            <a:headEnd type="triangle" w="med" len="sm"/>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auto">
          <a:xfrm>
            <a:off x="2240141" y="6085241"/>
            <a:ext cx="1713676" cy="194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0" tIns="18286" rIns="27430" bIns="18286" numCol="1" rtlCol="0" anchor="ctr" anchorCtr="0" compatLnSpc="1">
            <a:prstTxWarp prst="textNoShape">
              <a:avLst/>
            </a:prstTxWarp>
          </a:bodyPr>
          <a:lstStyle/>
          <a:p>
            <a:pPr algn="ctr" defTabSz="914023" fontAlgn="base">
              <a:lnSpc>
                <a:spcPct val="90000"/>
              </a:lnSpc>
              <a:spcBef>
                <a:spcPct val="0"/>
              </a:spcBef>
              <a:spcAft>
                <a:spcPct val="0"/>
              </a:spcAft>
            </a:pPr>
            <a:r>
              <a:rPr lang="en-US" sz="1100" dirty="0">
                <a:solidFill>
                  <a:schemeClr val="bg1"/>
                </a:solidFill>
              </a:rPr>
              <a:t>Active Directory</a:t>
            </a:r>
          </a:p>
        </p:txBody>
      </p:sp>
      <p:sp>
        <p:nvSpPr>
          <p:cNvPr id="40" name="Freeform 128"/>
          <p:cNvSpPr>
            <a:spLocks noChangeAspect="1"/>
          </p:cNvSpPr>
          <p:nvPr/>
        </p:nvSpPr>
        <p:spPr bwMode="black">
          <a:xfrm>
            <a:off x="7305079" y="4906240"/>
            <a:ext cx="4177079" cy="173666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lumMod val="60000"/>
              <a:lumOff val="40000"/>
            </a:schemeClr>
          </a:solidFill>
          <a:ln>
            <a:noFill/>
          </a:ln>
          <a:extLst/>
        </p:spPr>
        <p:txBody>
          <a:bodyPr vert="horz" wrap="square" lIns="91432" tIns="45717" rIns="91432" bIns="45717" numCol="1" anchor="t" anchorCtr="0" compatLnSpc="1">
            <a:prstTxWarp prst="textNoShape">
              <a:avLst/>
            </a:prstTxWarp>
          </a:bodyPr>
          <a:lstStyle/>
          <a:p>
            <a:endParaRPr lang="en-US" dirty="0"/>
          </a:p>
        </p:txBody>
      </p:sp>
      <p:grpSp>
        <p:nvGrpSpPr>
          <p:cNvPr id="41" name="Group 40"/>
          <p:cNvGrpSpPr/>
          <p:nvPr/>
        </p:nvGrpSpPr>
        <p:grpSpPr>
          <a:xfrm>
            <a:off x="6491677" y="5563160"/>
            <a:ext cx="605568" cy="1079747"/>
            <a:chOff x="765542" y="4542715"/>
            <a:chExt cx="605567" cy="1079746"/>
          </a:xfrm>
          <a:solidFill>
            <a:srgbClr val="00188F"/>
          </a:solidFill>
        </p:grpSpPr>
        <p:grpSp>
          <p:nvGrpSpPr>
            <p:cNvPr id="42" name="Group 41"/>
            <p:cNvGrpSpPr/>
            <p:nvPr/>
          </p:nvGrpSpPr>
          <p:grpSpPr>
            <a:xfrm>
              <a:off x="813433" y="4542715"/>
              <a:ext cx="509785" cy="856592"/>
              <a:chOff x="570090" y="4803979"/>
              <a:chExt cx="509785" cy="856592"/>
            </a:xfrm>
            <a:grpFill/>
          </p:grpSpPr>
          <p:sp>
            <p:nvSpPr>
              <p:cNvPr id="44" name="Freeform 53"/>
              <p:cNvSpPr>
                <a:spLocks noEditPoints="1"/>
              </p:cNvSpPr>
              <p:nvPr/>
            </p:nvSpPr>
            <p:spPr bwMode="black">
              <a:xfrm>
                <a:off x="638094" y="4803979"/>
                <a:ext cx="385634" cy="435201"/>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5" name="Freeform 62"/>
              <p:cNvSpPr>
                <a:spLocks noEditPoints="1"/>
              </p:cNvSpPr>
              <p:nvPr/>
            </p:nvSpPr>
            <p:spPr bwMode="black">
              <a:xfrm>
                <a:off x="570090" y="5150920"/>
                <a:ext cx="509785" cy="50965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sz="1600" dirty="0"/>
              </a:p>
            </p:txBody>
          </p:sp>
        </p:grpSp>
        <p:sp>
          <p:nvSpPr>
            <p:cNvPr id="43" name="Rectangle 42"/>
            <p:cNvSpPr/>
            <p:nvPr/>
          </p:nvSpPr>
          <p:spPr bwMode="auto">
            <a:xfrm>
              <a:off x="765542" y="5410186"/>
              <a:ext cx="605567" cy="21227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18288" rIns="0" bIns="18288" numCol="1" rtlCol="0" anchor="ctr" anchorCtr="0" compatLnSpc="1">
              <a:prstTxWarp prst="textNoShape">
                <a:avLst/>
              </a:prstTxWarp>
            </a:bodyPr>
            <a:lstStyle/>
            <a:p>
              <a:pPr algn="ctr" defTabSz="914023" fontAlgn="base">
                <a:lnSpc>
                  <a:spcPct val="90000"/>
                </a:lnSpc>
                <a:spcBef>
                  <a:spcPct val="0"/>
                </a:spcBef>
                <a:spcAft>
                  <a:spcPct val="0"/>
                </a:spcAft>
              </a:pPr>
              <a:r>
                <a:rPr lang="en-US" sz="1200" dirty="0">
                  <a:solidFill>
                    <a:schemeClr val="tx2"/>
                  </a:solidFill>
                </a:rPr>
                <a:t>Internet</a:t>
              </a:r>
            </a:p>
          </p:txBody>
        </p:sp>
      </p:grpSp>
      <p:cxnSp>
        <p:nvCxnSpPr>
          <p:cNvPr id="46" name="Straight Arrow Connector 45"/>
          <p:cNvCxnSpPr/>
          <p:nvPr/>
        </p:nvCxnSpPr>
        <p:spPr>
          <a:xfrm flipH="1">
            <a:off x="7097244" y="5910101"/>
            <a:ext cx="381034" cy="155971"/>
          </a:xfrm>
          <a:prstGeom prst="straightConnector1">
            <a:avLst/>
          </a:prstGeom>
          <a:ln w="57150">
            <a:solidFill>
              <a:schemeClr val="tx2"/>
            </a:solidFill>
            <a:headEnd type="triangle" w="med" len="sm"/>
            <a:tailEnd type="non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8124196" y="6027705"/>
            <a:ext cx="725419" cy="435251"/>
            <a:chOff x="8164285" y="5522317"/>
            <a:chExt cx="914400" cy="548640"/>
          </a:xfrm>
        </p:grpSpPr>
        <p:sp>
          <p:nvSpPr>
            <p:cNvPr id="48" name="Rectangle 47"/>
            <p:cNvSpPr/>
            <p:nvPr/>
          </p:nvSpPr>
          <p:spPr bwMode="auto">
            <a:xfrm>
              <a:off x="8164285" y="5522317"/>
              <a:ext cx="914400" cy="5486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45720" numCol="1" rtlCol="0" anchor="b" anchorCtr="0" compatLnSpc="1">
              <a:prstTxWarp prst="textNoShape">
                <a:avLst/>
              </a:prstTxWarp>
            </a:bodyPr>
            <a:lstStyle/>
            <a:p>
              <a:pPr algn="ctr" defTabSz="914023" fontAlgn="base">
                <a:lnSpc>
                  <a:spcPct val="90000"/>
                </a:lnSpc>
                <a:spcBef>
                  <a:spcPct val="0"/>
                </a:spcBef>
                <a:spcAft>
                  <a:spcPct val="0"/>
                </a:spcAft>
              </a:pPr>
              <a:r>
                <a:rPr lang="en-US" sz="700" dirty="0">
                  <a:solidFill>
                    <a:schemeClr val="tx2"/>
                  </a:solidFill>
                </a:rPr>
                <a:t> VM Role</a:t>
              </a:r>
            </a:p>
          </p:txBody>
        </p:sp>
        <p:sp>
          <p:nvSpPr>
            <p:cNvPr id="49" name="Rectangle 48"/>
            <p:cNvSpPr/>
            <p:nvPr/>
          </p:nvSpPr>
          <p:spPr bwMode="auto">
            <a:xfrm>
              <a:off x="8211750" y="5560753"/>
              <a:ext cx="819471" cy="315244"/>
            </a:xfrm>
            <a:prstGeom prst="rect">
              <a:avLst/>
            </a:prstGeom>
            <a:solidFill>
              <a:srgbClr val="051A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18288" numCol="1" rtlCol="0" anchor="ctr" anchorCtr="0" compatLnSpc="1">
              <a:prstTxWarp prst="textNoShape">
                <a:avLst/>
              </a:prstTxWarp>
            </a:bodyPr>
            <a:lstStyle/>
            <a:p>
              <a:pPr algn="ctr" defTabSz="914023" fontAlgn="base">
                <a:lnSpc>
                  <a:spcPct val="90000"/>
                </a:lnSpc>
                <a:spcBef>
                  <a:spcPct val="0"/>
                </a:spcBef>
                <a:spcAft>
                  <a:spcPct val="0"/>
                </a:spcAft>
              </a:pPr>
              <a:r>
                <a:rPr lang="en-US" sz="700" dirty="0">
                  <a:solidFill>
                    <a:schemeClr val="bg1"/>
                  </a:solidFill>
                </a:rPr>
                <a:t>SharePoint FrontEnd</a:t>
              </a:r>
            </a:p>
          </p:txBody>
        </p:sp>
      </p:grpSp>
      <p:grpSp>
        <p:nvGrpSpPr>
          <p:cNvPr id="50" name="Group 49"/>
          <p:cNvGrpSpPr/>
          <p:nvPr/>
        </p:nvGrpSpPr>
        <p:grpSpPr>
          <a:xfrm>
            <a:off x="8124196" y="5238025"/>
            <a:ext cx="725419" cy="435251"/>
            <a:chOff x="8164285" y="5522317"/>
            <a:chExt cx="914400" cy="548640"/>
          </a:xfrm>
        </p:grpSpPr>
        <p:sp>
          <p:nvSpPr>
            <p:cNvPr id="51" name="Rectangle 50"/>
            <p:cNvSpPr/>
            <p:nvPr/>
          </p:nvSpPr>
          <p:spPr bwMode="auto">
            <a:xfrm>
              <a:off x="8164285" y="5522317"/>
              <a:ext cx="914400" cy="5486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45720" numCol="1" rtlCol="0" anchor="b" anchorCtr="0" compatLnSpc="1">
              <a:prstTxWarp prst="textNoShape">
                <a:avLst/>
              </a:prstTxWarp>
            </a:bodyPr>
            <a:lstStyle/>
            <a:p>
              <a:pPr algn="ctr" defTabSz="914023" fontAlgn="base">
                <a:lnSpc>
                  <a:spcPct val="90000"/>
                </a:lnSpc>
                <a:spcBef>
                  <a:spcPct val="0"/>
                </a:spcBef>
                <a:spcAft>
                  <a:spcPct val="0"/>
                </a:spcAft>
              </a:pPr>
              <a:r>
                <a:rPr lang="en-US" sz="700" dirty="0">
                  <a:solidFill>
                    <a:schemeClr val="tx2"/>
                  </a:solidFill>
                </a:rPr>
                <a:t> VM Role</a:t>
              </a:r>
            </a:p>
          </p:txBody>
        </p:sp>
        <p:sp>
          <p:nvSpPr>
            <p:cNvPr id="52" name="Rectangle 51"/>
            <p:cNvSpPr/>
            <p:nvPr/>
          </p:nvSpPr>
          <p:spPr bwMode="auto">
            <a:xfrm>
              <a:off x="8211750" y="5560753"/>
              <a:ext cx="819471" cy="315244"/>
            </a:xfrm>
            <a:prstGeom prst="rect">
              <a:avLst/>
            </a:prstGeom>
            <a:solidFill>
              <a:srgbClr val="051A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18288" numCol="1" rtlCol="0" anchor="ctr" anchorCtr="0" compatLnSpc="1">
              <a:prstTxWarp prst="textNoShape">
                <a:avLst/>
              </a:prstTxWarp>
            </a:bodyPr>
            <a:lstStyle/>
            <a:p>
              <a:pPr algn="ctr" defTabSz="914023" fontAlgn="base">
                <a:lnSpc>
                  <a:spcPct val="90000"/>
                </a:lnSpc>
                <a:spcBef>
                  <a:spcPct val="0"/>
                </a:spcBef>
                <a:spcAft>
                  <a:spcPct val="0"/>
                </a:spcAft>
              </a:pPr>
              <a:r>
                <a:rPr lang="en-US" sz="700" dirty="0">
                  <a:solidFill>
                    <a:schemeClr val="bg1"/>
                  </a:solidFill>
                </a:rPr>
                <a:t>SharePoint FrontEnd</a:t>
              </a:r>
            </a:p>
          </p:txBody>
        </p:sp>
      </p:grpSp>
      <p:grpSp>
        <p:nvGrpSpPr>
          <p:cNvPr id="53" name="Group 52"/>
          <p:cNvGrpSpPr/>
          <p:nvPr/>
        </p:nvGrpSpPr>
        <p:grpSpPr>
          <a:xfrm>
            <a:off x="9260489" y="6166825"/>
            <a:ext cx="725419" cy="435251"/>
            <a:chOff x="9439431" y="5720416"/>
            <a:chExt cx="725419" cy="435251"/>
          </a:xfrm>
          <a:solidFill>
            <a:srgbClr val="051A92"/>
          </a:solidFill>
        </p:grpSpPr>
        <p:grpSp>
          <p:nvGrpSpPr>
            <p:cNvPr id="54" name="Group 53"/>
            <p:cNvGrpSpPr/>
            <p:nvPr/>
          </p:nvGrpSpPr>
          <p:grpSpPr>
            <a:xfrm>
              <a:off x="9439431" y="5720416"/>
              <a:ext cx="725419" cy="435251"/>
              <a:chOff x="8164285" y="5522317"/>
              <a:chExt cx="914400" cy="548640"/>
            </a:xfrm>
            <a:grpFill/>
          </p:grpSpPr>
          <p:sp>
            <p:nvSpPr>
              <p:cNvPr id="56" name="Rectangle 55"/>
              <p:cNvSpPr/>
              <p:nvPr/>
            </p:nvSpPr>
            <p:spPr bwMode="auto">
              <a:xfrm>
                <a:off x="8164285" y="5522317"/>
                <a:ext cx="914400" cy="5486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45720" numCol="1" rtlCol="0" anchor="b" anchorCtr="0" compatLnSpc="1">
                <a:prstTxWarp prst="textNoShape">
                  <a:avLst/>
                </a:prstTxWarp>
              </a:bodyPr>
              <a:lstStyle/>
              <a:p>
                <a:pPr algn="ctr" defTabSz="914023" fontAlgn="base">
                  <a:lnSpc>
                    <a:spcPct val="90000"/>
                  </a:lnSpc>
                  <a:spcBef>
                    <a:spcPct val="0"/>
                  </a:spcBef>
                  <a:spcAft>
                    <a:spcPct val="0"/>
                  </a:spcAft>
                </a:pPr>
                <a:r>
                  <a:rPr lang="en-US" sz="700" dirty="0">
                    <a:solidFill>
                      <a:schemeClr val="tx2"/>
                    </a:solidFill>
                  </a:rPr>
                  <a:t> VM Role</a:t>
                </a:r>
              </a:p>
            </p:txBody>
          </p:sp>
          <p:sp>
            <p:nvSpPr>
              <p:cNvPr id="57" name="Rectangle 56"/>
              <p:cNvSpPr/>
              <p:nvPr/>
            </p:nvSpPr>
            <p:spPr bwMode="auto">
              <a:xfrm>
                <a:off x="8211750" y="5560753"/>
                <a:ext cx="819471" cy="10825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18288" numCol="1" rtlCol="0" anchor="ctr" anchorCtr="0" compatLnSpc="1">
                <a:prstTxWarp prst="textNoShape">
                  <a:avLst/>
                </a:prstTxWarp>
              </a:bodyPr>
              <a:lstStyle/>
              <a:p>
                <a:pPr algn="ctr" defTabSz="914023" fontAlgn="base">
                  <a:lnSpc>
                    <a:spcPct val="90000"/>
                  </a:lnSpc>
                  <a:spcBef>
                    <a:spcPct val="0"/>
                  </a:spcBef>
                  <a:spcAft>
                    <a:spcPct val="0"/>
                  </a:spcAft>
                </a:pPr>
                <a:r>
                  <a:rPr lang="en-US" sz="700" dirty="0">
                    <a:solidFill>
                      <a:schemeClr val="bg1"/>
                    </a:solidFill>
                  </a:rPr>
                  <a:t>Search and Indes</a:t>
                </a:r>
              </a:p>
            </p:txBody>
          </p:sp>
        </p:grpSp>
        <p:sp>
          <p:nvSpPr>
            <p:cNvPr id="55" name="Flowchart: Magnetic Disk 54"/>
            <p:cNvSpPr/>
            <p:nvPr/>
          </p:nvSpPr>
          <p:spPr bwMode="auto">
            <a:xfrm>
              <a:off x="9477086" y="5846618"/>
              <a:ext cx="650109" cy="168266"/>
            </a:xfrm>
            <a:prstGeom prst="flowChartMagneticDisk">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18288" numCol="1" rtlCol="0" anchor="t" anchorCtr="0" compatLnSpc="1">
              <a:prstTxWarp prst="textNoShape">
                <a:avLst/>
              </a:prstTxWarp>
            </a:bodyPr>
            <a:lstStyle/>
            <a:p>
              <a:pPr algn="ctr" defTabSz="914023" fontAlgn="base">
                <a:lnSpc>
                  <a:spcPct val="90000"/>
                </a:lnSpc>
                <a:spcBef>
                  <a:spcPct val="0"/>
                </a:spcBef>
                <a:spcAft>
                  <a:spcPct val="0"/>
                </a:spcAft>
              </a:pPr>
              <a:r>
                <a:rPr lang="en-US" sz="700" dirty="0">
                  <a:solidFill>
                    <a:schemeClr val="bg1"/>
                  </a:solidFill>
                </a:rPr>
                <a:t>SQL Service</a:t>
              </a:r>
            </a:p>
          </p:txBody>
        </p:sp>
      </p:grpSp>
      <p:grpSp>
        <p:nvGrpSpPr>
          <p:cNvPr id="58" name="Group 57"/>
          <p:cNvGrpSpPr/>
          <p:nvPr/>
        </p:nvGrpSpPr>
        <p:grpSpPr>
          <a:xfrm>
            <a:off x="9219757" y="4942671"/>
            <a:ext cx="725419" cy="544999"/>
            <a:chOff x="9265572" y="4607093"/>
            <a:chExt cx="725419" cy="544999"/>
          </a:xfrm>
        </p:grpSpPr>
        <p:grpSp>
          <p:nvGrpSpPr>
            <p:cNvPr id="59" name="Group 58"/>
            <p:cNvGrpSpPr/>
            <p:nvPr/>
          </p:nvGrpSpPr>
          <p:grpSpPr>
            <a:xfrm>
              <a:off x="9265572" y="4607093"/>
              <a:ext cx="725419" cy="435251"/>
              <a:chOff x="8164285" y="5522317"/>
              <a:chExt cx="914400" cy="548640"/>
            </a:xfrm>
          </p:grpSpPr>
          <p:sp>
            <p:nvSpPr>
              <p:cNvPr id="62" name="Rectangle 61"/>
              <p:cNvSpPr/>
              <p:nvPr/>
            </p:nvSpPr>
            <p:spPr bwMode="auto">
              <a:xfrm>
                <a:off x="8164285" y="5522317"/>
                <a:ext cx="914400" cy="5486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45720" numCol="1" rtlCol="0" anchor="b" anchorCtr="0" compatLnSpc="1">
                <a:prstTxWarp prst="textNoShape">
                  <a:avLst/>
                </a:prstTxWarp>
              </a:bodyPr>
              <a:lstStyle/>
              <a:p>
                <a:pPr algn="ctr" defTabSz="914023" fontAlgn="base">
                  <a:lnSpc>
                    <a:spcPct val="90000"/>
                  </a:lnSpc>
                  <a:spcBef>
                    <a:spcPct val="0"/>
                  </a:spcBef>
                  <a:spcAft>
                    <a:spcPct val="0"/>
                  </a:spcAft>
                </a:pPr>
                <a:r>
                  <a:rPr lang="en-US" sz="600" dirty="0">
                    <a:solidFill>
                      <a:schemeClr val="tx2"/>
                    </a:solidFill>
                  </a:rPr>
                  <a:t> VM Role</a:t>
                </a:r>
              </a:p>
            </p:txBody>
          </p:sp>
          <p:sp>
            <p:nvSpPr>
              <p:cNvPr id="63" name="Rectangle 62"/>
              <p:cNvSpPr/>
              <p:nvPr/>
            </p:nvSpPr>
            <p:spPr bwMode="auto">
              <a:xfrm>
                <a:off x="8211751" y="5560753"/>
                <a:ext cx="369892" cy="315244"/>
              </a:xfrm>
              <a:prstGeom prst="rect">
                <a:avLst/>
              </a:prstGeom>
              <a:solidFill>
                <a:srgbClr val="051A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18288" numCol="1" rtlCol="0" anchor="ctr" anchorCtr="0" compatLnSpc="1">
                <a:prstTxWarp prst="textNoShape">
                  <a:avLst/>
                </a:prstTxWarp>
              </a:bodyPr>
              <a:lstStyle/>
              <a:p>
                <a:pPr algn="ctr" defTabSz="914023" fontAlgn="base">
                  <a:lnSpc>
                    <a:spcPct val="90000"/>
                  </a:lnSpc>
                  <a:spcBef>
                    <a:spcPct val="0"/>
                  </a:spcBef>
                  <a:spcAft>
                    <a:spcPct val="0"/>
                  </a:spcAft>
                </a:pPr>
                <a:r>
                  <a:rPr lang="en-US" sz="700" dirty="0">
                    <a:solidFill>
                      <a:schemeClr val="bg1"/>
                    </a:solidFill>
                  </a:rPr>
                  <a:t>DC</a:t>
                </a:r>
              </a:p>
            </p:txBody>
          </p:sp>
        </p:grpSp>
        <p:sp>
          <p:nvSpPr>
            <p:cNvPr id="60" name="Rectangle 59"/>
            <p:cNvSpPr/>
            <p:nvPr/>
          </p:nvSpPr>
          <p:spPr bwMode="auto">
            <a:xfrm>
              <a:off x="9655417" y="4637859"/>
              <a:ext cx="293446" cy="250092"/>
            </a:xfrm>
            <a:prstGeom prst="rect">
              <a:avLst/>
            </a:prstGeom>
            <a:solidFill>
              <a:srgbClr val="051A92"/>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18288" numCol="1" rtlCol="0" anchor="ctr" anchorCtr="0" compatLnSpc="1">
              <a:prstTxWarp prst="textNoShape">
                <a:avLst/>
              </a:prstTxWarp>
            </a:bodyPr>
            <a:lstStyle/>
            <a:p>
              <a:pPr algn="ctr" defTabSz="914023" fontAlgn="base">
                <a:lnSpc>
                  <a:spcPct val="90000"/>
                </a:lnSpc>
                <a:spcBef>
                  <a:spcPct val="0"/>
                </a:spcBef>
                <a:spcAft>
                  <a:spcPct val="0"/>
                </a:spcAft>
              </a:pPr>
              <a:r>
                <a:rPr lang="en-US" sz="700" dirty="0">
                  <a:solidFill>
                    <a:schemeClr val="bg1"/>
                  </a:solidFill>
                </a:rPr>
                <a:t>DNS</a:t>
              </a:r>
            </a:p>
          </p:txBody>
        </p:sp>
        <p:sp>
          <p:nvSpPr>
            <p:cNvPr id="61" name="Rectangle 60"/>
            <p:cNvSpPr/>
            <p:nvPr/>
          </p:nvSpPr>
          <p:spPr bwMode="auto">
            <a:xfrm>
              <a:off x="9265572" y="5042344"/>
              <a:ext cx="725419" cy="10974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0" rIns="27432" bIns="0" numCol="1" rtlCol="0" anchor="ctr" anchorCtr="0" compatLnSpc="1">
              <a:prstTxWarp prst="textNoShape">
                <a:avLst/>
              </a:prstTxWarp>
            </a:bodyPr>
            <a:lstStyle/>
            <a:p>
              <a:pPr algn="ctr" defTabSz="914023" fontAlgn="base">
                <a:lnSpc>
                  <a:spcPct val="90000"/>
                </a:lnSpc>
                <a:spcBef>
                  <a:spcPct val="0"/>
                </a:spcBef>
                <a:spcAft>
                  <a:spcPct val="0"/>
                </a:spcAft>
              </a:pPr>
              <a:r>
                <a:rPr lang="en-US" sz="600" dirty="0">
                  <a:solidFill>
                    <a:schemeClr val="bg1"/>
                  </a:solidFill>
                </a:rPr>
                <a:t> VM Role</a:t>
              </a:r>
            </a:p>
          </p:txBody>
        </p:sp>
      </p:grpSp>
      <p:grpSp>
        <p:nvGrpSpPr>
          <p:cNvPr id="64" name="Group 63"/>
          <p:cNvGrpSpPr/>
          <p:nvPr/>
        </p:nvGrpSpPr>
        <p:grpSpPr>
          <a:xfrm>
            <a:off x="10396784" y="5367173"/>
            <a:ext cx="725419" cy="435251"/>
            <a:chOff x="9439431" y="5720416"/>
            <a:chExt cx="725419" cy="435251"/>
          </a:xfrm>
        </p:grpSpPr>
        <p:sp>
          <p:nvSpPr>
            <p:cNvPr id="65" name="Rectangle 64"/>
            <p:cNvSpPr/>
            <p:nvPr/>
          </p:nvSpPr>
          <p:spPr bwMode="auto">
            <a:xfrm>
              <a:off x="9439431" y="5720416"/>
              <a:ext cx="725419" cy="4352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45720" numCol="1" rtlCol="0" anchor="b" anchorCtr="0" compatLnSpc="1">
              <a:prstTxWarp prst="textNoShape">
                <a:avLst/>
              </a:prstTxWarp>
            </a:bodyPr>
            <a:lstStyle/>
            <a:p>
              <a:pPr algn="ctr" defTabSz="914023" fontAlgn="base">
                <a:lnSpc>
                  <a:spcPct val="90000"/>
                </a:lnSpc>
                <a:spcBef>
                  <a:spcPct val="0"/>
                </a:spcBef>
                <a:spcAft>
                  <a:spcPct val="0"/>
                </a:spcAft>
              </a:pPr>
              <a:r>
                <a:rPr lang="en-US" sz="700" dirty="0">
                  <a:solidFill>
                    <a:schemeClr val="tx2"/>
                  </a:solidFill>
                </a:rPr>
                <a:t> VM Role</a:t>
              </a:r>
            </a:p>
          </p:txBody>
        </p:sp>
        <p:sp>
          <p:nvSpPr>
            <p:cNvPr id="66" name="Flowchart: Magnetic Disk 65"/>
            <p:cNvSpPr/>
            <p:nvPr/>
          </p:nvSpPr>
          <p:spPr bwMode="auto">
            <a:xfrm>
              <a:off x="9477086" y="5764247"/>
              <a:ext cx="650109" cy="250637"/>
            </a:xfrm>
            <a:prstGeom prst="flowChartMagneticDisk">
              <a:avLst/>
            </a:prstGeom>
            <a:solidFill>
              <a:srgbClr val="051A9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18288" numCol="1" rtlCol="0" anchor="t" anchorCtr="0" compatLnSpc="1">
              <a:prstTxWarp prst="textNoShape">
                <a:avLst/>
              </a:prstTxWarp>
            </a:bodyPr>
            <a:lstStyle/>
            <a:p>
              <a:pPr algn="ctr" defTabSz="914023" fontAlgn="base">
                <a:lnSpc>
                  <a:spcPct val="90000"/>
                </a:lnSpc>
                <a:spcBef>
                  <a:spcPct val="0"/>
                </a:spcBef>
                <a:spcAft>
                  <a:spcPct val="0"/>
                </a:spcAft>
              </a:pPr>
              <a:r>
                <a:rPr lang="en-US" sz="700" dirty="0">
                  <a:solidFill>
                    <a:schemeClr val="bg1"/>
                  </a:solidFill>
                </a:rPr>
                <a:t>SQL</a:t>
              </a:r>
            </a:p>
          </p:txBody>
        </p:sp>
      </p:grpSp>
      <p:grpSp>
        <p:nvGrpSpPr>
          <p:cNvPr id="67" name="Group 66"/>
          <p:cNvGrpSpPr/>
          <p:nvPr/>
        </p:nvGrpSpPr>
        <p:grpSpPr>
          <a:xfrm>
            <a:off x="10396784" y="6073809"/>
            <a:ext cx="725419" cy="435251"/>
            <a:chOff x="9439431" y="5720416"/>
            <a:chExt cx="725419" cy="435251"/>
          </a:xfrm>
          <a:solidFill>
            <a:srgbClr val="051A92"/>
          </a:solidFill>
        </p:grpSpPr>
        <p:sp>
          <p:nvSpPr>
            <p:cNvPr id="68" name="Rectangle 67"/>
            <p:cNvSpPr/>
            <p:nvPr/>
          </p:nvSpPr>
          <p:spPr bwMode="auto">
            <a:xfrm>
              <a:off x="9439431" y="5720416"/>
              <a:ext cx="725419" cy="43525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45720" numCol="1" rtlCol="0" anchor="b" anchorCtr="0" compatLnSpc="1">
              <a:prstTxWarp prst="textNoShape">
                <a:avLst/>
              </a:prstTxWarp>
            </a:bodyPr>
            <a:lstStyle/>
            <a:p>
              <a:pPr algn="ctr" defTabSz="914023" fontAlgn="base">
                <a:lnSpc>
                  <a:spcPct val="90000"/>
                </a:lnSpc>
                <a:spcBef>
                  <a:spcPct val="0"/>
                </a:spcBef>
                <a:spcAft>
                  <a:spcPct val="0"/>
                </a:spcAft>
              </a:pPr>
              <a:r>
                <a:rPr lang="en-US" sz="700" dirty="0">
                  <a:solidFill>
                    <a:schemeClr val="tx2"/>
                  </a:solidFill>
                </a:rPr>
                <a:t> VM Role</a:t>
              </a:r>
            </a:p>
          </p:txBody>
        </p:sp>
        <p:sp>
          <p:nvSpPr>
            <p:cNvPr id="69" name="Flowchart: Magnetic Disk 68"/>
            <p:cNvSpPr/>
            <p:nvPr/>
          </p:nvSpPr>
          <p:spPr bwMode="auto">
            <a:xfrm>
              <a:off x="9477086" y="5764247"/>
              <a:ext cx="650109" cy="250637"/>
            </a:xfrm>
            <a:prstGeom prst="flowChartMagneticDisk">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 tIns="18288" rIns="27432" bIns="18288" numCol="1" rtlCol="0" anchor="t" anchorCtr="0" compatLnSpc="1">
              <a:prstTxWarp prst="textNoShape">
                <a:avLst/>
              </a:prstTxWarp>
            </a:bodyPr>
            <a:lstStyle/>
            <a:p>
              <a:pPr algn="ctr" defTabSz="914023" fontAlgn="base">
                <a:lnSpc>
                  <a:spcPct val="90000"/>
                </a:lnSpc>
                <a:spcBef>
                  <a:spcPct val="0"/>
                </a:spcBef>
                <a:spcAft>
                  <a:spcPct val="0"/>
                </a:spcAft>
              </a:pPr>
              <a:r>
                <a:rPr lang="en-US" sz="700" dirty="0">
                  <a:solidFill>
                    <a:schemeClr val="bg1"/>
                  </a:solidFill>
                </a:rPr>
                <a:t>SQL</a:t>
              </a:r>
            </a:p>
          </p:txBody>
        </p:sp>
      </p:grpSp>
      <p:sp>
        <p:nvSpPr>
          <p:cNvPr id="70" name="Rectangle 69"/>
          <p:cNvSpPr/>
          <p:nvPr/>
        </p:nvSpPr>
        <p:spPr bwMode="auto">
          <a:xfrm>
            <a:off x="10396784" y="4942670"/>
            <a:ext cx="725419" cy="109748"/>
          </a:xfrm>
          <a:prstGeom prst="rect">
            <a:avLst/>
          </a:prstGeom>
          <a:solidFill>
            <a:srgbClr val="051A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0" tIns="0" rIns="27430" bIns="0" numCol="1" rtlCol="0" anchor="ctr" anchorCtr="0" compatLnSpc="1">
            <a:prstTxWarp prst="textNoShape">
              <a:avLst/>
            </a:prstTxWarp>
          </a:bodyPr>
          <a:lstStyle/>
          <a:p>
            <a:pPr algn="ctr" defTabSz="914023" fontAlgn="base">
              <a:lnSpc>
                <a:spcPct val="90000"/>
              </a:lnSpc>
              <a:spcBef>
                <a:spcPct val="0"/>
              </a:spcBef>
              <a:spcAft>
                <a:spcPct val="0"/>
              </a:spcAft>
            </a:pPr>
            <a:r>
              <a:rPr lang="en-US" sz="700" dirty="0">
                <a:solidFill>
                  <a:schemeClr val="bg1"/>
                </a:solidFill>
              </a:rPr>
              <a:t>Local DNS</a:t>
            </a:r>
          </a:p>
        </p:txBody>
      </p:sp>
      <p:sp>
        <p:nvSpPr>
          <p:cNvPr id="71" name="Rectangle 70"/>
          <p:cNvSpPr/>
          <p:nvPr/>
        </p:nvSpPr>
        <p:spPr bwMode="auto">
          <a:xfrm rot="5400000">
            <a:off x="10854060" y="5876885"/>
            <a:ext cx="976131" cy="147678"/>
          </a:xfrm>
          <a:prstGeom prst="rect">
            <a:avLst/>
          </a:prstGeom>
          <a:solidFill>
            <a:srgbClr val="051A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0" tIns="0" rIns="27430" bIns="0" numCol="1" rtlCol="0" anchor="ctr" anchorCtr="0" compatLnSpc="1">
            <a:prstTxWarp prst="textNoShape">
              <a:avLst/>
            </a:prstTxWarp>
          </a:bodyPr>
          <a:lstStyle/>
          <a:p>
            <a:pPr algn="ctr" defTabSz="914023" fontAlgn="base">
              <a:lnSpc>
                <a:spcPct val="90000"/>
              </a:lnSpc>
              <a:spcBef>
                <a:spcPct val="0"/>
              </a:spcBef>
              <a:spcAft>
                <a:spcPct val="0"/>
              </a:spcAft>
            </a:pPr>
            <a:r>
              <a:rPr lang="en-US" sz="800" dirty="0">
                <a:solidFill>
                  <a:schemeClr val="bg1"/>
                </a:solidFill>
              </a:rPr>
              <a:t>SQL Mirroring</a:t>
            </a:r>
          </a:p>
        </p:txBody>
      </p:sp>
      <p:sp>
        <p:nvSpPr>
          <p:cNvPr id="72" name="Left Brace 71"/>
          <p:cNvSpPr/>
          <p:nvPr/>
        </p:nvSpPr>
        <p:spPr>
          <a:xfrm>
            <a:off x="7941391" y="5392342"/>
            <a:ext cx="220461" cy="804977"/>
          </a:xfrm>
          <a:prstGeom prst="leftBrace">
            <a:avLst/>
          </a:prstGeom>
          <a:ln w="25400">
            <a:solidFill>
              <a:schemeClr val="tx2"/>
            </a:solidFill>
            <a:headEnd type="triangle" w="med" len="sm"/>
            <a:tailEnd type="triangle"/>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algn="ctr"/>
            <a:endParaRPr lang="en-US" dirty="0"/>
          </a:p>
        </p:txBody>
      </p:sp>
      <p:sp>
        <p:nvSpPr>
          <p:cNvPr id="73" name="Rectangle 72"/>
          <p:cNvSpPr/>
          <p:nvPr/>
        </p:nvSpPr>
        <p:spPr bwMode="auto">
          <a:xfrm>
            <a:off x="7478279" y="5629300"/>
            <a:ext cx="463111" cy="463112"/>
          </a:xfrm>
          <a:prstGeom prst="rect">
            <a:avLst/>
          </a:prstGeom>
          <a:solidFill>
            <a:srgbClr val="051A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23" fontAlgn="base">
              <a:spcBef>
                <a:spcPct val="0"/>
              </a:spcBef>
              <a:spcAft>
                <a:spcPct val="0"/>
              </a:spcAft>
            </a:pPr>
            <a:r>
              <a:rPr lang="en-US" sz="1500" dirty="0">
                <a:solidFill>
                  <a:schemeClr val="bg1">
                    <a:alpha val="99000"/>
                  </a:schemeClr>
                </a:solidFill>
              </a:rPr>
              <a:t>LB</a:t>
            </a:r>
          </a:p>
        </p:txBody>
      </p:sp>
      <p:sp>
        <p:nvSpPr>
          <p:cNvPr id="74" name="Left Brace 73"/>
          <p:cNvSpPr/>
          <p:nvPr/>
        </p:nvSpPr>
        <p:spPr>
          <a:xfrm rot="10800000">
            <a:off x="11122204" y="5592545"/>
            <a:ext cx="149186" cy="715743"/>
          </a:xfrm>
          <a:prstGeom prst="leftBrace">
            <a:avLst/>
          </a:prstGeom>
          <a:ln w="2540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txBody>
          <a:bodyPr lIns="91432" tIns="45717" rIns="91432" bIns="45717" rtlCol="0" anchor="ctr"/>
          <a:lstStyle/>
          <a:p>
            <a:pPr algn="ctr"/>
            <a:endParaRPr lang="en-US" dirty="0"/>
          </a:p>
        </p:txBody>
      </p:sp>
      <p:cxnSp>
        <p:nvCxnSpPr>
          <p:cNvPr id="75" name="Straight Arrow Connector 74"/>
          <p:cNvCxnSpPr/>
          <p:nvPr/>
        </p:nvCxnSpPr>
        <p:spPr>
          <a:xfrm flipH="1">
            <a:off x="8883605" y="5584800"/>
            <a:ext cx="1513181" cy="1"/>
          </a:xfrm>
          <a:prstGeom prst="straightConnector1">
            <a:avLst/>
          </a:prstGeom>
          <a:ln w="19050">
            <a:solidFill>
              <a:schemeClr val="tx2"/>
            </a:solidFill>
            <a:headEnd type="triangle" w="med" len="sm"/>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H="1">
            <a:off x="8849614" y="6115313"/>
            <a:ext cx="1555362" cy="2329"/>
          </a:xfrm>
          <a:prstGeom prst="straightConnector1">
            <a:avLst/>
          </a:prstGeom>
          <a:ln w="19050">
            <a:solidFill>
              <a:schemeClr val="tx2"/>
            </a:solidFill>
            <a:headEnd type="triangle" w="med" len="sm"/>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H="1" flipV="1">
            <a:off x="8891797" y="5584801"/>
            <a:ext cx="406347" cy="655457"/>
          </a:xfrm>
          <a:prstGeom prst="straightConnector1">
            <a:avLst/>
          </a:prstGeom>
          <a:ln w="19050">
            <a:solidFill>
              <a:schemeClr val="tx2"/>
            </a:solidFill>
            <a:headEnd type="triangle" w="med" len="sm"/>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H="1" flipV="1">
            <a:off x="8849614" y="6115313"/>
            <a:ext cx="410874" cy="124945"/>
          </a:xfrm>
          <a:prstGeom prst="straightConnector1">
            <a:avLst/>
          </a:prstGeom>
          <a:ln w="19050">
            <a:solidFill>
              <a:schemeClr val="tx2"/>
            </a:solidFill>
            <a:headEnd type="triangle" w="med" len="sm"/>
            <a:tailEnd type="non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65" idx="1"/>
          </p:cNvCxnSpPr>
          <p:nvPr/>
        </p:nvCxnSpPr>
        <p:spPr>
          <a:xfrm flipH="1">
            <a:off x="8883606" y="5584797"/>
            <a:ext cx="1513179" cy="532843"/>
          </a:xfrm>
          <a:prstGeom prst="straightConnector1">
            <a:avLst/>
          </a:prstGeom>
          <a:ln w="19050">
            <a:solidFill>
              <a:schemeClr val="tx2"/>
            </a:solidFill>
            <a:headEnd type="triangle" w="med" len="sm"/>
            <a:tailEnd type="non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flipV="1">
            <a:off x="8891797" y="5577278"/>
            <a:ext cx="1504987" cy="538032"/>
          </a:xfrm>
          <a:prstGeom prst="straightConnector1">
            <a:avLst/>
          </a:prstGeom>
          <a:ln w="19050">
            <a:solidFill>
              <a:schemeClr val="tx2"/>
            </a:solidFill>
            <a:headEnd type="triangle" w="med" len="sm"/>
            <a:tailEnd type="non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56" idx="0"/>
            <a:endCxn id="61" idx="2"/>
          </p:cNvCxnSpPr>
          <p:nvPr/>
        </p:nvCxnSpPr>
        <p:spPr>
          <a:xfrm flipH="1" flipV="1">
            <a:off x="9582466" y="5487669"/>
            <a:ext cx="0" cy="679156"/>
          </a:xfrm>
          <a:prstGeom prst="straightConnector1">
            <a:avLst/>
          </a:prstGeom>
          <a:ln w="19050">
            <a:solidFill>
              <a:schemeClr val="bg1"/>
            </a:solidFill>
            <a:prstDash val="sysDash"/>
            <a:headEnd type="triangle" w="med" len="sm"/>
            <a:tailEnd type="non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endCxn id="61" idx="2"/>
          </p:cNvCxnSpPr>
          <p:nvPr/>
        </p:nvCxnSpPr>
        <p:spPr>
          <a:xfrm flipH="1" flipV="1">
            <a:off x="9582465" y="5487671"/>
            <a:ext cx="1132082" cy="570527"/>
          </a:xfrm>
          <a:prstGeom prst="straightConnector1">
            <a:avLst/>
          </a:prstGeom>
          <a:ln w="19050">
            <a:solidFill>
              <a:schemeClr val="bg1"/>
            </a:solidFill>
            <a:prstDash val="sysDash"/>
            <a:headEnd type="triangle" w="med" len="sm"/>
            <a:tailEnd type="non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V="1">
            <a:off x="8486904" y="5492168"/>
            <a:ext cx="1095563" cy="505877"/>
          </a:xfrm>
          <a:prstGeom prst="straightConnector1">
            <a:avLst/>
          </a:prstGeom>
          <a:ln w="19050">
            <a:solidFill>
              <a:schemeClr val="bg1"/>
            </a:solidFill>
            <a:prstDash val="sysDash"/>
            <a:headEnd type="triangle" w="med" len="sm"/>
            <a:tailEnd type="non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8849613" y="5487667"/>
            <a:ext cx="701244" cy="0"/>
          </a:xfrm>
          <a:prstGeom prst="straightConnector1">
            <a:avLst/>
          </a:prstGeom>
          <a:ln w="19050">
            <a:solidFill>
              <a:schemeClr val="bg1"/>
            </a:solidFill>
            <a:prstDash val="sysDash"/>
            <a:headEnd type="triangle" w="med" len="sm"/>
            <a:tailEnd type="non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H="1" flipV="1">
            <a:off x="9550857" y="5492166"/>
            <a:ext cx="845926" cy="0"/>
          </a:xfrm>
          <a:prstGeom prst="straightConnector1">
            <a:avLst/>
          </a:prstGeom>
          <a:ln w="19050">
            <a:solidFill>
              <a:schemeClr val="bg1"/>
            </a:solidFill>
            <a:prstDash val="sysDash"/>
            <a:headEnd type="triangle" w="med" len="sm"/>
            <a:tailEnd type="non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70" idx="1"/>
            <a:endCxn id="60" idx="3"/>
          </p:cNvCxnSpPr>
          <p:nvPr/>
        </p:nvCxnSpPr>
        <p:spPr>
          <a:xfrm flipH="1">
            <a:off x="9903049" y="4997544"/>
            <a:ext cx="493737" cy="10093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sp>
        <p:nvSpPr>
          <p:cNvPr id="87" name="Rectangle 86"/>
          <p:cNvSpPr/>
          <p:nvPr/>
        </p:nvSpPr>
        <p:spPr bwMode="auto">
          <a:xfrm>
            <a:off x="7215971" y="5113280"/>
            <a:ext cx="725419" cy="192397"/>
          </a:xfrm>
          <a:prstGeom prst="rect">
            <a:avLst/>
          </a:prstGeom>
          <a:solidFill>
            <a:srgbClr val="051A9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0" tIns="0" rIns="27430" bIns="0" numCol="1" rtlCol="0" anchor="ctr" anchorCtr="0" compatLnSpc="1">
            <a:prstTxWarp prst="textNoShape">
              <a:avLst/>
            </a:prstTxWarp>
          </a:bodyPr>
          <a:lstStyle/>
          <a:p>
            <a:pPr algn="ctr" defTabSz="914023" fontAlgn="base">
              <a:lnSpc>
                <a:spcPct val="90000"/>
              </a:lnSpc>
              <a:spcBef>
                <a:spcPct val="0"/>
              </a:spcBef>
              <a:spcAft>
                <a:spcPct val="0"/>
              </a:spcAft>
            </a:pPr>
            <a:r>
              <a:rPr lang="en-US" sz="700" dirty="0">
                <a:solidFill>
                  <a:schemeClr val="bg1"/>
                </a:solidFill>
              </a:rPr>
              <a:t>Open User Access (Website)</a:t>
            </a:r>
          </a:p>
        </p:txBody>
      </p:sp>
      <p:cxnSp>
        <p:nvCxnSpPr>
          <p:cNvPr id="88" name="Straight Arrow Connector 87"/>
          <p:cNvCxnSpPr/>
          <p:nvPr/>
        </p:nvCxnSpPr>
        <p:spPr>
          <a:xfrm flipV="1">
            <a:off x="7709833" y="5305676"/>
            <a:ext cx="0" cy="32362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sp>
        <p:nvSpPr>
          <p:cNvPr id="3" name="Rounded Rectangle 2"/>
          <p:cNvSpPr/>
          <p:nvPr/>
        </p:nvSpPr>
        <p:spPr>
          <a:xfrm>
            <a:off x="528820" y="1297309"/>
            <a:ext cx="5306864" cy="250640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t>Azure DNS Resolution of INTERNAL resources are defined per Cloud Service …</a:t>
            </a:r>
          </a:p>
          <a:p>
            <a:pPr algn="ctr"/>
            <a:r>
              <a:rPr lang="en-US" sz="2800" dirty="0" smtClean="0"/>
              <a:t>One cloud service cannot resolve a different cloud service by internal host names</a:t>
            </a:r>
            <a:endParaRPr lang="en-US" sz="2800" dirty="0"/>
          </a:p>
        </p:txBody>
      </p:sp>
    </p:spTree>
    <p:extLst>
      <p:ext uri="{BB962C8B-B14F-4D97-AF65-F5344CB8AC3E}">
        <p14:creationId xmlns:p14="http://schemas.microsoft.com/office/powerpoint/2010/main" val="34181606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normAutofit fontScale="90000"/>
          </a:bodyPr>
          <a:lstStyle/>
          <a:p>
            <a:r>
              <a:rPr lang="en-NZ" sz="5400" dirty="0"/>
              <a:t>Virtual Machine Availability Sets</a:t>
            </a:r>
            <a:r>
              <a:rPr lang="en-NZ" dirty="0" smtClean="0"/>
              <a:t/>
            </a:r>
            <a:br>
              <a:rPr lang="en-NZ" dirty="0" smtClean="0"/>
            </a:br>
            <a:r>
              <a:rPr lang="en-US" sz="3999" dirty="0">
                <a:solidFill>
                  <a:schemeClr val="tx2">
                    <a:alpha val="99000"/>
                  </a:schemeClr>
                </a:solidFill>
              </a:rPr>
              <a:t>Update Domains are honored by host OS updates</a:t>
            </a:r>
            <a:endParaRPr lang="en-NZ" sz="3999" dirty="0">
              <a:solidFill>
                <a:schemeClr val="tx2">
                  <a:alpha val="99000"/>
                </a:schemeClr>
              </a:solidFill>
            </a:endParaRPr>
          </a:p>
        </p:txBody>
      </p:sp>
      <p:sp>
        <p:nvSpPr>
          <p:cNvPr id="3" name="Rectangle 2"/>
          <p:cNvSpPr/>
          <p:nvPr>
            <p:custDataLst>
              <p:tags r:id="rId1"/>
            </p:custDataLst>
          </p:nvPr>
        </p:nvSpPr>
        <p:spPr bwMode="auto">
          <a:xfrm>
            <a:off x="2252325"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prstClr val="white">
                      <a:alpha val="0"/>
                    </a:prst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11032"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prstClr val="white">
                      <a:alpha val="0"/>
                    </a:prstClr>
                  </a:solidFill>
                </a:ln>
                <a:solidFill>
                  <a:srgbClr val="595959"/>
                </a:solidFill>
              </a:rPr>
              <a:t>Rack</a:t>
            </a:r>
            <a:endParaRPr lang="en-US" sz="1466" dirty="0">
              <a:ln>
                <a:solidFill>
                  <a:prstClr val="white">
                    <a:alpha val="0"/>
                  </a:prstClr>
                </a:solidFill>
              </a:ln>
              <a:solidFill>
                <a:srgbClr val="595959"/>
              </a:solidFill>
            </a:endParaRPr>
          </a:p>
        </p:txBody>
      </p:sp>
      <p:sp>
        <p:nvSpPr>
          <p:cNvPr id="11" name="Rectangle 10"/>
          <p:cNvSpPr/>
          <p:nvPr>
            <p:custDataLst>
              <p:tags r:id="rId3"/>
            </p:custDataLst>
          </p:nvPr>
        </p:nvSpPr>
        <p:spPr bwMode="auto">
          <a:xfrm>
            <a:off x="7237983"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prstClr val="white">
                      <a:alpha val="0"/>
                    </a:prst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90"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prstClr val="white">
                      <a:alpha val="0"/>
                    </a:prstClr>
                  </a:solidFill>
                </a:ln>
                <a:solidFill>
                  <a:srgbClr val="595959"/>
                </a:solidFill>
              </a:rPr>
              <a:t>Rack</a:t>
            </a:r>
            <a:endParaRPr lang="en-US" sz="1466" dirty="0">
              <a:ln>
                <a:solidFill>
                  <a:prstClr val="white">
                    <a:alpha val="0"/>
                  </a:prstClr>
                </a:solidFill>
              </a:ln>
              <a:solidFill>
                <a:srgbClr val="595959"/>
              </a:solidFill>
            </a:endParaRPr>
          </a:p>
        </p:txBody>
      </p:sp>
      <p:sp>
        <p:nvSpPr>
          <p:cNvPr id="19" name="Rectangle 18"/>
          <p:cNvSpPr/>
          <p:nvPr>
            <p:custDataLst>
              <p:tags r:id="rId5"/>
            </p:custDataLst>
          </p:nvPr>
        </p:nvSpPr>
        <p:spPr bwMode="auto">
          <a:xfrm>
            <a:off x="2333911" y="2860304"/>
            <a:ext cx="7502142" cy="1599098"/>
          </a:xfrm>
          <a:prstGeom prst="rect">
            <a:avLst/>
          </a:prstGeom>
          <a:solidFill>
            <a:schemeClr val="accent1">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prstClr val="white">
                      <a:alpha val="0"/>
                    </a:prstClr>
                  </a:solidFill>
                </a:ln>
                <a:solidFill>
                  <a:prstClr val="white"/>
                </a:solidFill>
              </a:rPr>
              <a:t>Availability Set</a:t>
            </a:r>
          </a:p>
        </p:txBody>
      </p:sp>
      <p:sp>
        <p:nvSpPr>
          <p:cNvPr id="21" name="Rectangle 20"/>
          <p:cNvSpPr/>
          <p:nvPr>
            <p:custDataLst>
              <p:tags r:id="rId6"/>
            </p:custDataLst>
          </p:nvPr>
        </p:nvSpPr>
        <p:spPr bwMode="auto">
          <a:xfrm>
            <a:off x="2333911" y="4716808"/>
            <a:ext cx="7502142" cy="1646950"/>
          </a:xfrm>
          <a:prstGeom prst="rect">
            <a:avLst/>
          </a:prstGeom>
          <a:solidFill>
            <a:schemeClr val="accent1">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prstClr val="white">
                      <a:alpha val="0"/>
                    </a:prstClr>
                  </a:solidFill>
                </a:ln>
                <a:solidFill>
                  <a:prstClr val="white"/>
                </a:solidFill>
              </a:rPr>
              <a:t>Availability Set</a:t>
            </a:r>
          </a:p>
        </p:txBody>
      </p:sp>
      <p:sp>
        <p:nvSpPr>
          <p:cNvPr id="5" name="Rectangle 4"/>
          <p:cNvSpPr/>
          <p:nvPr>
            <p:custDataLst>
              <p:tags r:id="rId7"/>
            </p:custDataLst>
          </p:nvPr>
        </p:nvSpPr>
        <p:spPr bwMode="auto">
          <a:xfrm>
            <a:off x="2578672" y="2860300"/>
            <a:ext cx="2011680" cy="15871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prstClr val="white">
                      <a:alpha val="0"/>
                    </a:prstClr>
                  </a:solidFill>
                </a:ln>
                <a:solidFill>
                  <a:prstClr val="white"/>
                </a:solidFill>
              </a:rPr>
              <a:t>Virtual Machine</a:t>
            </a:r>
          </a:p>
        </p:txBody>
      </p:sp>
      <p:sp>
        <p:nvSpPr>
          <p:cNvPr id="8" name="Rectangle 7"/>
          <p:cNvSpPr/>
          <p:nvPr>
            <p:custDataLst>
              <p:tags r:id="rId8"/>
            </p:custDataLst>
          </p:nvPr>
        </p:nvSpPr>
        <p:spPr bwMode="auto">
          <a:xfrm>
            <a:off x="2578672"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prstClr val="white">
                      <a:alpha val="0"/>
                    </a:prstClr>
                  </a:solidFill>
                </a:ln>
                <a:solidFill>
                  <a:prstClr val="white"/>
                </a:solidFill>
              </a:rPr>
              <a:t>Virtual Machine</a:t>
            </a:r>
          </a:p>
        </p:txBody>
      </p:sp>
      <p:sp>
        <p:nvSpPr>
          <p:cNvPr id="13" name="Rectangle 12"/>
          <p:cNvSpPr/>
          <p:nvPr>
            <p:custDataLst>
              <p:tags r:id="rId9"/>
            </p:custDataLst>
          </p:nvPr>
        </p:nvSpPr>
        <p:spPr bwMode="auto">
          <a:xfrm>
            <a:off x="7564328" y="2860300"/>
            <a:ext cx="2011680" cy="15991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prstClr val="white">
                      <a:alpha val="0"/>
                    </a:prstClr>
                  </a:solidFill>
                </a:ln>
                <a:solidFill>
                  <a:prstClr val="white"/>
                </a:solidFill>
              </a:rPr>
              <a:t>Virtual Machine</a:t>
            </a:r>
          </a:p>
        </p:txBody>
      </p:sp>
      <p:sp>
        <p:nvSpPr>
          <p:cNvPr id="16" name="Rectangle 15"/>
          <p:cNvSpPr/>
          <p:nvPr>
            <p:custDataLst>
              <p:tags r:id="rId10"/>
            </p:custDataLst>
          </p:nvPr>
        </p:nvSpPr>
        <p:spPr bwMode="auto">
          <a:xfrm>
            <a:off x="7564328"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prstClr val="white">
                      <a:alpha val="0"/>
                    </a:prstClr>
                  </a:solidFill>
                </a:ln>
                <a:solidFill>
                  <a:prstClr val="white"/>
                </a:solidFill>
              </a:rPr>
              <a:t>Virtual Machine</a:t>
            </a:r>
          </a:p>
        </p:txBody>
      </p:sp>
      <p:sp>
        <p:nvSpPr>
          <p:cNvPr id="6" name="Rectangle 5"/>
          <p:cNvSpPr/>
          <p:nvPr>
            <p:custDataLst>
              <p:tags r:id="rId11"/>
            </p:custDataLst>
          </p:nvPr>
        </p:nvSpPr>
        <p:spPr bwMode="auto">
          <a:xfrm>
            <a:off x="2852990" y="3311025"/>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prstClr val="white">
                      <a:alpha val="0"/>
                    </a:prstClr>
                  </a:solidFill>
                </a:ln>
                <a:solidFill>
                  <a:srgbClr val="595959"/>
                </a:solidFill>
              </a:rPr>
              <a:t>IIS1</a:t>
            </a:r>
          </a:p>
          <a:p>
            <a:pPr algn="ctr" defTabSz="913726" fontAlgn="base">
              <a:spcBef>
                <a:spcPct val="0"/>
              </a:spcBef>
              <a:spcAft>
                <a:spcPct val="0"/>
              </a:spcAft>
            </a:pPr>
            <a:endParaRPr lang="en-NZ" sz="2000" dirty="0">
              <a:ln>
                <a:solidFill>
                  <a:prstClr val="white">
                    <a:alpha val="0"/>
                  </a:prstClr>
                </a:solidFill>
              </a:ln>
              <a:solidFill>
                <a:srgbClr val="595959"/>
              </a:solidFill>
            </a:endParaRPr>
          </a:p>
        </p:txBody>
      </p:sp>
      <p:sp>
        <p:nvSpPr>
          <p:cNvPr id="9" name="Rectangle 8"/>
          <p:cNvSpPr/>
          <p:nvPr>
            <p:custDataLst>
              <p:tags r:id="rId12"/>
            </p:custDataLst>
          </p:nvPr>
        </p:nvSpPr>
        <p:spPr bwMode="auto">
          <a:xfrm>
            <a:off x="2852990"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prstClr val="white">
                      <a:alpha val="0"/>
                    </a:prstClr>
                  </a:solidFill>
                </a:ln>
                <a:solidFill>
                  <a:srgbClr val="595959"/>
                </a:solidFill>
              </a:rPr>
              <a:t>SQL1</a:t>
            </a:r>
          </a:p>
          <a:p>
            <a:pPr algn="ctr" defTabSz="913726" fontAlgn="base">
              <a:spcBef>
                <a:spcPct val="0"/>
              </a:spcBef>
              <a:spcAft>
                <a:spcPct val="0"/>
              </a:spcAft>
            </a:pPr>
            <a:endParaRPr lang="en-NZ" sz="2000" dirty="0">
              <a:ln>
                <a:solidFill>
                  <a:prstClr val="white">
                    <a:alpha val="0"/>
                  </a:prstClr>
                </a:solidFill>
              </a:ln>
              <a:solidFill>
                <a:srgbClr val="595959"/>
              </a:solidFill>
            </a:endParaRPr>
          </a:p>
        </p:txBody>
      </p:sp>
      <p:sp>
        <p:nvSpPr>
          <p:cNvPr id="14" name="Rectangle 13"/>
          <p:cNvSpPr/>
          <p:nvPr>
            <p:custDataLst>
              <p:tags r:id="rId13"/>
            </p:custDataLst>
          </p:nvPr>
        </p:nvSpPr>
        <p:spPr bwMode="auto">
          <a:xfrm>
            <a:off x="7838648"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prstClr val="white">
                      <a:alpha val="0"/>
                    </a:prstClr>
                  </a:solidFill>
                </a:ln>
                <a:solidFill>
                  <a:srgbClr val="595959"/>
                </a:solidFill>
              </a:rPr>
              <a:t>IIS2</a:t>
            </a:r>
          </a:p>
          <a:p>
            <a:pPr algn="ctr" defTabSz="913726" fontAlgn="base">
              <a:spcBef>
                <a:spcPct val="0"/>
              </a:spcBef>
              <a:spcAft>
                <a:spcPct val="0"/>
              </a:spcAft>
            </a:pPr>
            <a:endParaRPr lang="en-NZ" sz="2000" dirty="0">
              <a:ln>
                <a:solidFill>
                  <a:prstClr val="white">
                    <a:alpha val="0"/>
                  </a:prstClr>
                </a:solidFill>
              </a:ln>
              <a:solidFill>
                <a:srgbClr val="595959"/>
              </a:solidFill>
            </a:endParaRPr>
          </a:p>
        </p:txBody>
      </p:sp>
      <p:sp>
        <p:nvSpPr>
          <p:cNvPr id="17" name="Rectangle 16"/>
          <p:cNvSpPr/>
          <p:nvPr>
            <p:custDataLst>
              <p:tags r:id="rId14"/>
            </p:custDataLst>
          </p:nvPr>
        </p:nvSpPr>
        <p:spPr bwMode="auto">
          <a:xfrm>
            <a:off x="7838648"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prstClr val="white">
                      <a:alpha val="0"/>
                    </a:prstClr>
                  </a:solidFill>
                </a:ln>
                <a:solidFill>
                  <a:srgbClr val="595959"/>
                </a:solidFill>
              </a:rPr>
              <a:t>SQL2</a:t>
            </a:r>
          </a:p>
          <a:p>
            <a:pPr algn="ctr" defTabSz="913726" fontAlgn="base">
              <a:spcBef>
                <a:spcPct val="0"/>
              </a:spcBef>
              <a:spcAft>
                <a:spcPct val="0"/>
              </a:spcAft>
            </a:pPr>
            <a:endParaRPr lang="en-NZ" sz="2000" dirty="0">
              <a:ln>
                <a:solidFill>
                  <a:prstClr val="white">
                    <a:alpha val="0"/>
                  </a:prstClr>
                </a:solidFill>
              </a:ln>
              <a:solidFill>
                <a:srgbClr val="595959"/>
              </a:solidFill>
            </a:endParaRPr>
          </a:p>
        </p:txBody>
      </p:sp>
      <p:sp>
        <p:nvSpPr>
          <p:cNvPr id="20" name="Rectangle 19"/>
          <p:cNvSpPr/>
          <p:nvPr/>
        </p:nvSpPr>
        <p:spPr>
          <a:xfrm>
            <a:off x="8128130"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prstClr val="white">
                      <a:alpha val="0"/>
                    </a:prstClr>
                  </a:solidFill>
                </a:ln>
                <a:solidFill>
                  <a:srgbClr val="595959"/>
                </a:solidFill>
              </a:rPr>
              <a:t>UD #2</a:t>
            </a:r>
          </a:p>
        </p:txBody>
      </p:sp>
      <p:sp>
        <p:nvSpPr>
          <p:cNvPr id="22" name="Rectangle 21"/>
          <p:cNvSpPr/>
          <p:nvPr/>
        </p:nvSpPr>
        <p:spPr>
          <a:xfrm>
            <a:off x="8112887"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prstClr val="white">
                      <a:alpha val="0"/>
                    </a:prstClr>
                  </a:solidFill>
                </a:ln>
                <a:solidFill>
                  <a:srgbClr val="595959"/>
                </a:solidFill>
              </a:rPr>
              <a:t>UD #2</a:t>
            </a:r>
          </a:p>
        </p:txBody>
      </p:sp>
      <p:sp>
        <p:nvSpPr>
          <p:cNvPr id="2" name="TextBox 1"/>
          <p:cNvSpPr txBox="1"/>
          <p:nvPr/>
        </p:nvSpPr>
        <p:spPr>
          <a:xfrm>
            <a:off x="3202034" y="4027764"/>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prstClr val="white">
                      <a:alpha val="0"/>
                    </a:prst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prstClr val="white">
                      <a:alpha val="0"/>
                    </a:prstClr>
                  </a:solidFill>
                </a:ln>
                <a:solidFill>
                  <a:srgbClr val="595959"/>
                </a:solidFill>
              </a:rPr>
              <a:t>UD #1</a:t>
            </a:r>
          </a:p>
        </p:txBody>
      </p:sp>
      <p:sp>
        <p:nvSpPr>
          <p:cNvPr id="23" name="Freeform 62"/>
          <p:cNvSpPr>
            <a:spLocks noEditPoints="1"/>
          </p:cNvSpPr>
          <p:nvPr/>
        </p:nvSpPr>
        <p:spPr bwMode="black">
          <a:xfrm>
            <a:off x="2951345"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solidFill>
                <a:prstClr val="black"/>
              </a:solidFill>
            </a:endParaRPr>
          </a:p>
        </p:txBody>
      </p:sp>
      <p:sp>
        <p:nvSpPr>
          <p:cNvPr id="24" name="Freeform 62"/>
          <p:cNvSpPr>
            <a:spLocks noEditPoints="1"/>
          </p:cNvSpPr>
          <p:nvPr/>
        </p:nvSpPr>
        <p:spPr bwMode="black">
          <a:xfrm>
            <a:off x="7924016"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solidFill>
                <a:prstClr val="black"/>
              </a:solidFill>
            </a:endParaRPr>
          </a:p>
        </p:txBody>
      </p:sp>
      <p:sp>
        <p:nvSpPr>
          <p:cNvPr id="25" name="Freeform 34"/>
          <p:cNvSpPr>
            <a:spLocks noEditPoints="1"/>
          </p:cNvSpPr>
          <p:nvPr/>
        </p:nvSpPr>
        <p:spPr bwMode="auto">
          <a:xfrm>
            <a:off x="2962635"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prstClr val="black">
                  <a:lumMod val="50000"/>
                </a:prstClr>
              </a:solidFill>
              <a:latin typeface="Segoe Light" pitchFamily="34" charset="0"/>
            </a:endParaRPr>
          </a:p>
        </p:txBody>
      </p:sp>
      <p:sp>
        <p:nvSpPr>
          <p:cNvPr id="26" name="Freeform 34"/>
          <p:cNvSpPr>
            <a:spLocks noEditPoints="1"/>
          </p:cNvSpPr>
          <p:nvPr/>
        </p:nvSpPr>
        <p:spPr bwMode="auto">
          <a:xfrm>
            <a:off x="7946598"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prstClr val="black">
                  <a:lumMod val="50000"/>
                </a:prstClr>
              </a:solidFill>
              <a:latin typeface="Segoe Light" pitchFamily="34" charset="0"/>
            </a:endParaRPr>
          </a:p>
        </p:txBody>
      </p:sp>
    </p:spTree>
    <p:extLst>
      <p:ext uri="{BB962C8B-B14F-4D97-AF65-F5344CB8AC3E}">
        <p14:creationId xmlns:p14="http://schemas.microsoft.com/office/powerpoint/2010/main" val="400969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071563" y="365125"/>
            <a:ext cx="11120437" cy="666750"/>
          </a:xfrm>
        </p:spPr>
        <p:txBody>
          <a:bodyPr>
            <a:normAutofit fontScale="90000"/>
          </a:bodyPr>
          <a:lstStyle/>
          <a:p>
            <a:r>
              <a:rPr lang="en-US" sz="5400" dirty="0"/>
              <a:t>Availability &amp; Service Level Agreements	</a:t>
            </a:r>
          </a:p>
        </p:txBody>
      </p:sp>
      <p:sp>
        <p:nvSpPr>
          <p:cNvPr id="7" name="Rectangle 6"/>
          <p:cNvSpPr/>
          <p:nvPr/>
        </p:nvSpPr>
        <p:spPr bwMode="auto">
          <a:xfrm>
            <a:off x="520701"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4874035" y="2426769"/>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rgbClr val="44546A">
                    <a:alpha val="99000"/>
                  </a:srgbClr>
                </a:solidFill>
                <a:latin typeface="Calibri Light" panose="020F0302020204030204"/>
              </a:rPr>
              <a:t>What’s included</a:t>
            </a:r>
          </a:p>
          <a:p>
            <a:pPr marL="345282" lvl="1" indent="-342900">
              <a:buFont typeface="Arial" pitchFamily="34" charset="0"/>
              <a:buChar char="•"/>
            </a:pPr>
            <a:r>
              <a:rPr lang="en-US" sz="2000" dirty="0">
                <a:solidFill>
                  <a:prstClr val="black">
                    <a:alpha val="99000"/>
                  </a:prstClr>
                </a:solidFill>
              </a:rPr>
              <a:t>Compute Hardware failure (disk, </a:t>
            </a:r>
            <a:r>
              <a:rPr lang="en-US" sz="2000" dirty="0" err="1">
                <a:solidFill>
                  <a:prstClr val="black">
                    <a:alpha val="99000"/>
                  </a:prstClr>
                </a:solidFill>
              </a:rPr>
              <a:t>cpu</a:t>
            </a:r>
            <a:r>
              <a:rPr lang="en-US" sz="2000" dirty="0">
                <a:solidFill>
                  <a:prstClr val="black">
                    <a:alpha val="99000"/>
                  </a:prstClr>
                </a:solidFill>
              </a:rPr>
              <a:t>, memory)</a:t>
            </a:r>
          </a:p>
          <a:p>
            <a:pPr marL="345282" lvl="1" indent="-342900">
              <a:buFont typeface="Arial" pitchFamily="34" charset="0"/>
              <a:buChar char="•"/>
            </a:pPr>
            <a:r>
              <a:rPr lang="en-US" sz="2000" dirty="0">
                <a:solidFill>
                  <a:prstClr val="black">
                    <a:alpha val="99000"/>
                  </a:prstClr>
                </a:solidFill>
              </a:rPr>
              <a:t>Datacenter failures - Network failure, power failure</a:t>
            </a:r>
          </a:p>
          <a:p>
            <a:pPr marL="345282" lvl="1" indent="-342900">
              <a:buFont typeface="Arial" pitchFamily="34" charset="0"/>
              <a:buChar char="•"/>
            </a:pPr>
            <a:r>
              <a:rPr lang="en-US" sz="2000" dirty="0">
                <a:solidFill>
                  <a:prstClr val="black">
                    <a:alpha val="99000"/>
                  </a:prstClr>
                </a:solidFill>
              </a:rPr>
              <a:t>Hardware upgrades, Software maintenance – Host OS Updates</a:t>
            </a:r>
          </a:p>
        </p:txBody>
      </p:sp>
      <p:sp>
        <p:nvSpPr>
          <p:cNvPr id="13" name="Content Placeholder 2"/>
          <p:cNvSpPr txBox="1">
            <a:spLocks/>
          </p:cNvSpPr>
          <p:nvPr/>
        </p:nvSpPr>
        <p:spPr>
          <a:xfrm>
            <a:off x="4874036" y="3885759"/>
            <a:ext cx="7379249" cy="1384995"/>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44546A">
                    <a:alpha val="99000"/>
                  </a:srgbClr>
                </a:solidFill>
                <a:latin typeface="Calibri Light" panose="020F0302020204030204"/>
              </a:rPr>
              <a:t>What is not included</a:t>
            </a:r>
          </a:p>
          <a:p>
            <a:pPr marL="345282" lvl="1" indent="-342900">
              <a:buFont typeface="Arial" pitchFamily="34" charset="0"/>
              <a:buChar char="•"/>
            </a:pPr>
            <a:r>
              <a:rPr lang="en-US" sz="2000" dirty="0">
                <a:solidFill>
                  <a:prstClr val="black">
                    <a:alpha val="99000"/>
                  </a:prstClr>
                </a:solidFill>
              </a:rPr>
              <a:t>VM Guest OS &amp; Applications, VM Guest OS Updates</a:t>
            </a:r>
          </a:p>
          <a:p>
            <a:pPr marL="345282" lvl="1" indent="-342900">
              <a:buFont typeface="Arial" pitchFamily="34" charset="0"/>
              <a:buChar char="•"/>
            </a:pPr>
            <a:r>
              <a:rPr lang="en-US" sz="2000" dirty="0">
                <a:solidFill>
                  <a:prstClr val="black">
                    <a:alpha val="99000"/>
                  </a:prstClr>
                </a:solidFill>
              </a:rPr>
              <a:t>Customer on-premises network connectivity and intermediary Internet connectivity</a:t>
            </a:r>
          </a:p>
        </p:txBody>
      </p:sp>
      <p:sp>
        <p:nvSpPr>
          <p:cNvPr id="14" name="Content Placeholder 2"/>
          <p:cNvSpPr txBox="1">
            <a:spLocks/>
          </p:cNvSpPr>
          <p:nvPr/>
        </p:nvSpPr>
        <p:spPr>
          <a:xfrm>
            <a:off x="4874035" y="1492210"/>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44546A">
                    <a:alpha val="99000"/>
                  </a:srgbClr>
                </a:solidFill>
                <a:latin typeface="Calibri Light" panose="020F0302020204030204"/>
              </a:rPr>
              <a:t>99.95% Monthly SLA for VM’s</a:t>
            </a:r>
          </a:p>
          <a:p>
            <a:pPr marL="345282" lvl="1" indent="-342900">
              <a:buFont typeface="Arial" pitchFamily="34" charset="0"/>
              <a:buChar char="•"/>
            </a:pPr>
            <a:r>
              <a:rPr lang="en-US" sz="2000" dirty="0">
                <a:solidFill>
                  <a:prstClr val="black">
                    <a:alpha val="99000"/>
                  </a:prstClr>
                </a:solidFill>
              </a:rPr>
              <a:t>4.38 hours of downtime per year for VM’s in an availability set</a:t>
            </a:r>
          </a:p>
        </p:txBody>
      </p:sp>
      <p:sp>
        <p:nvSpPr>
          <p:cNvPr id="10" name="Rectangle 9"/>
          <p:cNvSpPr/>
          <p:nvPr>
            <p:custDataLst>
              <p:tags r:id="rId1"/>
            </p:custDataLst>
          </p:nvPr>
        </p:nvSpPr>
        <p:spPr bwMode="auto">
          <a:xfrm>
            <a:off x="270759" y="2003929"/>
            <a:ext cx="4332817" cy="30534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5" name="Rectangle 14"/>
          <p:cNvSpPr/>
          <p:nvPr/>
        </p:nvSpPr>
        <p:spPr bwMode="auto">
          <a:xfrm>
            <a:off x="2681235" y="2426769"/>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44546A"/>
                </a:solidFill>
              </a:rPr>
              <a:t>VM 2</a:t>
            </a:r>
          </a:p>
        </p:txBody>
      </p:sp>
      <p:sp>
        <p:nvSpPr>
          <p:cNvPr id="16" name="Rectangle 15"/>
          <p:cNvSpPr/>
          <p:nvPr>
            <p:custDataLst>
              <p:tags r:id="rId2"/>
            </p:custDataLst>
          </p:nvPr>
        </p:nvSpPr>
        <p:spPr bwMode="auto">
          <a:xfrm>
            <a:off x="270759" y="5051135"/>
            <a:ext cx="433281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70761" y="1394322"/>
            <a:ext cx="4332814"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838796" y="2822454"/>
            <a:ext cx="1374012" cy="1255562"/>
          </a:xfrm>
          <a:prstGeom prst="rect">
            <a:avLst/>
          </a:prstGeom>
        </p:spPr>
      </p:pic>
      <p:sp>
        <p:nvSpPr>
          <p:cNvPr id="20" name="Rectangle 19"/>
          <p:cNvSpPr/>
          <p:nvPr/>
        </p:nvSpPr>
        <p:spPr bwMode="auto">
          <a:xfrm>
            <a:off x="520701" y="2434437"/>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44546A"/>
                </a:solidFill>
              </a:rPr>
              <a:t>VM 1</a:t>
            </a:r>
          </a:p>
        </p:txBody>
      </p:sp>
      <p:pic>
        <p:nvPicPr>
          <p:cNvPr id="21" name="Picture 20"/>
          <p:cNvPicPr>
            <a:picLocks noChangeAspect="1"/>
          </p:cNvPicPr>
          <p:nvPr/>
        </p:nvPicPr>
        <p:blipFill>
          <a:blip r:embed="rId7">
            <a:grayscl/>
          </a:blip>
          <a:stretch>
            <a:fillRect/>
          </a:stretch>
        </p:blipFill>
        <p:spPr>
          <a:xfrm>
            <a:off x="678262" y="2830122"/>
            <a:ext cx="1374012" cy="1255562"/>
          </a:xfrm>
          <a:prstGeom prst="rect">
            <a:avLst/>
          </a:prstGeom>
        </p:spPr>
      </p:pic>
    </p:spTree>
    <p:extLst>
      <p:ext uri="{BB962C8B-B14F-4D97-AF65-F5344CB8AC3E}">
        <p14:creationId xmlns:p14="http://schemas.microsoft.com/office/powerpoint/2010/main" val="347621894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544047" y="2127863"/>
            <a:ext cx="1501302" cy="1365928"/>
            <a:chOff x="4249368" y="2197839"/>
            <a:chExt cx="2054220" cy="1784854"/>
          </a:xfrm>
        </p:grpSpPr>
        <p:pic>
          <p:nvPicPr>
            <p:cNvPr id="3" name="Picture 2" descr="Server-Physical-Single-No-Shadow.png"/>
            <p:cNvPicPr>
              <a:picLocks noChangeAspect="1"/>
            </p:cNvPicPr>
            <p:nvPr/>
          </p:nvPicPr>
          <p:blipFill>
            <a:blip r:embed="rId2"/>
            <a:stretch>
              <a:fillRect/>
            </a:stretch>
          </p:blipFill>
          <p:spPr>
            <a:xfrm>
              <a:off x="4249368" y="2477311"/>
              <a:ext cx="2054220" cy="1505382"/>
            </a:xfrm>
            <a:prstGeom prst="rect">
              <a:avLst/>
            </a:prstGeom>
            <a:noFill/>
            <a:ln>
              <a:noFill/>
            </a:ln>
          </p:spPr>
        </p:pic>
        <p:pic>
          <p:nvPicPr>
            <p:cNvPr id="4" name="Picture 3" descr="Server-Virtual-Single.png"/>
            <p:cNvPicPr>
              <a:picLocks noChangeAspect="1"/>
            </p:cNvPicPr>
            <p:nvPr/>
          </p:nvPicPr>
          <p:blipFill>
            <a:blip r:embed="rId3"/>
            <a:stretch>
              <a:fillRect/>
            </a:stretch>
          </p:blipFill>
          <p:spPr>
            <a:xfrm>
              <a:off x="4506721" y="2477311"/>
              <a:ext cx="1552310" cy="1006721"/>
            </a:xfrm>
            <a:prstGeom prst="rect">
              <a:avLst/>
            </a:prstGeom>
            <a:noFill/>
            <a:ln>
              <a:noFill/>
            </a:ln>
          </p:spPr>
        </p:pic>
        <p:pic>
          <p:nvPicPr>
            <p:cNvPr id="5" name="Picture 4" descr="Server-Virtual-Single.png"/>
            <p:cNvPicPr>
              <a:picLocks noChangeAspect="1"/>
            </p:cNvPicPr>
            <p:nvPr/>
          </p:nvPicPr>
          <p:blipFill>
            <a:blip r:embed="rId3"/>
            <a:stretch>
              <a:fillRect/>
            </a:stretch>
          </p:blipFill>
          <p:spPr>
            <a:xfrm>
              <a:off x="4499902" y="2197839"/>
              <a:ext cx="1552310" cy="1006721"/>
            </a:xfrm>
            <a:prstGeom prst="rect">
              <a:avLst/>
            </a:prstGeom>
            <a:noFill/>
            <a:ln>
              <a:noFill/>
            </a:ln>
          </p:spPr>
        </p:pic>
      </p:grpSp>
      <p:grpSp>
        <p:nvGrpSpPr>
          <p:cNvPr id="92" name="Group 91"/>
          <p:cNvGrpSpPr/>
          <p:nvPr/>
        </p:nvGrpSpPr>
        <p:grpSpPr>
          <a:xfrm>
            <a:off x="3948413" y="2268819"/>
            <a:ext cx="1561997" cy="1729502"/>
            <a:chOff x="3948413" y="2268819"/>
            <a:chExt cx="1561997" cy="1729502"/>
          </a:xfrm>
        </p:grpSpPr>
        <p:grpSp>
          <p:nvGrpSpPr>
            <p:cNvPr id="15" name="Group 14"/>
            <p:cNvGrpSpPr/>
            <p:nvPr/>
          </p:nvGrpSpPr>
          <p:grpSpPr>
            <a:xfrm>
              <a:off x="3948413" y="2268819"/>
              <a:ext cx="1531775" cy="1177603"/>
              <a:chOff x="4249368" y="2477311"/>
              <a:chExt cx="2054220" cy="1505382"/>
            </a:xfrm>
          </p:grpSpPr>
          <p:pic>
            <p:nvPicPr>
              <p:cNvPr id="16" name="Picture 15" descr="Server-Physical-Single-No-Shadow.png"/>
              <p:cNvPicPr>
                <a:picLocks noChangeAspect="1"/>
              </p:cNvPicPr>
              <p:nvPr/>
            </p:nvPicPr>
            <p:blipFill>
              <a:blip r:embed="rId2"/>
              <a:stretch>
                <a:fillRect/>
              </a:stretch>
            </p:blipFill>
            <p:spPr>
              <a:xfrm>
                <a:off x="4249368" y="2477311"/>
                <a:ext cx="2054220" cy="1505382"/>
              </a:xfrm>
              <a:prstGeom prst="rect">
                <a:avLst/>
              </a:prstGeom>
            </p:spPr>
          </p:pic>
          <p:pic>
            <p:nvPicPr>
              <p:cNvPr id="17" name="Picture 16" descr="Server-Virtual-Single.png"/>
              <p:cNvPicPr>
                <a:picLocks noChangeAspect="1"/>
              </p:cNvPicPr>
              <p:nvPr/>
            </p:nvPicPr>
            <p:blipFill>
              <a:blip r:embed="rId3">
                <a:duotone>
                  <a:prstClr val="black"/>
                  <a:schemeClr val="accent1">
                    <a:tint val="45000"/>
                    <a:satMod val="400000"/>
                  </a:schemeClr>
                </a:duotone>
              </a:blip>
              <a:stretch>
                <a:fillRect/>
              </a:stretch>
            </p:blipFill>
            <p:spPr>
              <a:xfrm>
                <a:off x="4506721" y="2477311"/>
                <a:ext cx="1552310" cy="1006721"/>
              </a:xfrm>
              <a:prstGeom prst="rect">
                <a:avLst/>
              </a:prstGeom>
              <a:noFill/>
              <a:ln>
                <a:noFill/>
              </a:ln>
            </p:spPr>
          </p:pic>
        </p:grpSp>
        <p:sp>
          <p:nvSpPr>
            <p:cNvPr id="19" name="TextBox 18"/>
            <p:cNvSpPr txBox="1"/>
            <p:nvPr/>
          </p:nvSpPr>
          <p:spPr>
            <a:xfrm>
              <a:off x="4009109" y="3475101"/>
              <a:ext cx="150130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5B9BD5">
                      <a:lumMod val="75000"/>
                    </a:srgbClr>
                  </a:solidFill>
                  <a:effectLst/>
                  <a:uLnTx/>
                  <a:uFillTx/>
                  <a:latin typeface="Calibri" panose="020F0502020204030204"/>
                  <a:ea typeface="+mn-ea"/>
                  <a:cs typeface="+mn-cs"/>
                </a:rPr>
                <a:t>Process Server (PS)</a:t>
              </a:r>
              <a:endParaRPr kumimoji="0" lang="en-US" sz="1400" b="0" i="0" u="none" strike="noStrike" kern="1200" cap="none" spc="0" normalizeH="0" baseline="0" noProof="0" dirty="0">
                <a:ln>
                  <a:noFill/>
                </a:ln>
                <a:solidFill>
                  <a:srgbClr val="5B9BD5">
                    <a:lumMod val="75000"/>
                  </a:srgbClr>
                </a:solidFill>
                <a:effectLst/>
                <a:uLnTx/>
                <a:uFillTx/>
                <a:latin typeface="Calibri" panose="020F0502020204030204"/>
                <a:ea typeface="+mn-ea"/>
                <a:cs typeface="+mn-cs"/>
              </a:endParaRPr>
            </a:p>
          </p:txBody>
        </p:sp>
      </p:grpSp>
      <p:sp>
        <p:nvSpPr>
          <p:cNvPr id="23" name="Freeform 5"/>
          <p:cNvSpPr>
            <a:spLocks noEditPoints="1"/>
          </p:cNvSpPr>
          <p:nvPr/>
        </p:nvSpPr>
        <p:spPr bwMode="auto">
          <a:xfrm>
            <a:off x="7005410" y="1836355"/>
            <a:ext cx="4124185" cy="2268159"/>
          </a:xfrm>
          <a:custGeom>
            <a:avLst/>
            <a:gdLst>
              <a:gd name="T0" fmla="*/ 11 w 2134"/>
              <a:gd name="T1" fmla="*/ 16 h 855"/>
              <a:gd name="T2" fmla="*/ 11 w 2134"/>
              <a:gd name="T3" fmla="*/ 69 h 855"/>
              <a:gd name="T4" fmla="*/ 11 w 2134"/>
              <a:gd name="T5" fmla="*/ 123 h 855"/>
              <a:gd name="T6" fmla="*/ 11 w 2134"/>
              <a:gd name="T7" fmla="*/ 177 h 855"/>
              <a:gd name="T8" fmla="*/ 11 w 2134"/>
              <a:gd name="T9" fmla="*/ 229 h 855"/>
              <a:gd name="T10" fmla="*/ 11 w 2134"/>
              <a:gd name="T11" fmla="*/ 282 h 855"/>
              <a:gd name="T12" fmla="*/ 11 w 2134"/>
              <a:gd name="T13" fmla="*/ 335 h 855"/>
              <a:gd name="T14" fmla="*/ 11 w 2134"/>
              <a:gd name="T15" fmla="*/ 387 h 855"/>
              <a:gd name="T16" fmla="*/ 26 w 2134"/>
              <a:gd name="T17" fmla="*/ 415 h 855"/>
              <a:gd name="T18" fmla="*/ 77 w 2134"/>
              <a:gd name="T19" fmla="*/ 415 h 855"/>
              <a:gd name="T20" fmla="*/ 129 w 2134"/>
              <a:gd name="T21" fmla="*/ 415 h 855"/>
              <a:gd name="T22" fmla="*/ 180 w 2134"/>
              <a:gd name="T23" fmla="*/ 415 h 855"/>
              <a:gd name="T24" fmla="*/ 231 w 2134"/>
              <a:gd name="T25" fmla="*/ 415 h 855"/>
              <a:gd name="T26" fmla="*/ 282 w 2134"/>
              <a:gd name="T27" fmla="*/ 415 h 855"/>
              <a:gd name="T28" fmla="*/ 333 w 2134"/>
              <a:gd name="T29" fmla="*/ 415 h 855"/>
              <a:gd name="T30" fmla="*/ 385 w 2134"/>
              <a:gd name="T31" fmla="*/ 415 h 855"/>
              <a:gd name="T32" fmla="*/ 436 w 2134"/>
              <a:gd name="T33" fmla="*/ 415 h 855"/>
              <a:gd name="T34" fmla="*/ 486 w 2134"/>
              <a:gd name="T35" fmla="*/ 415 h 855"/>
              <a:gd name="T36" fmla="*/ 539 w 2134"/>
              <a:gd name="T37" fmla="*/ 415 h 855"/>
              <a:gd name="T38" fmla="*/ 589 w 2134"/>
              <a:gd name="T39" fmla="*/ 415 h 855"/>
              <a:gd name="T40" fmla="*/ 641 w 2134"/>
              <a:gd name="T41" fmla="*/ 415 h 855"/>
              <a:gd name="T42" fmla="*/ 692 w 2134"/>
              <a:gd name="T43" fmla="*/ 415 h 855"/>
              <a:gd name="T44" fmla="*/ 743 w 2134"/>
              <a:gd name="T45" fmla="*/ 415 h 855"/>
              <a:gd name="T46" fmla="*/ 795 w 2134"/>
              <a:gd name="T47" fmla="*/ 415 h 855"/>
              <a:gd name="T48" fmla="*/ 846 w 2134"/>
              <a:gd name="T49" fmla="*/ 415 h 855"/>
              <a:gd name="T50" fmla="*/ 897 w 2134"/>
              <a:gd name="T51" fmla="*/ 415 h 855"/>
              <a:gd name="T52" fmla="*/ 948 w 2134"/>
              <a:gd name="T53" fmla="*/ 415 h 855"/>
              <a:gd name="T54" fmla="*/ 1000 w 2134"/>
              <a:gd name="T55" fmla="*/ 415 h 855"/>
              <a:gd name="T56" fmla="*/ 1016 w 2134"/>
              <a:gd name="T57" fmla="*/ 388 h 855"/>
              <a:gd name="T58" fmla="*/ 1016 w 2134"/>
              <a:gd name="T59" fmla="*/ 336 h 855"/>
              <a:gd name="T60" fmla="*/ 1016 w 2134"/>
              <a:gd name="T61" fmla="*/ 282 h 855"/>
              <a:gd name="T62" fmla="*/ 1016 w 2134"/>
              <a:gd name="T63" fmla="*/ 229 h 855"/>
              <a:gd name="T64" fmla="*/ 1016 w 2134"/>
              <a:gd name="T65" fmla="*/ 177 h 855"/>
              <a:gd name="T66" fmla="*/ 1016 w 2134"/>
              <a:gd name="T67" fmla="*/ 124 h 855"/>
              <a:gd name="T68" fmla="*/ 1016 w 2134"/>
              <a:gd name="T69" fmla="*/ 71 h 855"/>
              <a:gd name="T70" fmla="*/ 1016 w 2134"/>
              <a:gd name="T71" fmla="*/ 17 h 855"/>
              <a:gd name="T72" fmla="*/ 981 w 2134"/>
              <a:gd name="T73" fmla="*/ 11 h 855"/>
              <a:gd name="T74" fmla="*/ 929 w 2134"/>
              <a:gd name="T75" fmla="*/ 11 h 855"/>
              <a:gd name="T76" fmla="*/ 878 w 2134"/>
              <a:gd name="T77" fmla="*/ 11 h 855"/>
              <a:gd name="T78" fmla="*/ 827 w 2134"/>
              <a:gd name="T79" fmla="*/ 11 h 855"/>
              <a:gd name="T80" fmla="*/ 775 w 2134"/>
              <a:gd name="T81" fmla="*/ 11 h 855"/>
              <a:gd name="T82" fmla="*/ 724 w 2134"/>
              <a:gd name="T83" fmla="*/ 11 h 855"/>
              <a:gd name="T84" fmla="*/ 673 w 2134"/>
              <a:gd name="T85" fmla="*/ 11 h 855"/>
              <a:gd name="T86" fmla="*/ 621 w 2134"/>
              <a:gd name="T87" fmla="*/ 11 h 855"/>
              <a:gd name="T88" fmla="*/ 570 w 2134"/>
              <a:gd name="T89" fmla="*/ 11 h 855"/>
              <a:gd name="T90" fmla="*/ 519 w 2134"/>
              <a:gd name="T91" fmla="*/ 11 h 855"/>
              <a:gd name="T92" fmla="*/ 467 w 2134"/>
              <a:gd name="T93" fmla="*/ 11 h 855"/>
              <a:gd name="T94" fmla="*/ 416 w 2134"/>
              <a:gd name="T95" fmla="*/ 11 h 855"/>
              <a:gd name="T96" fmla="*/ 365 w 2134"/>
              <a:gd name="T97" fmla="*/ 11 h 855"/>
              <a:gd name="T98" fmla="*/ 313 w 2134"/>
              <a:gd name="T99" fmla="*/ 11 h 855"/>
              <a:gd name="T100" fmla="*/ 262 w 2134"/>
              <a:gd name="T101" fmla="*/ 11 h 855"/>
              <a:gd name="T102" fmla="*/ 211 w 2134"/>
              <a:gd name="T103" fmla="*/ 11 h 855"/>
              <a:gd name="T104" fmla="*/ 159 w 2134"/>
              <a:gd name="T105" fmla="*/ 11 h 855"/>
              <a:gd name="T106" fmla="*/ 110 w 2134"/>
              <a:gd name="T107" fmla="*/ 11 h 855"/>
              <a:gd name="T108" fmla="*/ 56 w 2134"/>
              <a:gd name="T109" fmla="*/ 11 h 855"/>
              <a:gd name="T110" fmla="*/ 5 w 2134"/>
              <a:gd name="T111" fmla="*/ 11 h 85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34" h="855">
                <a:moveTo>
                  <a:pt x="22" y="32"/>
                </a:moveTo>
                <a:lnTo>
                  <a:pt x="22" y="32"/>
                </a:lnTo>
                <a:cubicBezTo>
                  <a:pt x="22" y="38"/>
                  <a:pt x="17" y="43"/>
                  <a:pt x="11" y="43"/>
                </a:cubicBezTo>
                <a:cubicBezTo>
                  <a:pt x="5" y="43"/>
                  <a:pt x="0" y="38"/>
                  <a:pt x="0" y="32"/>
                </a:cubicBezTo>
                <a:cubicBezTo>
                  <a:pt x="0" y="27"/>
                  <a:pt x="5" y="22"/>
                  <a:pt x="11" y="22"/>
                </a:cubicBezTo>
                <a:cubicBezTo>
                  <a:pt x="17" y="22"/>
                  <a:pt x="22" y="27"/>
                  <a:pt x="22" y="32"/>
                </a:cubicBezTo>
                <a:close/>
                <a:moveTo>
                  <a:pt x="22" y="139"/>
                </a:moveTo>
                <a:lnTo>
                  <a:pt x="22" y="139"/>
                </a:lnTo>
                <a:cubicBezTo>
                  <a:pt x="22" y="145"/>
                  <a:pt x="17" y="150"/>
                  <a:pt x="11" y="150"/>
                </a:cubicBezTo>
                <a:cubicBezTo>
                  <a:pt x="5" y="150"/>
                  <a:pt x="0" y="145"/>
                  <a:pt x="0" y="139"/>
                </a:cubicBezTo>
                <a:cubicBezTo>
                  <a:pt x="0" y="133"/>
                  <a:pt x="5" y="128"/>
                  <a:pt x="11" y="128"/>
                </a:cubicBezTo>
                <a:cubicBezTo>
                  <a:pt x="17" y="128"/>
                  <a:pt x="22" y="133"/>
                  <a:pt x="22" y="139"/>
                </a:cubicBezTo>
                <a:close/>
                <a:moveTo>
                  <a:pt x="22" y="246"/>
                </a:moveTo>
                <a:lnTo>
                  <a:pt x="22" y="246"/>
                </a:lnTo>
                <a:cubicBezTo>
                  <a:pt x="22" y="252"/>
                  <a:pt x="17" y="257"/>
                  <a:pt x="11" y="257"/>
                </a:cubicBezTo>
                <a:cubicBezTo>
                  <a:pt x="5" y="257"/>
                  <a:pt x="0" y="252"/>
                  <a:pt x="0" y="246"/>
                </a:cubicBezTo>
                <a:cubicBezTo>
                  <a:pt x="0" y="240"/>
                  <a:pt x="5" y="235"/>
                  <a:pt x="11" y="235"/>
                </a:cubicBezTo>
                <a:cubicBezTo>
                  <a:pt x="17" y="235"/>
                  <a:pt x="22" y="240"/>
                  <a:pt x="22" y="246"/>
                </a:cubicBezTo>
                <a:close/>
                <a:moveTo>
                  <a:pt x="22" y="353"/>
                </a:moveTo>
                <a:lnTo>
                  <a:pt x="22" y="353"/>
                </a:lnTo>
                <a:cubicBezTo>
                  <a:pt x="22" y="358"/>
                  <a:pt x="17" y="363"/>
                  <a:pt x="11" y="363"/>
                </a:cubicBezTo>
                <a:cubicBezTo>
                  <a:pt x="5" y="363"/>
                  <a:pt x="0" y="358"/>
                  <a:pt x="0" y="353"/>
                </a:cubicBezTo>
                <a:cubicBezTo>
                  <a:pt x="0" y="347"/>
                  <a:pt x="5" y="342"/>
                  <a:pt x="11" y="342"/>
                </a:cubicBezTo>
                <a:cubicBezTo>
                  <a:pt x="17" y="342"/>
                  <a:pt x="22" y="347"/>
                  <a:pt x="22" y="353"/>
                </a:cubicBezTo>
                <a:close/>
                <a:moveTo>
                  <a:pt x="22" y="459"/>
                </a:moveTo>
                <a:lnTo>
                  <a:pt x="22" y="459"/>
                </a:lnTo>
                <a:cubicBezTo>
                  <a:pt x="22" y="465"/>
                  <a:pt x="17" y="470"/>
                  <a:pt x="11" y="470"/>
                </a:cubicBezTo>
                <a:cubicBezTo>
                  <a:pt x="5" y="470"/>
                  <a:pt x="0" y="465"/>
                  <a:pt x="0" y="459"/>
                </a:cubicBezTo>
                <a:cubicBezTo>
                  <a:pt x="0" y="453"/>
                  <a:pt x="5" y="449"/>
                  <a:pt x="11" y="449"/>
                </a:cubicBezTo>
                <a:cubicBezTo>
                  <a:pt x="17" y="449"/>
                  <a:pt x="22" y="453"/>
                  <a:pt x="22" y="459"/>
                </a:cubicBezTo>
                <a:close/>
                <a:moveTo>
                  <a:pt x="22" y="566"/>
                </a:moveTo>
                <a:lnTo>
                  <a:pt x="22" y="566"/>
                </a:lnTo>
                <a:cubicBezTo>
                  <a:pt x="22" y="572"/>
                  <a:pt x="17" y="577"/>
                  <a:pt x="11" y="577"/>
                </a:cubicBezTo>
                <a:cubicBezTo>
                  <a:pt x="5" y="577"/>
                  <a:pt x="0" y="572"/>
                  <a:pt x="0" y="566"/>
                </a:cubicBezTo>
                <a:cubicBezTo>
                  <a:pt x="0" y="560"/>
                  <a:pt x="5" y="555"/>
                  <a:pt x="11" y="555"/>
                </a:cubicBezTo>
                <a:cubicBezTo>
                  <a:pt x="17" y="555"/>
                  <a:pt x="22" y="560"/>
                  <a:pt x="22" y="566"/>
                </a:cubicBezTo>
                <a:close/>
                <a:moveTo>
                  <a:pt x="22" y="673"/>
                </a:moveTo>
                <a:lnTo>
                  <a:pt x="22" y="673"/>
                </a:lnTo>
                <a:cubicBezTo>
                  <a:pt x="22" y="679"/>
                  <a:pt x="17" y="683"/>
                  <a:pt x="11" y="683"/>
                </a:cubicBezTo>
                <a:cubicBezTo>
                  <a:pt x="5" y="683"/>
                  <a:pt x="0" y="679"/>
                  <a:pt x="0" y="673"/>
                </a:cubicBezTo>
                <a:cubicBezTo>
                  <a:pt x="0" y="667"/>
                  <a:pt x="5" y="662"/>
                  <a:pt x="11" y="662"/>
                </a:cubicBezTo>
                <a:cubicBezTo>
                  <a:pt x="17" y="662"/>
                  <a:pt x="22" y="667"/>
                  <a:pt x="22" y="673"/>
                </a:cubicBezTo>
                <a:close/>
                <a:moveTo>
                  <a:pt x="22" y="779"/>
                </a:moveTo>
                <a:lnTo>
                  <a:pt x="22" y="779"/>
                </a:lnTo>
                <a:cubicBezTo>
                  <a:pt x="22" y="785"/>
                  <a:pt x="17" y="790"/>
                  <a:pt x="11" y="790"/>
                </a:cubicBezTo>
                <a:cubicBezTo>
                  <a:pt x="5" y="790"/>
                  <a:pt x="0" y="785"/>
                  <a:pt x="0" y="779"/>
                </a:cubicBezTo>
                <a:cubicBezTo>
                  <a:pt x="0" y="773"/>
                  <a:pt x="5" y="769"/>
                  <a:pt x="11" y="769"/>
                </a:cubicBezTo>
                <a:cubicBezTo>
                  <a:pt x="17" y="769"/>
                  <a:pt x="22" y="773"/>
                  <a:pt x="22" y="779"/>
                </a:cubicBezTo>
                <a:close/>
                <a:moveTo>
                  <a:pt x="53" y="834"/>
                </a:moveTo>
                <a:lnTo>
                  <a:pt x="53" y="834"/>
                </a:lnTo>
                <a:cubicBezTo>
                  <a:pt x="59" y="834"/>
                  <a:pt x="63" y="838"/>
                  <a:pt x="63" y="844"/>
                </a:cubicBezTo>
                <a:cubicBezTo>
                  <a:pt x="63" y="850"/>
                  <a:pt x="59" y="855"/>
                  <a:pt x="53" y="855"/>
                </a:cubicBezTo>
                <a:cubicBezTo>
                  <a:pt x="47" y="855"/>
                  <a:pt x="42" y="850"/>
                  <a:pt x="42" y="844"/>
                </a:cubicBezTo>
                <a:cubicBezTo>
                  <a:pt x="42" y="838"/>
                  <a:pt x="47" y="834"/>
                  <a:pt x="53" y="834"/>
                </a:cubicBezTo>
                <a:close/>
                <a:moveTo>
                  <a:pt x="159" y="834"/>
                </a:moveTo>
                <a:lnTo>
                  <a:pt x="160" y="834"/>
                </a:lnTo>
                <a:cubicBezTo>
                  <a:pt x="165" y="834"/>
                  <a:pt x="170" y="838"/>
                  <a:pt x="170" y="844"/>
                </a:cubicBezTo>
                <a:cubicBezTo>
                  <a:pt x="170" y="850"/>
                  <a:pt x="165" y="855"/>
                  <a:pt x="160" y="855"/>
                </a:cubicBezTo>
                <a:lnTo>
                  <a:pt x="159" y="855"/>
                </a:lnTo>
                <a:cubicBezTo>
                  <a:pt x="154" y="855"/>
                  <a:pt x="149" y="850"/>
                  <a:pt x="149" y="844"/>
                </a:cubicBezTo>
                <a:cubicBezTo>
                  <a:pt x="149" y="838"/>
                  <a:pt x="154" y="834"/>
                  <a:pt x="159" y="834"/>
                </a:cubicBezTo>
                <a:close/>
                <a:moveTo>
                  <a:pt x="266" y="834"/>
                </a:moveTo>
                <a:lnTo>
                  <a:pt x="266" y="834"/>
                </a:lnTo>
                <a:cubicBezTo>
                  <a:pt x="272" y="834"/>
                  <a:pt x="277" y="838"/>
                  <a:pt x="277" y="844"/>
                </a:cubicBezTo>
                <a:cubicBezTo>
                  <a:pt x="277" y="850"/>
                  <a:pt x="272" y="855"/>
                  <a:pt x="266" y="855"/>
                </a:cubicBezTo>
                <a:cubicBezTo>
                  <a:pt x="260" y="855"/>
                  <a:pt x="256" y="850"/>
                  <a:pt x="256" y="844"/>
                </a:cubicBezTo>
                <a:cubicBezTo>
                  <a:pt x="256" y="838"/>
                  <a:pt x="260" y="834"/>
                  <a:pt x="266" y="834"/>
                </a:cubicBezTo>
                <a:close/>
                <a:moveTo>
                  <a:pt x="373" y="834"/>
                </a:moveTo>
                <a:lnTo>
                  <a:pt x="373" y="834"/>
                </a:lnTo>
                <a:cubicBezTo>
                  <a:pt x="379" y="834"/>
                  <a:pt x="384" y="838"/>
                  <a:pt x="384" y="844"/>
                </a:cubicBezTo>
                <a:cubicBezTo>
                  <a:pt x="384" y="850"/>
                  <a:pt x="379" y="855"/>
                  <a:pt x="373" y="855"/>
                </a:cubicBezTo>
                <a:cubicBezTo>
                  <a:pt x="367" y="855"/>
                  <a:pt x="362" y="850"/>
                  <a:pt x="362" y="844"/>
                </a:cubicBezTo>
                <a:cubicBezTo>
                  <a:pt x="362" y="838"/>
                  <a:pt x="367" y="834"/>
                  <a:pt x="373" y="834"/>
                </a:cubicBezTo>
                <a:close/>
                <a:moveTo>
                  <a:pt x="480" y="834"/>
                </a:moveTo>
                <a:lnTo>
                  <a:pt x="480" y="834"/>
                </a:lnTo>
                <a:cubicBezTo>
                  <a:pt x="485" y="834"/>
                  <a:pt x="490" y="838"/>
                  <a:pt x="490" y="844"/>
                </a:cubicBezTo>
                <a:cubicBezTo>
                  <a:pt x="490" y="850"/>
                  <a:pt x="485" y="855"/>
                  <a:pt x="480" y="855"/>
                </a:cubicBezTo>
                <a:cubicBezTo>
                  <a:pt x="474" y="855"/>
                  <a:pt x="469" y="850"/>
                  <a:pt x="469" y="844"/>
                </a:cubicBezTo>
                <a:cubicBezTo>
                  <a:pt x="469" y="838"/>
                  <a:pt x="474" y="834"/>
                  <a:pt x="480" y="834"/>
                </a:cubicBezTo>
                <a:close/>
                <a:moveTo>
                  <a:pt x="586" y="834"/>
                </a:moveTo>
                <a:lnTo>
                  <a:pt x="586" y="834"/>
                </a:lnTo>
                <a:cubicBezTo>
                  <a:pt x="592" y="834"/>
                  <a:pt x="597" y="838"/>
                  <a:pt x="597" y="844"/>
                </a:cubicBezTo>
                <a:cubicBezTo>
                  <a:pt x="597" y="850"/>
                  <a:pt x="592" y="855"/>
                  <a:pt x="586" y="855"/>
                </a:cubicBezTo>
                <a:cubicBezTo>
                  <a:pt x="580" y="855"/>
                  <a:pt x="576" y="850"/>
                  <a:pt x="576" y="844"/>
                </a:cubicBezTo>
                <a:cubicBezTo>
                  <a:pt x="576" y="838"/>
                  <a:pt x="580" y="834"/>
                  <a:pt x="586" y="834"/>
                </a:cubicBezTo>
                <a:close/>
                <a:moveTo>
                  <a:pt x="693" y="834"/>
                </a:moveTo>
                <a:lnTo>
                  <a:pt x="693" y="834"/>
                </a:lnTo>
                <a:cubicBezTo>
                  <a:pt x="699" y="834"/>
                  <a:pt x="704" y="838"/>
                  <a:pt x="704" y="844"/>
                </a:cubicBezTo>
                <a:cubicBezTo>
                  <a:pt x="704" y="850"/>
                  <a:pt x="699" y="855"/>
                  <a:pt x="693" y="855"/>
                </a:cubicBezTo>
                <a:cubicBezTo>
                  <a:pt x="687" y="855"/>
                  <a:pt x="682" y="850"/>
                  <a:pt x="682" y="844"/>
                </a:cubicBezTo>
                <a:cubicBezTo>
                  <a:pt x="682" y="838"/>
                  <a:pt x="687" y="834"/>
                  <a:pt x="693" y="834"/>
                </a:cubicBezTo>
                <a:close/>
                <a:moveTo>
                  <a:pt x="800" y="834"/>
                </a:moveTo>
                <a:lnTo>
                  <a:pt x="800" y="834"/>
                </a:lnTo>
                <a:cubicBezTo>
                  <a:pt x="806" y="834"/>
                  <a:pt x="810" y="838"/>
                  <a:pt x="810" y="844"/>
                </a:cubicBezTo>
                <a:cubicBezTo>
                  <a:pt x="810" y="850"/>
                  <a:pt x="806" y="855"/>
                  <a:pt x="800" y="855"/>
                </a:cubicBezTo>
                <a:cubicBezTo>
                  <a:pt x="794" y="855"/>
                  <a:pt x="789" y="850"/>
                  <a:pt x="789" y="844"/>
                </a:cubicBezTo>
                <a:cubicBezTo>
                  <a:pt x="789" y="838"/>
                  <a:pt x="794" y="834"/>
                  <a:pt x="800" y="834"/>
                </a:cubicBezTo>
                <a:close/>
                <a:moveTo>
                  <a:pt x="906" y="834"/>
                </a:moveTo>
                <a:lnTo>
                  <a:pt x="906" y="834"/>
                </a:lnTo>
                <a:cubicBezTo>
                  <a:pt x="912" y="834"/>
                  <a:pt x="917" y="838"/>
                  <a:pt x="917" y="844"/>
                </a:cubicBezTo>
                <a:cubicBezTo>
                  <a:pt x="917" y="850"/>
                  <a:pt x="912" y="855"/>
                  <a:pt x="906" y="855"/>
                </a:cubicBezTo>
                <a:cubicBezTo>
                  <a:pt x="900" y="855"/>
                  <a:pt x="896" y="850"/>
                  <a:pt x="896" y="844"/>
                </a:cubicBezTo>
                <a:cubicBezTo>
                  <a:pt x="896" y="838"/>
                  <a:pt x="900" y="834"/>
                  <a:pt x="906" y="834"/>
                </a:cubicBezTo>
                <a:close/>
                <a:moveTo>
                  <a:pt x="1013" y="834"/>
                </a:moveTo>
                <a:lnTo>
                  <a:pt x="1013" y="834"/>
                </a:lnTo>
                <a:cubicBezTo>
                  <a:pt x="1019" y="834"/>
                  <a:pt x="1024" y="838"/>
                  <a:pt x="1024" y="844"/>
                </a:cubicBezTo>
                <a:cubicBezTo>
                  <a:pt x="1024" y="850"/>
                  <a:pt x="1019" y="855"/>
                  <a:pt x="1013" y="855"/>
                </a:cubicBezTo>
                <a:cubicBezTo>
                  <a:pt x="1007" y="855"/>
                  <a:pt x="1002" y="850"/>
                  <a:pt x="1002" y="844"/>
                </a:cubicBezTo>
                <a:cubicBezTo>
                  <a:pt x="1002" y="838"/>
                  <a:pt x="1007" y="834"/>
                  <a:pt x="1013" y="834"/>
                </a:cubicBezTo>
                <a:close/>
                <a:moveTo>
                  <a:pt x="1120" y="834"/>
                </a:moveTo>
                <a:lnTo>
                  <a:pt x="1120" y="834"/>
                </a:lnTo>
                <a:cubicBezTo>
                  <a:pt x="1126" y="834"/>
                  <a:pt x="1130" y="838"/>
                  <a:pt x="1130" y="844"/>
                </a:cubicBezTo>
                <a:cubicBezTo>
                  <a:pt x="1130" y="850"/>
                  <a:pt x="1126" y="855"/>
                  <a:pt x="1120" y="855"/>
                </a:cubicBezTo>
                <a:cubicBezTo>
                  <a:pt x="1114" y="855"/>
                  <a:pt x="1109" y="850"/>
                  <a:pt x="1109" y="844"/>
                </a:cubicBezTo>
                <a:cubicBezTo>
                  <a:pt x="1109" y="838"/>
                  <a:pt x="1114" y="834"/>
                  <a:pt x="1120" y="834"/>
                </a:cubicBezTo>
                <a:close/>
                <a:moveTo>
                  <a:pt x="1226" y="834"/>
                </a:moveTo>
                <a:lnTo>
                  <a:pt x="1226" y="834"/>
                </a:lnTo>
                <a:cubicBezTo>
                  <a:pt x="1232" y="834"/>
                  <a:pt x="1237" y="838"/>
                  <a:pt x="1237" y="844"/>
                </a:cubicBezTo>
                <a:cubicBezTo>
                  <a:pt x="1237" y="850"/>
                  <a:pt x="1232" y="855"/>
                  <a:pt x="1226" y="855"/>
                </a:cubicBezTo>
                <a:cubicBezTo>
                  <a:pt x="1220" y="855"/>
                  <a:pt x="1216" y="850"/>
                  <a:pt x="1216" y="844"/>
                </a:cubicBezTo>
                <a:cubicBezTo>
                  <a:pt x="1216" y="838"/>
                  <a:pt x="1220" y="834"/>
                  <a:pt x="1226" y="834"/>
                </a:cubicBezTo>
                <a:close/>
                <a:moveTo>
                  <a:pt x="1333" y="834"/>
                </a:moveTo>
                <a:lnTo>
                  <a:pt x="1333" y="834"/>
                </a:lnTo>
                <a:cubicBezTo>
                  <a:pt x="1339" y="834"/>
                  <a:pt x="1344" y="838"/>
                  <a:pt x="1344" y="844"/>
                </a:cubicBezTo>
                <a:cubicBezTo>
                  <a:pt x="1344" y="850"/>
                  <a:pt x="1339" y="855"/>
                  <a:pt x="1333" y="855"/>
                </a:cubicBezTo>
                <a:cubicBezTo>
                  <a:pt x="1327" y="855"/>
                  <a:pt x="1322" y="850"/>
                  <a:pt x="1322" y="844"/>
                </a:cubicBezTo>
                <a:cubicBezTo>
                  <a:pt x="1322" y="838"/>
                  <a:pt x="1327" y="834"/>
                  <a:pt x="1333" y="834"/>
                </a:cubicBezTo>
                <a:close/>
                <a:moveTo>
                  <a:pt x="1440" y="834"/>
                </a:moveTo>
                <a:lnTo>
                  <a:pt x="1440" y="834"/>
                </a:lnTo>
                <a:cubicBezTo>
                  <a:pt x="1446" y="834"/>
                  <a:pt x="1450" y="838"/>
                  <a:pt x="1450" y="844"/>
                </a:cubicBezTo>
                <a:cubicBezTo>
                  <a:pt x="1450" y="850"/>
                  <a:pt x="1446" y="855"/>
                  <a:pt x="1440" y="855"/>
                </a:cubicBezTo>
                <a:cubicBezTo>
                  <a:pt x="1434" y="855"/>
                  <a:pt x="1429" y="850"/>
                  <a:pt x="1429" y="844"/>
                </a:cubicBezTo>
                <a:cubicBezTo>
                  <a:pt x="1429" y="838"/>
                  <a:pt x="1434" y="834"/>
                  <a:pt x="1440" y="834"/>
                </a:cubicBezTo>
                <a:close/>
                <a:moveTo>
                  <a:pt x="1546" y="834"/>
                </a:moveTo>
                <a:lnTo>
                  <a:pt x="1546" y="834"/>
                </a:lnTo>
                <a:cubicBezTo>
                  <a:pt x="1552" y="834"/>
                  <a:pt x="1557" y="838"/>
                  <a:pt x="1557" y="844"/>
                </a:cubicBezTo>
                <a:cubicBezTo>
                  <a:pt x="1557" y="850"/>
                  <a:pt x="1552" y="855"/>
                  <a:pt x="1546" y="855"/>
                </a:cubicBezTo>
                <a:cubicBezTo>
                  <a:pt x="1541" y="855"/>
                  <a:pt x="1536" y="850"/>
                  <a:pt x="1536" y="844"/>
                </a:cubicBezTo>
                <a:cubicBezTo>
                  <a:pt x="1536" y="838"/>
                  <a:pt x="1541" y="834"/>
                  <a:pt x="1546" y="834"/>
                </a:cubicBezTo>
                <a:close/>
                <a:moveTo>
                  <a:pt x="1653" y="834"/>
                </a:moveTo>
                <a:lnTo>
                  <a:pt x="1653" y="834"/>
                </a:lnTo>
                <a:cubicBezTo>
                  <a:pt x="1659" y="834"/>
                  <a:pt x="1664" y="838"/>
                  <a:pt x="1664" y="844"/>
                </a:cubicBezTo>
                <a:cubicBezTo>
                  <a:pt x="1664" y="850"/>
                  <a:pt x="1659" y="855"/>
                  <a:pt x="1653" y="855"/>
                </a:cubicBezTo>
                <a:cubicBezTo>
                  <a:pt x="1647" y="855"/>
                  <a:pt x="1642" y="850"/>
                  <a:pt x="1642" y="844"/>
                </a:cubicBezTo>
                <a:cubicBezTo>
                  <a:pt x="1642" y="838"/>
                  <a:pt x="1647" y="834"/>
                  <a:pt x="1653" y="834"/>
                </a:cubicBezTo>
                <a:close/>
                <a:moveTo>
                  <a:pt x="1760" y="834"/>
                </a:moveTo>
                <a:lnTo>
                  <a:pt x="1760" y="834"/>
                </a:lnTo>
                <a:cubicBezTo>
                  <a:pt x="1766" y="834"/>
                  <a:pt x="1771" y="838"/>
                  <a:pt x="1771" y="844"/>
                </a:cubicBezTo>
                <a:cubicBezTo>
                  <a:pt x="1771" y="850"/>
                  <a:pt x="1766" y="855"/>
                  <a:pt x="1760" y="855"/>
                </a:cubicBezTo>
                <a:cubicBezTo>
                  <a:pt x="1754" y="855"/>
                  <a:pt x="1749" y="850"/>
                  <a:pt x="1749" y="844"/>
                </a:cubicBezTo>
                <a:cubicBezTo>
                  <a:pt x="1749" y="838"/>
                  <a:pt x="1754" y="834"/>
                  <a:pt x="1760" y="834"/>
                </a:cubicBezTo>
                <a:close/>
                <a:moveTo>
                  <a:pt x="1867" y="834"/>
                </a:moveTo>
                <a:lnTo>
                  <a:pt x="1867" y="834"/>
                </a:lnTo>
                <a:cubicBezTo>
                  <a:pt x="1872" y="834"/>
                  <a:pt x="1877" y="838"/>
                  <a:pt x="1877" y="844"/>
                </a:cubicBezTo>
                <a:cubicBezTo>
                  <a:pt x="1877" y="850"/>
                  <a:pt x="1872" y="855"/>
                  <a:pt x="1867" y="855"/>
                </a:cubicBezTo>
                <a:cubicBezTo>
                  <a:pt x="1861" y="855"/>
                  <a:pt x="1856" y="850"/>
                  <a:pt x="1856" y="844"/>
                </a:cubicBezTo>
                <a:cubicBezTo>
                  <a:pt x="1856" y="838"/>
                  <a:pt x="1861" y="834"/>
                  <a:pt x="1867" y="834"/>
                </a:cubicBezTo>
                <a:close/>
                <a:moveTo>
                  <a:pt x="1973" y="834"/>
                </a:moveTo>
                <a:lnTo>
                  <a:pt x="1973" y="834"/>
                </a:lnTo>
                <a:cubicBezTo>
                  <a:pt x="1979" y="834"/>
                  <a:pt x="1984" y="838"/>
                  <a:pt x="1984" y="844"/>
                </a:cubicBezTo>
                <a:cubicBezTo>
                  <a:pt x="1984" y="850"/>
                  <a:pt x="1979" y="855"/>
                  <a:pt x="1973" y="855"/>
                </a:cubicBezTo>
                <a:cubicBezTo>
                  <a:pt x="1967" y="855"/>
                  <a:pt x="1963" y="850"/>
                  <a:pt x="1963" y="844"/>
                </a:cubicBezTo>
                <a:cubicBezTo>
                  <a:pt x="1963" y="838"/>
                  <a:pt x="1967" y="834"/>
                  <a:pt x="1973" y="834"/>
                </a:cubicBezTo>
                <a:close/>
                <a:moveTo>
                  <a:pt x="2080" y="834"/>
                </a:moveTo>
                <a:lnTo>
                  <a:pt x="2080" y="834"/>
                </a:lnTo>
                <a:cubicBezTo>
                  <a:pt x="2086" y="834"/>
                  <a:pt x="2091" y="838"/>
                  <a:pt x="2091" y="844"/>
                </a:cubicBezTo>
                <a:cubicBezTo>
                  <a:pt x="2091" y="850"/>
                  <a:pt x="2086" y="855"/>
                  <a:pt x="2080" y="855"/>
                </a:cubicBezTo>
                <a:cubicBezTo>
                  <a:pt x="2074" y="855"/>
                  <a:pt x="2069" y="850"/>
                  <a:pt x="2069" y="844"/>
                </a:cubicBezTo>
                <a:cubicBezTo>
                  <a:pt x="2069" y="838"/>
                  <a:pt x="2074" y="834"/>
                  <a:pt x="2080" y="834"/>
                </a:cubicBezTo>
                <a:close/>
                <a:moveTo>
                  <a:pt x="2112" y="781"/>
                </a:moveTo>
                <a:lnTo>
                  <a:pt x="2112" y="781"/>
                </a:lnTo>
                <a:cubicBezTo>
                  <a:pt x="2112" y="775"/>
                  <a:pt x="2117" y="770"/>
                  <a:pt x="2123" y="770"/>
                </a:cubicBezTo>
                <a:cubicBezTo>
                  <a:pt x="2129" y="770"/>
                  <a:pt x="2134" y="775"/>
                  <a:pt x="2134" y="781"/>
                </a:cubicBezTo>
                <a:cubicBezTo>
                  <a:pt x="2134" y="787"/>
                  <a:pt x="2129" y="792"/>
                  <a:pt x="2123" y="792"/>
                </a:cubicBezTo>
                <a:cubicBezTo>
                  <a:pt x="2117" y="792"/>
                  <a:pt x="2112" y="787"/>
                  <a:pt x="2112" y="781"/>
                </a:cubicBezTo>
                <a:close/>
                <a:moveTo>
                  <a:pt x="2112" y="674"/>
                </a:moveTo>
                <a:lnTo>
                  <a:pt x="2112" y="674"/>
                </a:lnTo>
                <a:cubicBezTo>
                  <a:pt x="2112" y="668"/>
                  <a:pt x="2117" y="663"/>
                  <a:pt x="2123" y="663"/>
                </a:cubicBezTo>
                <a:cubicBezTo>
                  <a:pt x="2129" y="663"/>
                  <a:pt x="2134" y="668"/>
                  <a:pt x="2134" y="674"/>
                </a:cubicBezTo>
                <a:cubicBezTo>
                  <a:pt x="2134" y="680"/>
                  <a:pt x="2129" y="685"/>
                  <a:pt x="2123" y="685"/>
                </a:cubicBezTo>
                <a:cubicBezTo>
                  <a:pt x="2117" y="685"/>
                  <a:pt x="2112" y="680"/>
                  <a:pt x="2112" y="674"/>
                </a:cubicBezTo>
                <a:close/>
                <a:moveTo>
                  <a:pt x="2112" y="567"/>
                </a:moveTo>
                <a:lnTo>
                  <a:pt x="2112" y="567"/>
                </a:lnTo>
                <a:cubicBezTo>
                  <a:pt x="2112" y="562"/>
                  <a:pt x="2117" y="557"/>
                  <a:pt x="2123" y="557"/>
                </a:cubicBezTo>
                <a:cubicBezTo>
                  <a:pt x="2129" y="557"/>
                  <a:pt x="2134" y="562"/>
                  <a:pt x="2134" y="567"/>
                </a:cubicBezTo>
                <a:cubicBezTo>
                  <a:pt x="2134" y="573"/>
                  <a:pt x="2129" y="578"/>
                  <a:pt x="2123" y="578"/>
                </a:cubicBezTo>
                <a:cubicBezTo>
                  <a:pt x="2117" y="578"/>
                  <a:pt x="2112" y="573"/>
                  <a:pt x="2112" y="567"/>
                </a:cubicBezTo>
                <a:close/>
                <a:moveTo>
                  <a:pt x="2112" y="461"/>
                </a:moveTo>
                <a:lnTo>
                  <a:pt x="2112" y="461"/>
                </a:lnTo>
                <a:cubicBezTo>
                  <a:pt x="2112" y="455"/>
                  <a:pt x="2117" y="450"/>
                  <a:pt x="2123" y="450"/>
                </a:cubicBezTo>
                <a:cubicBezTo>
                  <a:pt x="2129" y="450"/>
                  <a:pt x="2134" y="455"/>
                  <a:pt x="2134" y="461"/>
                </a:cubicBezTo>
                <a:cubicBezTo>
                  <a:pt x="2134" y="467"/>
                  <a:pt x="2129" y="471"/>
                  <a:pt x="2123" y="471"/>
                </a:cubicBezTo>
                <a:cubicBezTo>
                  <a:pt x="2117" y="471"/>
                  <a:pt x="2112" y="467"/>
                  <a:pt x="2112" y="461"/>
                </a:cubicBezTo>
                <a:close/>
                <a:moveTo>
                  <a:pt x="2112" y="354"/>
                </a:moveTo>
                <a:lnTo>
                  <a:pt x="2112" y="354"/>
                </a:lnTo>
                <a:cubicBezTo>
                  <a:pt x="2112" y="348"/>
                  <a:pt x="2117" y="343"/>
                  <a:pt x="2123" y="343"/>
                </a:cubicBezTo>
                <a:cubicBezTo>
                  <a:pt x="2129" y="343"/>
                  <a:pt x="2134" y="348"/>
                  <a:pt x="2134" y="354"/>
                </a:cubicBezTo>
                <a:cubicBezTo>
                  <a:pt x="2134" y="360"/>
                  <a:pt x="2129" y="365"/>
                  <a:pt x="2123" y="365"/>
                </a:cubicBezTo>
                <a:cubicBezTo>
                  <a:pt x="2117" y="365"/>
                  <a:pt x="2112" y="360"/>
                  <a:pt x="2112" y="354"/>
                </a:cubicBezTo>
                <a:close/>
                <a:moveTo>
                  <a:pt x="2112" y="247"/>
                </a:moveTo>
                <a:lnTo>
                  <a:pt x="2112" y="247"/>
                </a:lnTo>
                <a:cubicBezTo>
                  <a:pt x="2112" y="242"/>
                  <a:pt x="2117" y="237"/>
                  <a:pt x="2123" y="237"/>
                </a:cubicBezTo>
                <a:cubicBezTo>
                  <a:pt x="2129" y="237"/>
                  <a:pt x="2134" y="242"/>
                  <a:pt x="2134" y="247"/>
                </a:cubicBezTo>
                <a:cubicBezTo>
                  <a:pt x="2134" y="253"/>
                  <a:pt x="2129" y="258"/>
                  <a:pt x="2123" y="258"/>
                </a:cubicBezTo>
                <a:cubicBezTo>
                  <a:pt x="2117" y="258"/>
                  <a:pt x="2112" y="253"/>
                  <a:pt x="2112" y="247"/>
                </a:cubicBezTo>
                <a:close/>
                <a:moveTo>
                  <a:pt x="2112" y="141"/>
                </a:moveTo>
                <a:lnTo>
                  <a:pt x="2112" y="141"/>
                </a:lnTo>
                <a:cubicBezTo>
                  <a:pt x="2112" y="135"/>
                  <a:pt x="2117" y="130"/>
                  <a:pt x="2123" y="130"/>
                </a:cubicBezTo>
                <a:cubicBezTo>
                  <a:pt x="2129" y="130"/>
                  <a:pt x="2134" y="135"/>
                  <a:pt x="2134" y="141"/>
                </a:cubicBezTo>
                <a:cubicBezTo>
                  <a:pt x="2134" y="147"/>
                  <a:pt x="2129" y="151"/>
                  <a:pt x="2123" y="151"/>
                </a:cubicBezTo>
                <a:cubicBezTo>
                  <a:pt x="2117" y="151"/>
                  <a:pt x="2112" y="147"/>
                  <a:pt x="2112" y="141"/>
                </a:cubicBezTo>
                <a:close/>
                <a:moveTo>
                  <a:pt x="2112" y="34"/>
                </a:moveTo>
                <a:lnTo>
                  <a:pt x="2112" y="34"/>
                </a:lnTo>
                <a:cubicBezTo>
                  <a:pt x="2112" y="28"/>
                  <a:pt x="2117" y="23"/>
                  <a:pt x="2123" y="23"/>
                </a:cubicBezTo>
                <a:cubicBezTo>
                  <a:pt x="2129" y="23"/>
                  <a:pt x="2134" y="28"/>
                  <a:pt x="2134" y="34"/>
                </a:cubicBezTo>
                <a:cubicBezTo>
                  <a:pt x="2134" y="40"/>
                  <a:pt x="2129" y="45"/>
                  <a:pt x="2123" y="45"/>
                </a:cubicBezTo>
                <a:cubicBezTo>
                  <a:pt x="2117" y="45"/>
                  <a:pt x="2112" y="40"/>
                  <a:pt x="2112" y="34"/>
                </a:cubicBezTo>
                <a:close/>
                <a:moveTo>
                  <a:pt x="2039" y="22"/>
                </a:moveTo>
                <a:lnTo>
                  <a:pt x="2039" y="22"/>
                </a:lnTo>
                <a:cubicBezTo>
                  <a:pt x="2033" y="22"/>
                  <a:pt x="2029" y="17"/>
                  <a:pt x="2029" y="11"/>
                </a:cubicBezTo>
                <a:cubicBezTo>
                  <a:pt x="2029" y="5"/>
                  <a:pt x="2033" y="0"/>
                  <a:pt x="2039" y="0"/>
                </a:cubicBezTo>
                <a:cubicBezTo>
                  <a:pt x="2045" y="0"/>
                  <a:pt x="2050" y="5"/>
                  <a:pt x="2050" y="11"/>
                </a:cubicBezTo>
                <a:cubicBezTo>
                  <a:pt x="2050" y="17"/>
                  <a:pt x="2045" y="22"/>
                  <a:pt x="2039" y="22"/>
                </a:cubicBezTo>
                <a:close/>
                <a:moveTo>
                  <a:pt x="1933" y="22"/>
                </a:moveTo>
                <a:lnTo>
                  <a:pt x="1933" y="22"/>
                </a:lnTo>
                <a:cubicBezTo>
                  <a:pt x="1927" y="22"/>
                  <a:pt x="1922" y="17"/>
                  <a:pt x="1922" y="11"/>
                </a:cubicBezTo>
                <a:cubicBezTo>
                  <a:pt x="1922" y="5"/>
                  <a:pt x="1927" y="0"/>
                  <a:pt x="1933" y="0"/>
                </a:cubicBezTo>
                <a:cubicBezTo>
                  <a:pt x="1939" y="0"/>
                  <a:pt x="1943" y="5"/>
                  <a:pt x="1943" y="11"/>
                </a:cubicBezTo>
                <a:cubicBezTo>
                  <a:pt x="1943" y="17"/>
                  <a:pt x="1939" y="22"/>
                  <a:pt x="1933" y="22"/>
                </a:cubicBezTo>
                <a:close/>
                <a:moveTo>
                  <a:pt x="1826" y="22"/>
                </a:moveTo>
                <a:lnTo>
                  <a:pt x="1826" y="22"/>
                </a:lnTo>
                <a:cubicBezTo>
                  <a:pt x="1820" y="22"/>
                  <a:pt x="1815" y="17"/>
                  <a:pt x="1815" y="11"/>
                </a:cubicBezTo>
                <a:cubicBezTo>
                  <a:pt x="1815" y="5"/>
                  <a:pt x="1820" y="0"/>
                  <a:pt x="1826" y="0"/>
                </a:cubicBezTo>
                <a:cubicBezTo>
                  <a:pt x="1832" y="0"/>
                  <a:pt x="1837" y="5"/>
                  <a:pt x="1837" y="11"/>
                </a:cubicBezTo>
                <a:cubicBezTo>
                  <a:pt x="1837" y="17"/>
                  <a:pt x="1832" y="22"/>
                  <a:pt x="1826" y="22"/>
                </a:cubicBezTo>
                <a:close/>
                <a:moveTo>
                  <a:pt x="1719" y="22"/>
                </a:moveTo>
                <a:lnTo>
                  <a:pt x="1719" y="22"/>
                </a:lnTo>
                <a:cubicBezTo>
                  <a:pt x="1713" y="22"/>
                  <a:pt x="1709" y="17"/>
                  <a:pt x="1709" y="11"/>
                </a:cubicBezTo>
                <a:cubicBezTo>
                  <a:pt x="1709" y="5"/>
                  <a:pt x="1713" y="0"/>
                  <a:pt x="1719" y="0"/>
                </a:cubicBezTo>
                <a:cubicBezTo>
                  <a:pt x="1725" y="0"/>
                  <a:pt x="1730" y="5"/>
                  <a:pt x="1730" y="11"/>
                </a:cubicBezTo>
                <a:cubicBezTo>
                  <a:pt x="1730" y="17"/>
                  <a:pt x="1725" y="22"/>
                  <a:pt x="1719" y="22"/>
                </a:cubicBezTo>
                <a:close/>
                <a:moveTo>
                  <a:pt x="1613" y="22"/>
                </a:moveTo>
                <a:lnTo>
                  <a:pt x="1613" y="22"/>
                </a:lnTo>
                <a:cubicBezTo>
                  <a:pt x="1607" y="22"/>
                  <a:pt x="1602" y="17"/>
                  <a:pt x="1602" y="11"/>
                </a:cubicBezTo>
                <a:cubicBezTo>
                  <a:pt x="1602" y="5"/>
                  <a:pt x="1607" y="0"/>
                  <a:pt x="1613" y="0"/>
                </a:cubicBezTo>
                <a:cubicBezTo>
                  <a:pt x="1619" y="0"/>
                  <a:pt x="1623" y="5"/>
                  <a:pt x="1623" y="11"/>
                </a:cubicBezTo>
                <a:cubicBezTo>
                  <a:pt x="1623" y="17"/>
                  <a:pt x="1619" y="22"/>
                  <a:pt x="1613" y="22"/>
                </a:cubicBezTo>
                <a:close/>
                <a:moveTo>
                  <a:pt x="1506" y="22"/>
                </a:moveTo>
                <a:lnTo>
                  <a:pt x="1506" y="22"/>
                </a:lnTo>
                <a:cubicBezTo>
                  <a:pt x="1500" y="22"/>
                  <a:pt x="1495" y="17"/>
                  <a:pt x="1495" y="11"/>
                </a:cubicBezTo>
                <a:cubicBezTo>
                  <a:pt x="1495" y="5"/>
                  <a:pt x="1500" y="0"/>
                  <a:pt x="1506" y="0"/>
                </a:cubicBezTo>
                <a:cubicBezTo>
                  <a:pt x="1512" y="0"/>
                  <a:pt x="1517" y="5"/>
                  <a:pt x="1517" y="11"/>
                </a:cubicBezTo>
                <a:cubicBezTo>
                  <a:pt x="1517" y="17"/>
                  <a:pt x="1512" y="22"/>
                  <a:pt x="1506" y="22"/>
                </a:cubicBezTo>
                <a:close/>
                <a:moveTo>
                  <a:pt x="1399" y="22"/>
                </a:moveTo>
                <a:lnTo>
                  <a:pt x="1399" y="22"/>
                </a:lnTo>
                <a:cubicBezTo>
                  <a:pt x="1393" y="22"/>
                  <a:pt x="1389" y="17"/>
                  <a:pt x="1389" y="11"/>
                </a:cubicBezTo>
                <a:cubicBezTo>
                  <a:pt x="1389" y="5"/>
                  <a:pt x="1393" y="0"/>
                  <a:pt x="1399" y="0"/>
                </a:cubicBezTo>
                <a:cubicBezTo>
                  <a:pt x="1405" y="0"/>
                  <a:pt x="1410" y="5"/>
                  <a:pt x="1410" y="11"/>
                </a:cubicBezTo>
                <a:cubicBezTo>
                  <a:pt x="1410" y="17"/>
                  <a:pt x="1405" y="22"/>
                  <a:pt x="1399" y="22"/>
                </a:cubicBezTo>
                <a:close/>
                <a:moveTo>
                  <a:pt x="1293" y="22"/>
                </a:moveTo>
                <a:lnTo>
                  <a:pt x="1293" y="22"/>
                </a:lnTo>
                <a:cubicBezTo>
                  <a:pt x="1287" y="22"/>
                  <a:pt x="1282" y="17"/>
                  <a:pt x="1282" y="11"/>
                </a:cubicBezTo>
                <a:cubicBezTo>
                  <a:pt x="1282" y="5"/>
                  <a:pt x="1287" y="0"/>
                  <a:pt x="1293" y="0"/>
                </a:cubicBezTo>
                <a:cubicBezTo>
                  <a:pt x="1298" y="0"/>
                  <a:pt x="1303" y="5"/>
                  <a:pt x="1303" y="11"/>
                </a:cubicBezTo>
                <a:cubicBezTo>
                  <a:pt x="1303" y="17"/>
                  <a:pt x="1298" y="22"/>
                  <a:pt x="1293" y="22"/>
                </a:cubicBezTo>
                <a:close/>
                <a:moveTo>
                  <a:pt x="1186" y="22"/>
                </a:moveTo>
                <a:lnTo>
                  <a:pt x="1186" y="22"/>
                </a:lnTo>
                <a:cubicBezTo>
                  <a:pt x="1180" y="22"/>
                  <a:pt x="1175" y="17"/>
                  <a:pt x="1175" y="11"/>
                </a:cubicBezTo>
                <a:cubicBezTo>
                  <a:pt x="1175" y="5"/>
                  <a:pt x="1180" y="0"/>
                  <a:pt x="1186" y="0"/>
                </a:cubicBezTo>
                <a:cubicBezTo>
                  <a:pt x="1192" y="0"/>
                  <a:pt x="1197" y="5"/>
                  <a:pt x="1197" y="11"/>
                </a:cubicBezTo>
                <a:cubicBezTo>
                  <a:pt x="1197" y="17"/>
                  <a:pt x="1192" y="22"/>
                  <a:pt x="1186" y="22"/>
                </a:cubicBezTo>
                <a:close/>
                <a:moveTo>
                  <a:pt x="1079" y="22"/>
                </a:moveTo>
                <a:lnTo>
                  <a:pt x="1079" y="22"/>
                </a:lnTo>
                <a:cubicBezTo>
                  <a:pt x="1073" y="22"/>
                  <a:pt x="1068" y="17"/>
                  <a:pt x="1068" y="11"/>
                </a:cubicBezTo>
                <a:cubicBezTo>
                  <a:pt x="1068" y="5"/>
                  <a:pt x="1073" y="0"/>
                  <a:pt x="1079" y="0"/>
                </a:cubicBezTo>
                <a:cubicBezTo>
                  <a:pt x="1085" y="0"/>
                  <a:pt x="1090" y="5"/>
                  <a:pt x="1090" y="11"/>
                </a:cubicBezTo>
                <a:cubicBezTo>
                  <a:pt x="1090" y="17"/>
                  <a:pt x="1085" y="22"/>
                  <a:pt x="1079" y="22"/>
                </a:cubicBezTo>
                <a:close/>
                <a:moveTo>
                  <a:pt x="972" y="22"/>
                </a:moveTo>
                <a:lnTo>
                  <a:pt x="972" y="22"/>
                </a:lnTo>
                <a:cubicBezTo>
                  <a:pt x="967" y="22"/>
                  <a:pt x="962" y="17"/>
                  <a:pt x="962" y="11"/>
                </a:cubicBezTo>
                <a:cubicBezTo>
                  <a:pt x="962" y="5"/>
                  <a:pt x="967" y="0"/>
                  <a:pt x="972" y="0"/>
                </a:cubicBezTo>
                <a:cubicBezTo>
                  <a:pt x="978" y="0"/>
                  <a:pt x="983" y="5"/>
                  <a:pt x="983" y="11"/>
                </a:cubicBezTo>
                <a:cubicBezTo>
                  <a:pt x="983" y="17"/>
                  <a:pt x="978" y="22"/>
                  <a:pt x="972" y="22"/>
                </a:cubicBezTo>
                <a:close/>
                <a:moveTo>
                  <a:pt x="866" y="22"/>
                </a:moveTo>
                <a:lnTo>
                  <a:pt x="866" y="22"/>
                </a:lnTo>
                <a:cubicBezTo>
                  <a:pt x="860" y="22"/>
                  <a:pt x="855" y="17"/>
                  <a:pt x="855" y="11"/>
                </a:cubicBezTo>
                <a:cubicBezTo>
                  <a:pt x="855" y="5"/>
                  <a:pt x="860" y="0"/>
                  <a:pt x="866" y="0"/>
                </a:cubicBezTo>
                <a:cubicBezTo>
                  <a:pt x="872" y="0"/>
                  <a:pt x="876" y="5"/>
                  <a:pt x="876" y="11"/>
                </a:cubicBezTo>
                <a:cubicBezTo>
                  <a:pt x="876" y="17"/>
                  <a:pt x="872" y="22"/>
                  <a:pt x="866" y="22"/>
                </a:cubicBezTo>
                <a:close/>
                <a:moveTo>
                  <a:pt x="759" y="22"/>
                </a:moveTo>
                <a:lnTo>
                  <a:pt x="759" y="22"/>
                </a:lnTo>
                <a:cubicBezTo>
                  <a:pt x="753" y="22"/>
                  <a:pt x="748" y="17"/>
                  <a:pt x="748" y="11"/>
                </a:cubicBezTo>
                <a:cubicBezTo>
                  <a:pt x="748" y="5"/>
                  <a:pt x="753" y="0"/>
                  <a:pt x="759" y="0"/>
                </a:cubicBezTo>
                <a:cubicBezTo>
                  <a:pt x="765" y="0"/>
                  <a:pt x="770" y="5"/>
                  <a:pt x="770" y="11"/>
                </a:cubicBezTo>
                <a:cubicBezTo>
                  <a:pt x="770" y="17"/>
                  <a:pt x="765" y="22"/>
                  <a:pt x="759" y="22"/>
                </a:cubicBezTo>
                <a:close/>
                <a:moveTo>
                  <a:pt x="652" y="22"/>
                </a:moveTo>
                <a:lnTo>
                  <a:pt x="652" y="22"/>
                </a:lnTo>
                <a:cubicBezTo>
                  <a:pt x="647" y="22"/>
                  <a:pt x="642" y="17"/>
                  <a:pt x="642" y="11"/>
                </a:cubicBezTo>
                <a:cubicBezTo>
                  <a:pt x="642" y="5"/>
                  <a:pt x="647" y="0"/>
                  <a:pt x="652" y="0"/>
                </a:cubicBezTo>
                <a:cubicBezTo>
                  <a:pt x="658" y="0"/>
                  <a:pt x="663" y="5"/>
                  <a:pt x="663" y="11"/>
                </a:cubicBezTo>
                <a:cubicBezTo>
                  <a:pt x="663" y="17"/>
                  <a:pt x="658" y="22"/>
                  <a:pt x="652" y="22"/>
                </a:cubicBezTo>
                <a:close/>
                <a:moveTo>
                  <a:pt x="546" y="22"/>
                </a:moveTo>
                <a:lnTo>
                  <a:pt x="546" y="22"/>
                </a:lnTo>
                <a:cubicBezTo>
                  <a:pt x="540" y="22"/>
                  <a:pt x="535" y="17"/>
                  <a:pt x="535" y="11"/>
                </a:cubicBezTo>
                <a:cubicBezTo>
                  <a:pt x="535" y="5"/>
                  <a:pt x="540" y="0"/>
                  <a:pt x="546" y="0"/>
                </a:cubicBezTo>
                <a:cubicBezTo>
                  <a:pt x="552" y="0"/>
                  <a:pt x="556" y="5"/>
                  <a:pt x="556" y="11"/>
                </a:cubicBezTo>
                <a:cubicBezTo>
                  <a:pt x="556" y="17"/>
                  <a:pt x="552" y="22"/>
                  <a:pt x="546" y="22"/>
                </a:cubicBezTo>
                <a:close/>
                <a:moveTo>
                  <a:pt x="439" y="22"/>
                </a:moveTo>
                <a:lnTo>
                  <a:pt x="439" y="22"/>
                </a:lnTo>
                <a:cubicBezTo>
                  <a:pt x="433" y="22"/>
                  <a:pt x="428" y="17"/>
                  <a:pt x="428" y="11"/>
                </a:cubicBezTo>
                <a:cubicBezTo>
                  <a:pt x="428" y="5"/>
                  <a:pt x="433" y="0"/>
                  <a:pt x="439" y="0"/>
                </a:cubicBezTo>
                <a:cubicBezTo>
                  <a:pt x="445" y="0"/>
                  <a:pt x="450" y="5"/>
                  <a:pt x="450" y="11"/>
                </a:cubicBezTo>
                <a:cubicBezTo>
                  <a:pt x="450" y="17"/>
                  <a:pt x="445" y="22"/>
                  <a:pt x="439" y="22"/>
                </a:cubicBezTo>
                <a:close/>
                <a:moveTo>
                  <a:pt x="332" y="22"/>
                </a:moveTo>
                <a:lnTo>
                  <a:pt x="332" y="22"/>
                </a:lnTo>
                <a:cubicBezTo>
                  <a:pt x="326" y="22"/>
                  <a:pt x="322" y="17"/>
                  <a:pt x="322" y="11"/>
                </a:cubicBezTo>
                <a:cubicBezTo>
                  <a:pt x="322" y="5"/>
                  <a:pt x="326" y="0"/>
                  <a:pt x="332" y="0"/>
                </a:cubicBezTo>
                <a:cubicBezTo>
                  <a:pt x="338" y="0"/>
                  <a:pt x="343" y="5"/>
                  <a:pt x="343" y="11"/>
                </a:cubicBezTo>
                <a:cubicBezTo>
                  <a:pt x="343" y="17"/>
                  <a:pt x="338" y="22"/>
                  <a:pt x="332" y="22"/>
                </a:cubicBezTo>
                <a:close/>
                <a:moveTo>
                  <a:pt x="226" y="22"/>
                </a:moveTo>
                <a:lnTo>
                  <a:pt x="226" y="22"/>
                </a:lnTo>
                <a:cubicBezTo>
                  <a:pt x="220" y="22"/>
                  <a:pt x="215" y="17"/>
                  <a:pt x="215" y="11"/>
                </a:cubicBezTo>
                <a:cubicBezTo>
                  <a:pt x="215" y="5"/>
                  <a:pt x="220" y="0"/>
                  <a:pt x="226" y="0"/>
                </a:cubicBezTo>
                <a:cubicBezTo>
                  <a:pt x="232" y="0"/>
                  <a:pt x="236" y="5"/>
                  <a:pt x="236" y="11"/>
                </a:cubicBezTo>
                <a:cubicBezTo>
                  <a:pt x="236" y="17"/>
                  <a:pt x="232" y="22"/>
                  <a:pt x="226" y="22"/>
                </a:cubicBezTo>
                <a:close/>
                <a:moveTo>
                  <a:pt x="119" y="22"/>
                </a:moveTo>
                <a:lnTo>
                  <a:pt x="119" y="22"/>
                </a:lnTo>
                <a:cubicBezTo>
                  <a:pt x="113" y="22"/>
                  <a:pt x="108" y="17"/>
                  <a:pt x="108" y="11"/>
                </a:cubicBezTo>
                <a:cubicBezTo>
                  <a:pt x="108" y="5"/>
                  <a:pt x="113" y="0"/>
                  <a:pt x="119" y="0"/>
                </a:cubicBezTo>
                <a:cubicBezTo>
                  <a:pt x="125" y="0"/>
                  <a:pt x="130" y="5"/>
                  <a:pt x="130" y="11"/>
                </a:cubicBezTo>
                <a:cubicBezTo>
                  <a:pt x="130" y="17"/>
                  <a:pt x="125" y="22"/>
                  <a:pt x="119" y="22"/>
                </a:cubicBezTo>
                <a:close/>
                <a:moveTo>
                  <a:pt x="12" y="22"/>
                </a:moveTo>
                <a:lnTo>
                  <a:pt x="12" y="22"/>
                </a:lnTo>
                <a:cubicBezTo>
                  <a:pt x="6" y="22"/>
                  <a:pt x="2" y="17"/>
                  <a:pt x="2" y="11"/>
                </a:cubicBezTo>
                <a:cubicBezTo>
                  <a:pt x="2" y="5"/>
                  <a:pt x="6" y="0"/>
                  <a:pt x="12" y="0"/>
                </a:cubicBezTo>
                <a:cubicBezTo>
                  <a:pt x="18" y="0"/>
                  <a:pt x="23" y="5"/>
                  <a:pt x="23" y="11"/>
                </a:cubicBezTo>
                <a:cubicBezTo>
                  <a:pt x="23" y="17"/>
                  <a:pt x="18" y="22"/>
                  <a:pt x="12" y="22"/>
                </a:cubicBezTo>
                <a:close/>
              </a:path>
            </a:pathLst>
          </a:custGeom>
          <a:solidFill>
            <a:srgbClr val="00BCF2"/>
          </a:solidFill>
          <a:ln w="1588" cap="flat">
            <a:solidFill>
              <a:srgbClr val="00BCF2"/>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6"/>
          <p:cNvSpPr>
            <a:spLocks noChangeArrowheads="1"/>
          </p:cNvSpPr>
          <p:nvPr/>
        </p:nvSpPr>
        <p:spPr bwMode="auto">
          <a:xfrm>
            <a:off x="8258976" y="4197681"/>
            <a:ext cx="189994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400" b="1" i="0" u="none" strike="noStrike" kern="1200" cap="none" spc="0" normalizeH="0" baseline="0" noProof="0" dirty="0" smtClean="0">
                <a:ln>
                  <a:noFill/>
                </a:ln>
                <a:solidFill>
                  <a:srgbClr val="00BCF2"/>
                </a:solidFill>
                <a:effectLst/>
                <a:uLnTx/>
                <a:uFillTx/>
                <a:latin typeface="Segoe UI" panose="020B0502040204020203" pitchFamily="34" charset="0"/>
                <a:ea typeface="+mn-ea"/>
                <a:cs typeface="Segoe UI" panose="020B0502040204020203" pitchFamily="34" charset="0"/>
              </a:rPr>
              <a:t>Azure Virtual </a:t>
            </a:r>
            <a:r>
              <a:rPr kumimoji="0" lang="en-US" altLang="en-US" sz="1400" b="1" i="0" u="none" strike="noStrike" kern="1200" cap="none" spc="0" normalizeH="0" baseline="0" noProof="0" dirty="0">
                <a:ln>
                  <a:noFill/>
                </a:ln>
                <a:solidFill>
                  <a:srgbClr val="00BCF2"/>
                </a:solidFill>
                <a:effectLst/>
                <a:uLnTx/>
                <a:uFillTx/>
                <a:latin typeface="Segoe UI" panose="020B0502040204020203" pitchFamily="34" charset="0"/>
                <a:ea typeface="+mn-ea"/>
                <a:cs typeface="Segoe UI" panose="020B0502040204020203" pitchFamily="34" charset="0"/>
              </a:rPr>
              <a:t>Network</a:t>
            </a:r>
            <a:endParaRPr kumimoji="0" lang="en-US" altLang="en-US" sz="14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25" name="Picture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415832" y="3597751"/>
            <a:ext cx="606425"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5" name="Group 94"/>
          <p:cNvGrpSpPr/>
          <p:nvPr/>
        </p:nvGrpSpPr>
        <p:grpSpPr>
          <a:xfrm>
            <a:off x="8778690" y="2045318"/>
            <a:ext cx="2055865" cy="1907164"/>
            <a:chOff x="8778690" y="2045318"/>
            <a:chExt cx="2055865" cy="1907164"/>
          </a:xfrm>
        </p:grpSpPr>
        <p:pic>
          <p:nvPicPr>
            <p:cNvPr id="28" name="Picture 46"/>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99886" y="2045318"/>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46"/>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99887" y="261254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46"/>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89067" y="317289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TextBox 32"/>
            <p:cNvSpPr txBox="1"/>
            <p:nvPr/>
          </p:nvSpPr>
          <p:spPr>
            <a:xfrm>
              <a:off x="9031053" y="3644705"/>
              <a:ext cx="180350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white">
                      <a:lumMod val="50000"/>
                    </a:prstClr>
                  </a:solidFill>
                  <a:effectLst/>
                  <a:uLnTx/>
                  <a:uFillTx/>
                  <a:latin typeface="Calibri" panose="020F0502020204030204"/>
                  <a:ea typeface="+mn-ea"/>
                  <a:cs typeface="+mn-cs"/>
                </a:rPr>
                <a:t>Target VMs</a:t>
              </a:r>
              <a:endPar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cxnSp>
          <p:nvCxnSpPr>
            <p:cNvPr id="35" name="Straight Arrow Connector 34"/>
            <p:cNvCxnSpPr>
              <a:stCxn id="31" idx="3"/>
            </p:cNvCxnSpPr>
            <p:nvPr/>
          </p:nvCxnSpPr>
          <p:spPr>
            <a:xfrm flipV="1">
              <a:off x="8778690" y="2273143"/>
              <a:ext cx="810787" cy="342333"/>
            </a:xfrm>
            <a:prstGeom prst="straightConnector1">
              <a:avLst/>
            </a:prstGeom>
            <a:ln w="12700">
              <a:tailEnd type="triangle"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31" idx="3"/>
            </p:cNvCxnSpPr>
            <p:nvPr/>
          </p:nvCxnSpPr>
          <p:spPr>
            <a:xfrm>
              <a:off x="8778690" y="2615476"/>
              <a:ext cx="831348" cy="181892"/>
            </a:xfrm>
            <a:prstGeom prst="straightConnector1">
              <a:avLst/>
            </a:prstGeom>
            <a:ln w="12700">
              <a:tailEnd type="triangle" w="lg" len="lg"/>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31" idx="3"/>
            </p:cNvCxnSpPr>
            <p:nvPr/>
          </p:nvCxnSpPr>
          <p:spPr>
            <a:xfrm>
              <a:off x="8778690" y="2615476"/>
              <a:ext cx="827848" cy="719075"/>
            </a:xfrm>
            <a:prstGeom prst="straightConnector1">
              <a:avLst/>
            </a:prstGeom>
            <a:ln w="12700">
              <a:headEnd type="oval" w="lg" len="lg"/>
              <a:tailEnd type="triangle" w="lg" len="lg"/>
            </a:ln>
          </p:spPr>
          <p:style>
            <a:lnRef idx="1">
              <a:schemeClr val="accent1"/>
            </a:lnRef>
            <a:fillRef idx="0">
              <a:schemeClr val="accent1"/>
            </a:fillRef>
            <a:effectRef idx="0">
              <a:schemeClr val="accent1"/>
            </a:effectRef>
            <a:fontRef idx="minor">
              <a:schemeClr val="tx1"/>
            </a:fontRef>
          </p:style>
        </p:cxnSp>
      </p:grpSp>
      <p:cxnSp>
        <p:nvCxnSpPr>
          <p:cNvPr id="53" name="Straight Arrow Connector 52"/>
          <p:cNvCxnSpPr>
            <a:endCxn id="27" idx="0"/>
          </p:cNvCxnSpPr>
          <p:nvPr/>
        </p:nvCxnSpPr>
        <p:spPr>
          <a:xfrm>
            <a:off x="7868653" y="2695074"/>
            <a:ext cx="1189" cy="468986"/>
          </a:xfrm>
          <a:prstGeom prst="straightConnector1">
            <a:avLst/>
          </a:prstGeom>
          <a:ln w="12700">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6356540" y="1358202"/>
            <a:ext cx="16042" cy="3224463"/>
          </a:xfrm>
          <a:prstGeom prst="line">
            <a:avLst/>
          </a:prstGeom>
          <a:ln w="381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1544047" y="3475101"/>
            <a:ext cx="150130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white">
                    <a:lumMod val="50000"/>
                  </a:prstClr>
                </a:solidFill>
                <a:effectLst/>
                <a:uLnTx/>
                <a:uFillTx/>
                <a:latin typeface="Calibri" panose="020F0502020204030204"/>
                <a:ea typeface="+mn-ea"/>
                <a:cs typeface="+mn-cs"/>
              </a:rPr>
              <a:t>Source </a:t>
            </a:r>
            <a:br>
              <a:rPr kumimoji="0" lang="en-US" sz="1400" b="0" i="0" u="none" strike="noStrike" kern="1200" cap="none" spc="0" normalizeH="0" baseline="0" noProof="0" dirty="0" smtClean="0">
                <a:ln>
                  <a:noFill/>
                </a:ln>
                <a:solidFill>
                  <a:prstClr val="white">
                    <a:lumMod val="50000"/>
                  </a:prstClr>
                </a:solidFill>
                <a:effectLst/>
                <a:uLnTx/>
                <a:uFillTx/>
                <a:latin typeface="Calibri" panose="020F0502020204030204"/>
                <a:ea typeface="+mn-ea"/>
                <a:cs typeface="+mn-cs"/>
              </a:rPr>
            </a:br>
            <a:r>
              <a:rPr kumimoji="0" lang="en-US" sz="1400" b="0" i="0" u="none" strike="noStrike" kern="1200" cap="none" spc="0" normalizeH="0" baseline="0" noProof="0" dirty="0" smtClean="0">
                <a:ln>
                  <a:noFill/>
                </a:ln>
                <a:solidFill>
                  <a:prstClr val="white">
                    <a:lumMod val="50000"/>
                  </a:prstClr>
                </a:solidFill>
                <a:effectLst/>
                <a:uLnTx/>
                <a:uFillTx/>
                <a:latin typeface="Calibri" panose="020F0502020204030204"/>
                <a:ea typeface="+mn-ea"/>
                <a:cs typeface="+mn-cs"/>
              </a:rPr>
              <a:t>Servers / VMs</a:t>
            </a:r>
            <a:endPar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grpSp>
        <p:nvGrpSpPr>
          <p:cNvPr id="97" name="Group 96"/>
          <p:cNvGrpSpPr/>
          <p:nvPr/>
        </p:nvGrpSpPr>
        <p:grpSpPr>
          <a:xfrm>
            <a:off x="7412051" y="4633019"/>
            <a:ext cx="2956156" cy="1921500"/>
            <a:chOff x="7412051" y="4633019"/>
            <a:chExt cx="2956156" cy="1921500"/>
          </a:xfrm>
        </p:grpSpPr>
        <p:pic>
          <p:nvPicPr>
            <p:cNvPr id="70" name="Picture 3"/>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12051" y="4633019"/>
              <a:ext cx="2956156" cy="1921500"/>
            </a:xfrm>
            <a:prstGeom prst="rect">
              <a:avLst/>
            </a:prstGeom>
            <a:noFill/>
            <a:ln>
              <a:noFill/>
            </a:ln>
            <a:extLst/>
          </p:spPr>
        </p:pic>
        <p:sp>
          <p:nvSpPr>
            <p:cNvPr id="71" name="TextBox 70"/>
            <p:cNvSpPr txBox="1"/>
            <p:nvPr/>
          </p:nvSpPr>
          <p:spPr>
            <a:xfrm>
              <a:off x="8088885" y="5016539"/>
              <a:ext cx="2004473"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Calibri" panose="020F0502020204030204"/>
                  <a:ea typeface="+mn-ea"/>
                  <a:cs typeface="+mn-cs"/>
                </a:rPr>
                <a:t>Microso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Calibri" panose="020F0502020204030204"/>
                  <a:ea typeface="+mn-ea"/>
                  <a:cs typeface="+mn-cs"/>
                </a:rPr>
                <a:t>Migration Accelerator Portal</a:t>
              </a: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96" name="Group 95"/>
          <p:cNvGrpSpPr/>
          <p:nvPr/>
        </p:nvGrpSpPr>
        <p:grpSpPr>
          <a:xfrm>
            <a:off x="7205272" y="3952482"/>
            <a:ext cx="1483639" cy="1217043"/>
            <a:chOff x="7205272" y="3952482"/>
            <a:chExt cx="1483639" cy="1217043"/>
          </a:xfrm>
        </p:grpSpPr>
        <p:cxnSp>
          <p:nvCxnSpPr>
            <p:cNvPr id="72" name="Straight Arrow Connector 71"/>
            <p:cNvCxnSpPr>
              <a:endCxn id="32" idx="2"/>
            </p:cNvCxnSpPr>
            <p:nvPr/>
          </p:nvCxnSpPr>
          <p:spPr>
            <a:xfrm flipH="1" flipV="1">
              <a:off x="7939289" y="3952482"/>
              <a:ext cx="254484" cy="1217043"/>
            </a:xfrm>
            <a:prstGeom prst="straightConnector1">
              <a:avLst/>
            </a:prstGeom>
            <a:ln w="12700">
              <a:solidFill>
                <a:schemeClr val="accent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7205272" y="4468766"/>
              <a:ext cx="1483639" cy="338554"/>
            </a:xfrm>
            <a:prstGeom prst="rect">
              <a:avLst/>
            </a:prstGeom>
            <a:solidFill>
              <a:schemeClr val="bg1"/>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5B9BD5">
                      <a:lumMod val="75000"/>
                    </a:srgbClr>
                  </a:solidFill>
                  <a:effectLst/>
                  <a:uLnTx/>
                  <a:uFillTx/>
                  <a:latin typeface="Calibri" panose="020F0502020204030204"/>
                  <a:ea typeface="+mn-ea"/>
                  <a:cs typeface="+mn-cs"/>
                </a:rPr>
                <a:t>Orchestration</a:t>
              </a:r>
              <a:endParaRPr kumimoji="0" lang="en-US" sz="1600" b="0" i="0" u="none" strike="noStrike" kern="1200" cap="none" spc="0" normalizeH="0" baseline="0" noProof="0" dirty="0">
                <a:ln>
                  <a:noFill/>
                </a:ln>
                <a:solidFill>
                  <a:srgbClr val="5B9BD5">
                    <a:lumMod val="75000"/>
                  </a:srgbClr>
                </a:solidFill>
                <a:effectLst/>
                <a:uLnTx/>
                <a:uFillTx/>
                <a:latin typeface="Calibri" panose="020F0502020204030204"/>
                <a:ea typeface="+mn-ea"/>
                <a:cs typeface="+mn-cs"/>
              </a:endParaRPr>
            </a:p>
          </p:txBody>
        </p:sp>
      </p:grpSp>
      <p:grpSp>
        <p:nvGrpSpPr>
          <p:cNvPr id="98" name="Group 97"/>
          <p:cNvGrpSpPr/>
          <p:nvPr/>
        </p:nvGrpSpPr>
        <p:grpSpPr>
          <a:xfrm>
            <a:off x="2586807" y="5161815"/>
            <a:ext cx="1837238" cy="1449964"/>
            <a:chOff x="2586807" y="5161815"/>
            <a:chExt cx="1837238" cy="1449964"/>
          </a:xfrm>
        </p:grpSpPr>
        <p:pic>
          <p:nvPicPr>
            <p:cNvPr id="76" name="Picture 43"/>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586807" y="5161815"/>
              <a:ext cx="1837238" cy="1150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TextBox 79"/>
            <p:cNvSpPr txBox="1"/>
            <p:nvPr/>
          </p:nvSpPr>
          <p:spPr>
            <a:xfrm>
              <a:off x="2763606" y="6273225"/>
              <a:ext cx="148363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lumMod val="50000"/>
                    </a:prstClr>
                  </a:solidFill>
                  <a:effectLst/>
                  <a:uLnTx/>
                  <a:uFillTx/>
                  <a:latin typeface="Calibri" panose="020F0502020204030204"/>
                  <a:ea typeface="+mn-ea"/>
                  <a:cs typeface="+mn-cs"/>
                </a:rPr>
                <a:t>Administrator</a:t>
              </a:r>
              <a:endParaRPr kumimoji="0" lang="en-US"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grpSp>
      <p:grpSp>
        <p:nvGrpSpPr>
          <p:cNvPr id="99" name="Group 98"/>
          <p:cNvGrpSpPr/>
          <p:nvPr/>
        </p:nvGrpSpPr>
        <p:grpSpPr>
          <a:xfrm>
            <a:off x="4424045" y="5737025"/>
            <a:ext cx="2988006" cy="563723"/>
            <a:chOff x="4424045" y="5737025"/>
            <a:chExt cx="2988006" cy="563723"/>
          </a:xfrm>
        </p:grpSpPr>
        <p:cxnSp>
          <p:nvCxnSpPr>
            <p:cNvPr id="77" name="Straight Arrow Connector 76"/>
            <p:cNvCxnSpPr>
              <a:stCxn id="76" idx="3"/>
            </p:cNvCxnSpPr>
            <p:nvPr/>
          </p:nvCxnSpPr>
          <p:spPr>
            <a:xfrm>
              <a:off x="4424045" y="5737025"/>
              <a:ext cx="2988006" cy="0"/>
            </a:xfrm>
            <a:prstGeom prst="straightConnector1">
              <a:avLst/>
            </a:prstGeom>
            <a:ln w="12700">
              <a:solidFill>
                <a:schemeClr val="accent1"/>
              </a:solidFill>
              <a:headEnd type="oval" w="lg" len="lg"/>
              <a:tailEnd type="triangle" w="lg" len="lg"/>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4768590" y="5777528"/>
              <a:ext cx="234499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5B9BD5">
                      <a:lumMod val="75000"/>
                    </a:srgbClr>
                  </a:solidFill>
                  <a:effectLst/>
                  <a:uLnTx/>
                  <a:uFillTx/>
                  <a:latin typeface="Calibri" panose="020F0502020204030204"/>
                  <a:ea typeface="+mn-ea"/>
                  <a:cs typeface="+mn-cs"/>
                </a:rPr>
                <a:t>Migration Accelerator </a:t>
              </a:r>
              <a:br>
                <a:rPr kumimoji="0" lang="en-US" sz="1400" b="0" i="0" u="none" strike="noStrike" kern="1200" cap="none" spc="0" normalizeH="0" baseline="0" noProof="0" dirty="0" smtClean="0">
                  <a:ln>
                    <a:noFill/>
                  </a:ln>
                  <a:solidFill>
                    <a:srgbClr val="5B9BD5">
                      <a:lumMod val="75000"/>
                    </a:srgbClr>
                  </a:solidFill>
                  <a:effectLst/>
                  <a:uLnTx/>
                  <a:uFillTx/>
                  <a:latin typeface="Calibri" panose="020F0502020204030204"/>
                  <a:ea typeface="+mn-ea"/>
                  <a:cs typeface="+mn-cs"/>
                </a:rPr>
              </a:br>
              <a:r>
                <a:rPr kumimoji="0" lang="en-US" sz="1400" b="0" i="0" u="none" strike="noStrike" kern="1200" cap="none" spc="0" normalizeH="0" baseline="0" noProof="0" dirty="0" smtClean="0">
                  <a:ln>
                    <a:noFill/>
                  </a:ln>
                  <a:solidFill>
                    <a:srgbClr val="5B9BD5">
                      <a:lumMod val="75000"/>
                    </a:srgbClr>
                  </a:solidFill>
                  <a:effectLst/>
                  <a:uLnTx/>
                  <a:uFillTx/>
                  <a:latin typeface="Calibri" panose="020F0502020204030204"/>
                  <a:ea typeface="+mn-ea"/>
                  <a:cs typeface="+mn-cs"/>
                </a:rPr>
                <a:t>Portal UI Access</a:t>
              </a:r>
              <a:endParaRPr kumimoji="0" lang="en-US" sz="1400" b="0" i="0" u="none" strike="noStrike" kern="1200" cap="none" spc="0" normalizeH="0" baseline="0" noProof="0" dirty="0">
                <a:ln>
                  <a:noFill/>
                </a:ln>
                <a:solidFill>
                  <a:srgbClr val="5B9BD5">
                    <a:lumMod val="75000"/>
                  </a:srgbClr>
                </a:solidFill>
                <a:effectLst/>
                <a:uLnTx/>
                <a:uFillTx/>
                <a:latin typeface="Calibri" panose="020F0502020204030204"/>
                <a:ea typeface="+mn-ea"/>
                <a:cs typeface="+mn-cs"/>
              </a:endParaRPr>
            </a:p>
          </p:txBody>
        </p:sp>
      </p:grpSp>
      <p:sp>
        <p:nvSpPr>
          <p:cNvPr id="22" name="AutoShape 3"/>
          <p:cNvSpPr>
            <a:spLocks noChangeAspect="1" noChangeArrowheads="1" noTextEdit="1"/>
          </p:cNvSpPr>
          <p:nvPr/>
        </p:nvSpPr>
        <p:spPr bwMode="auto">
          <a:xfrm>
            <a:off x="6883644" y="1836355"/>
            <a:ext cx="4173538" cy="2204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TextBox 49"/>
          <p:cNvSpPr txBox="1"/>
          <p:nvPr/>
        </p:nvSpPr>
        <p:spPr>
          <a:xfrm>
            <a:off x="1544047" y="1045343"/>
            <a:ext cx="3936141" cy="523220"/>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t>Source Network</a:t>
            </a:r>
            <a:endParaRPr kumimoji="0" lang="en-US" sz="28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
        <p:nvSpPr>
          <p:cNvPr id="55" name="TextBox 54"/>
          <p:cNvSpPr txBox="1"/>
          <p:nvPr/>
        </p:nvSpPr>
        <p:spPr>
          <a:xfrm>
            <a:off x="7087473" y="1017761"/>
            <a:ext cx="3887160" cy="523220"/>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t>Target Cloud</a:t>
            </a:r>
            <a:endParaRPr kumimoji="0" lang="en-US" sz="28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pic>
        <p:nvPicPr>
          <p:cNvPr id="12" name="Picture 11"/>
          <p:cNvPicPr>
            <a:picLocks noChangeAspect="1"/>
          </p:cNvPicPr>
          <p:nvPr/>
        </p:nvPicPr>
        <p:blipFill rotWithShape="1">
          <a:blip r:embed="rId8"/>
          <a:srcRect l="-493" t="-8264" r="37070" b="8264"/>
          <a:stretch/>
        </p:blipFill>
        <p:spPr>
          <a:xfrm>
            <a:off x="2851585" y="5170420"/>
            <a:ext cx="1293359" cy="851173"/>
          </a:xfrm>
          <a:prstGeom prst="rect">
            <a:avLst/>
          </a:prstGeom>
        </p:spPr>
      </p:pic>
      <p:grpSp>
        <p:nvGrpSpPr>
          <p:cNvPr id="94" name="Group 93"/>
          <p:cNvGrpSpPr/>
          <p:nvPr/>
        </p:nvGrpSpPr>
        <p:grpSpPr>
          <a:xfrm>
            <a:off x="6975188" y="1992816"/>
            <a:ext cx="1865852" cy="1959666"/>
            <a:chOff x="6975188" y="1992816"/>
            <a:chExt cx="1865852" cy="1959666"/>
          </a:xfrm>
        </p:grpSpPr>
        <p:pic>
          <p:nvPicPr>
            <p:cNvPr id="26" name="Picture 4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630209" y="199281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588060" y="3164060"/>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Box 30"/>
            <p:cNvSpPr txBox="1"/>
            <p:nvPr/>
          </p:nvSpPr>
          <p:spPr>
            <a:xfrm>
              <a:off x="6975188" y="2461587"/>
              <a:ext cx="180350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70C0"/>
                  </a:solidFill>
                  <a:effectLst/>
                  <a:uLnTx/>
                  <a:uFillTx/>
                  <a:latin typeface="Calibri" panose="020F0502020204030204"/>
                  <a:ea typeface="+mn-ea"/>
                  <a:cs typeface="+mn-cs"/>
                </a:rPr>
                <a:t>Master Target (MT)</a:t>
              </a:r>
              <a:endParaRPr kumimoji="0" lang="en-US" sz="14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32" name="TextBox 31"/>
            <p:cNvSpPr txBox="1"/>
            <p:nvPr/>
          </p:nvSpPr>
          <p:spPr>
            <a:xfrm>
              <a:off x="7037538" y="3644705"/>
              <a:ext cx="180350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smtClean="0">
                  <a:ln>
                    <a:noFill/>
                  </a:ln>
                  <a:solidFill>
                    <a:srgbClr val="0070C0"/>
                  </a:solidFill>
                  <a:effectLst/>
                  <a:uLnTx/>
                  <a:uFillTx/>
                  <a:latin typeface="Calibri" panose="020F0502020204030204"/>
                  <a:ea typeface="+mn-ea"/>
                  <a:cs typeface="+mn-cs"/>
                </a:rPr>
                <a:t>Config</a:t>
              </a:r>
              <a:r>
                <a:rPr kumimoji="0" lang="en-US" sz="1400" b="0" i="0" u="none" strike="noStrike" kern="1200" cap="none" spc="0" normalizeH="0" baseline="0" noProof="0" dirty="0" smtClean="0">
                  <a:ln>
                    <a:noFill/>
                  </a:ln>
                  <a:solidFill>
                    <a:srgbClr val="0070C0"/>
                  </a:solidFill>
                  <a:effectLst/>
                  <a:uLnTx/>
                  <a:uFillTx/>
                  <a:latin typeface="Calibri" panose="020F0502020204030204"/>
                  <a:ea typeface="+mn-ea"/>
                  <a:cs typeface="+mn-cs"/>
                </a:rPr>
                <a:t> Server (CS)</a:t>
              </a:r>
              <a:endParaRPr kumimoji="0" lang="en-US" sz="14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66" name="Picture 64"/>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8258976" y="2082370"/>
              <a:ext cx="253971" cy="338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2" name="Straight Connector 41"/>
            <p:cNvCxnSpPr>
              <a:stCxn id="26" idx="3"/>
              <a:endCxn id="66" idx="1"/>
            </p:cNvCxnSpPr>
            <p:nvPr/>
          </p:nvCxnSpPr>
          <p:spPr>
            <a:xfrm>
              <a:off x="8193772" y="2250785"/>
              <a:ext cx="65204" cy="761"/>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1" name="Group 90"/>
          <p:cNvGrpSpPr/>
          <p:nvPr/>
        </p:nvGrpSpPr>
        <p:grpSpPr>
          <a:xfrm>
            <a:off x="3154638" y="1992816"/>
            <a:ext cx="1159552" cy="1119356"/>
            <a:chOff x="3154638" y="1992816"/>
            <a:chExt cx="1159552" cy="1119356"/>
          </a:xfrm>
        </p:grpSpPr>
        <p:grpSp>
          <p:nvGrpSpPr>
            <p:cNvPr id="90" name="Group 89"/>
            <p:cNvGrpSpPr/>
            <p:nvPr/>
          </p:nvGrpSpPr>
          <p:grpSpPr>
            <a:xfrm>
              <a:off x="3154638" y="2511827"/>
              <a:ext cx="701576" cy="600345"/>
              <a:chOff x="3154638" y="2511827"/>
              <a:chExt cx="701576" cy="600345"/>
            </a:xfrm>
          </p:grpSpPr>
          <p:cxnSp>
            <p:nvCxnSpPr>
              <p:cNvPr id="61" name="Straight Arrow Connector 60"/>
              <p:cNvCxnSpPr/>
              <p:nvPr/>
            </p:nvCxnSpPr>
            <p:spPr>
              <a:xfrm flipH="1">
                <a:off x="3154638" y="2805458"/>
                <a:ext cx="701576" cy="13669"/>
              </a:xfrm>
              <a:prstGeom prst="straightConnector1">
                <a:avLst/>
              </a:prstGeom>
              <a:ln w="12700">
                <a:headEnd type="oval"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H="1" flipV="1">
                <a:off x="3264076" y="2511827"/>
                <a:ext cx="567915" cy="300465"/>
              </a:xfrm>
              <a:prstGeom prst="straightConnector1">
                <a:avLst/>
              </a:prstGeom>
              <a:ln w="12700">
                <a:headEnd type="oval"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3221854" y="2794960"/>
                <a:ext cx="618137" cy="317212"/>
              </a:xfrm>
              <a:prstGeom prst="straightConnector1">
                <a:avLst/>
              </a:prstGeom>
              <a:ln w="12700">
                <a:headEnd type="oval" w="lg" len="lg"/>
                <a:tailEnd type="triangle" w="lg" len="lg"/>
              </a:ln>
            </p:spPr>
            <p:style>
              <a:lnRef idx="1">
                <a:schemeClr val="accent1"/>
              </a:lnRef>
              <a:fillRef idx="0">
                <a:schemeClr val="accent1"/>
              </a:fillRef>
              <a:effectRef idx="0">
                <a:schemeClr val="accent1"/>
              </a:effectRef>
              <a:fontRef idx="minor">
                <a:schemeClr val="tx1"/>
              </a:fontRef>
            </p:style>
          </p:cxnSp>
        </p:grpSp>
        <p:sp>
          <p:nvSpPr>
            <p:cNvPr id="78" name="TextBox 77"/>
            <p:cNvSpPr txBox="1"/>
            <p:nvPr/>
          </p:nvSpPr>
          <p:spPr>
            <a:xfrm>
              <a:off x="3252585" y="1992816"/>
              <a:ext cx="106160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t>WMI for agent push installation</a:t>
              </a:r>
              <a:endParaRPr kumimoji="0" lang="en-US" sz="12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grpSp>
      <p:grpSp>
        <p:nvGrpSpPr>
          <p:cNvPr id="93" name="Group 92"/>
          <p:cNvGrpSpPr/>
          <p:nvPr/>
        </p:nvGrpSpPr>
        <p:grpSpPr>
          <a:xfrm>
            <a:off x="5281819" y="1034845"/>
            <a:ext cx="2196179" cy="2511407"/>
            <a:chOff x="5281819" y="1034845"/>
            <a:chExt cx="2196179" cy="2511407"/>
          </a:xfrm>
        </p:grpSpPr>
        <p:cxnSp>
          <p:nvCxnSpPr>
            <p:cNvPr id="46" name="Straight Arrow Connector 45"/>
            <p:cNvCxnSpPr/>
            <p:nvPr/>
          </p:nvCxnSpPr>
          <p:spPr>
            <a:xfrm flipH="1">
              <a:off x="6147340" y="2303703"/>
              <a:ext cx="1330658" cy="433887"/>
            </a:xfrm>
            <a:prstGeom prst="straightConnector1">
              <a:avLst/>
            </a:prstGeom>
            <a:ln w="12700">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H="1" flipV="1">
              <a:off x="6176016" y="2864416"/>
              <a:ext cx="1236036" cy="669622"/>
            </a:xfrm>
            <a:prstGeom prst="straightConnector1">
              <a:avLst/>
            </a:prstGeom>
            <a:ln w="12700">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rot="1684506">
              <a:off x="6018608" y="3269253"/>
              <a:ext cx="1356678" cy="27699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70C0"/>
                  </a:solidFill>
                  <a:effectLst/>
                  <a:uLnTx/>
                  <a:uFillTx/>
                  <a:latin typeface="Calibri" panose="020F0502020204030204"/>
                  <a:ea typeface="+mn-ea"/>
                  <a:cs typeface="+mn-cs"/>
                </a:rPr>
                <a:t>Control Channel</a:t>
              </a:r>
              <a:endParaRPr kumimoji="0" lang="en-US" sz="12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48" name="TextBox 47"/>
            <p:cNvSpPr txBox="1"/>
            <p:nvPr/>
          </p:nvSpPr>
          <p:spPr>
            <a:xfrm rot="20532093">
              <a:off x="5935575" y="2257691"/>
              <a:ext cx="1335474" cy="27699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70C0"/>
                  </a:solidFill>
                  <a:effectLst/>
                  <a:uLnTx/>
                  <a:uFillTx/>
                  <a:latin typeface="Calibri" panose="020F0502020204030204"/>
                  <a:ea typeface="+mn-ea"/>
                  <a:cs typeface="+mn-cs"/>
                </a:rPr>
                <a:t>Data Channel</a:t>
              </a:r>
              <a:endParaRPr kumimoji="0" lang="en-US" sz="12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cxnSp>
          <p:nvCxnSpPr>
            <p:cNvPr id="57" name="Straight Arrow Connector 56"/>
            <p:cNvCxnSpPr/>
            <p:nvPr/>
          </p:nvCxnSpPr>
          <p:spPr>
            <a:xfrm flipH="1">
              <a:off x="5416595" y="1287870"/>
              <a:ext cx="1874793" cy="5528"/>
            </a:xfrm>
            <a:prstGeom prst="straightConnector1">
              <a:avLst/>
            </a:prstGeom>
            <a:ln w="12700">
              <a:solidFill>
                <a:schemeClr val="bg1">
                  <a:lumMod val="5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5691710" y="1034845"/>
              <a:ext cx="1335474" cy="461665"/>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t>Encrypted HTTPS communication</a:t>
              </a:r>
              <a:endParaRPr kumimoji="0" lang="en-US" sz="12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
          <p:nvSpPr>
            <p:cNvPr id="79" name="TextBox 78"/>
            <p:cNvSpPr txBox="1"/>
            <p:nvPr/>
          </p:nvSpPr>
          <p:spPr>
            <a:xfrm>
              <a:off x="5281819" y="2671232"/>
              <a:ext cx="106160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t</a:t>
              </a:r>
              <a:r>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t>cp/9443</a:t>
              </a:r>
              <a:endParaRPr kumimoji="0" lang="en-US" sz="12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grpSp>
      <p:pic>
        <p:nvPicPr>
          <p:cNvPr id="84" name="Picture 83" descr="Server-Virtual-Single.png"/>
          <p:cNvPicPr>
            <a:picLocks noChangeAspect="1"/>
          </p:cNvPicPr>
          <p:nvPr/>
        </p:nvPicPr>
        <p:blipFill>
          <a:blip r:embed="rId3"/>
          <a:stretch>
            <a:fillRect/>
          </a:stretch>
        </p:blipFill>
        <p:spPr>
          <a:xfrm>
            <a:off x="1734020" y="1902635"/>
            <a:ext cx="1134487" cy="770432"/>
          </a:xfrm>
          <a:prstGeom prst="rect">
            <a:avLst/>
          </a:prstGeom>
          <a:noFill/>
          <a:ln>
            <a:noFill/>
          </a:ln>
        </p:spPr>
      </p:pic>
      <p:grpSp>
        <p:nvGrpSpPr>
          <p:cNvPr id="89" name="Group 88"/>
          <p:cNvGrpSpPr/>
          <p:nvPr/>
        </p:nvGrpSpPr>
        <p:grpSpPr>
          <a:xfrm>
            <a:off x="563527" y="1997638"/>
            <a:ext cx="1528051" cy="808290"/>
            <a:chOff x="563527" y="1997638"/>
            <a:chExt cx="1528051" cy="808290"/>
          </a:xfrm>
        </p:grpSpPr>
        <p:sp>
          <p:nvSpPr>
            <p:cNvPr id="11" name="TextBox 10"/>
            <p:cNvSpPr txBox="1"/>
            <p:nvPr/>
          </p:nvSpPr>
          <p:spPr>
            <a:xfrm>
              <a:off x="563527" y="1997638"/>
              <a:ext cx="1501301"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smtClean="0">
                  <a:ln>
                    <a:noFill/>
                  </a:ln>
                  <a:solidFill>
                    <a:srgbClr val="5B9BD5">
                      <a:lumMod val="75000"/>
                    </a:srgbClr>
                  </a:solidFill>
                  <a:effectLst/>
                  <a:uLnTx/>
                  <a:uFillTx/>
                  <a:latin typeface="Calibri" panose="020F0502020204030204"/>
                  <a:ea typeface="+mn-ea"/>
                  <a:cs typeface="+mn-cs"/>
                </a:rPr>
                <a:t>Mobility Service  </a:t>
              </a:r>
              <a:br>
                <a:rPr kumimoji="0" lang="en-US" sz="1050" b="0" i="0" u="none" strike="noStrike" kern="1200" cap="none" spc="0" normalizeH="0" baseline="0" noProof="0" dirty="0" smtClean="0">
                  <a:ln>
                    <a:noFill/>
                  </a:ln>
                  <a:solidFill>
                    <a:srgbClr val="5B9BD5">
                      <a:lumMod val="75000"/>
                    </a:srgbClr>
                  </a:solidFill>
                  <a:effectLst/>
                  <a:uLnTx/>
                  <a:uFillTx/>
                  <a:latin typeface="Calibri" panose="020F0502020204030204"/>
                  <a:ea typeface="+mn-ea"/>
                  <a:cs typeface="+mn-cs"/>
                </a:rPr>
              </a:br>
              <a:r>
                <a:rPr kumimoji="0" lang="en-US" sz="1050" b="0" i="0" u="none" strike="noStrike" kern="1200" cap="none" spc="0" normalizeH="0" baseline="0" noProof="0" dirty="0" smtClean="0">
                  <a:ln>
                    <a:noFill/>
                  </a:ln>
                  <a:solidFill>
                    <a:srgbClr val="5B9BD5">
                      <a:lumMod val="75000"/>
                    </a:srgbClr>
                  </a:solidFill>
                  <a:effectLst/>
                  <a:uLnTx/>
                  <a:uFillTx/>
                  <a:latin typeface="Calibri" panose="020F0502020204030204"/>
                  <a:ea typeface="+mn-ea"/>
                  <a:cs typeface="+mn-cs"/>
                </a:rPr>
                <a:t>Scout Agents</a:t>
              </a:r>
              <a:endParaRPr kumimoji="0" lang="en-US" sz="1050" b="0" i="0" u="none" strike="noStrike" kern="1200" cap="none" spc="0" normalizeH="0" baseline="0" noProof="0" dirty="0">
                <a:ln>
                  <a:noFill/>
                </a:ln>
                <a:solidFill>
                  <a:srgbClr val="5B9BD5">
                    <a:lumMod val="75000"/>
                  </a:srgbClr>
                </a:solidFill>
                <a:effectLst/>
                <a:uLnTx/>
                <a:uFillTx/>
                <a:latin typeface="Calibri" panose="020F0502020204030204"/>
                <a:ea typeface="+mn-ea"/>
                <a:cs typeface="+mn-cs"/>
              </a:endParaRPr>
            </a:p>
          </p:txBody>
        </p:sp>
        <p:cxnSp>
          <p:nvCxnSpPr>
            <p:cNvPr id="51" name="Straight Arrow Connector 50"/>
            <p:cNvCxnSpPr/>
            <p:nvPr/>
          </p:nvCxnSpPr>
          <p:spPr>
            <a:xfrm flipH="1" flipV="1">
              <a:off x="1314177" y="2445850"/>
              <a:ext cx="777400" cy="164388"/>
            </a:xfrm>
            <a:prstGeom prst="straightConnector1">
              <a:avLst/>
            </a:prstGeom>
            <a:ln w="12700">
              <a:headEnd type="oval" w="lg" len="lg"/>
              <a:tailEnd type="none" w="lg" len="lg"/>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endCxn id="11" idx="2"/>
            </p:cNvCxnSpPr>
            <p:nvPr/>
          </p:nvCxnSpPr>
          <p:spPr>
            <a:xfrm flipH="1" flipV="1">
              <a:off x="1314178" y="2428525"/>
              <a:ext cx="750650" cy="377403"/>
            </a:xfrm>
            <a:prstGeom prst="straightConnector1">
              <a:avLst/>
            </a:prstGeom>
            <a:ln w="12700">
              <a:headEnd type="oval" w="lg" len="lg"/>
              <a:tailEnd type="none" w="lg" len="lg"/>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endCxn id="11" idx="2"/>
            </p:cNvCxnSpPr>
            <p:nvPr/>
          </p:nvCxnSpPr>
          <p:spPr>
            <a:xfrm flipH="1">
              <a:off x="1314178" y="2420722"/>
              <a:ext cx="777400" cy="7803"/>
            </a:xfrm>
            <a:prstGeom prst="straightConnector1">
              <a:avLst/>
            </a:prstGeom>
            <a:ln w="12700">
              <a:headEnd type="oval" w="lg" len="lg"/>
              <a:tailEnd type="none" w="lg" len="lg"/>
            </a:ln>
          </p:spPr>
          <p:style>
            <a:lnRef idx="1">
              <a:schemeClr val="accent1"/>
            </a:lnRef>
            <a:fillRef idx="0">
              <a:schemeClr val="accent1"/>
            </a:fillRef>
            <a:effectRef idx="0">
              <a:schemeClr val="accent1"/>
            </a:effectRef>
            <a:fontRef idx="minor">
              <a:schemeClr val="tx1"/>
            </a:fontRef>
          </p:style>
        </p:cxnSp>
      </p:grpSp>
      <p:sp>
        <p:nvSpPr>
          <p:cNvPr id="88" name="Title 87"/>
          <p:cNvSpPr>
            <a:spLocks noGrp="1"/>
          </p:cNvSpPr>
          <p:nvPr>
            <p:ph type="title"/>
          </p:nvPr>
        </p:nvSpPr>
        <p:spPr>
          <a:xfrm>
            <a:off x="170481" y="3668"/>
            <a:ext cx="11685722" cy="1325563"/>
          </a:xfrm>
        </p:spPr>
        <p:txBody>
          <a:bodyPr/>
          <a:lstStyle/>
          <a:p>
            <a:r>
              <a:rPr lang="en-US" dirty="0" smtClean="0"/>
              <a:t>Microsoft Migration Accelerator for Azure</a:t>
            </a:r>
            <a:endParaRPr lang="en-US" dirty="0"/>
          </a:p>
        </p:txBody>
      </p:sp>
      <p:pic>
        <p:nvPicPr>
          <p:cNvPr id="20" name="Picture 4"/>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96947" y="1546476"/>
            <a:ext cx="781050" cy="7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481509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fade">
                                      <p:cBhvr>
                                        <p:cTn id="7" dur="500"/>
                                        <p:tgtEl>
                                          <p:spTgt spid="9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8"/>
                                        </p:tgtEl>
                                        <p:attrNameLst>
                                          <p:attrName>style.visibility</p:attrName>
                                        </p:attrNameLst>
                                      </p:cBhvr>
                                      <p:to>
                                        <p:strVal val="visible"/>
                                      </p:to>
                                    </p:set>
                                    <p:animEffect transition="in" filter="fade">
                                      <p:cBhvr>
                                        <p:cTn id="12" dur="500"/>
                                        <p:tgtEl>
                                          <p:spTgt spid="9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99"/>
                                        </p:tgtEl>
                                        <p:attrNameLst>
                                          <p:attrName>style.visibility</p:attrName>
                                        </p:attrNameLst>
                                      </p:cBhvr>
                                      <p:to>
                                        <p:strVal val="visible"/>
                                      </p:to>
                                    </p:set>
                                    <p:animEffect transition="in" filter="wipe(left)">
                                      <p:cBhvr>
                                        <p:cTn id="17" dur="500"/>
                                        <p:tgtEl>
                                          <p:spTgt spid="9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4"/>
                                        </p:tgtEl>
                                        <p:attrNameLst>
                                          <p:attrName>style.visibility</p:attrName>
                                        </p:attrNameLst>
                                      </p:cBhvr>
                                      <p:to>
                                        <p:strVal val="visible"/>
                                      </p:to>
                                    </p:set>
                                    <p:animEffect transition="in" filter="fade">
                                      <p:cBhvr>
                                        <p:cTn id="27" dur="500"/>
                                        <p:tgtEl>
                                          <p:spTgt spid="9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96"/>
                                        </p:tgtEl>
                                        <p:attrNameLst>
                                          <p:attrName>style.visibility</p:attrName>
                                        </p:attrNameLst>
                                      </p:cBhvr>
                                      <p:to>
                                        <p:strVal val="visible"/>
                                      </p:to>
                                    </p:set>
                                    <p:animEffect transition="in" filter="wipe(down)">
                                      <p:cBhvr>
                                        <p:cTn id="32" dur="500"/>
                                        <p:tgtEl>
                                          <p:spTgt spid="96"/>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wipe(down)">
                                      <p:cBhvr>
                                        <p:cTn id="37" dur="500"/>
                                        <p:tgtEl>
                                          <p:spTgt spid="5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2"/>
                                        </p:tgtEl>
                                        <p:attrNameLst>
                                          <p:attrName>style.visibility</p:attrName>
                                        </p:attrNameLst>
                                      </p:cBhvr>
                                      <p:to>
                                        <p:strVal val="visible"/>
                                      </p:to>
                                    </p:set>
                                    <p:animEffect transition="in" filter="fade">
                                      <p:cBhvr>
                                        <p:cTn id="42" dur="500"/>
                                        <p:tgtEl>
                                          <p:spTgt spid="92"/>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2" fill="hold" nodeType="clickEffect">
                                  <p:stCondLst>
                                    <p:cond delay="0"/>
                                  </p:stCondLst>
                                  <p:childTnLst>
                                    <p:set>
                                      <p:cBhvr>
                                        <p:cTn id="46" dur="1" fill="hold">
                                          <p:stCondLst>
                                            <p:cond delay="0"/>
                                          </p:stCondLst>
                                        </p:cTn>
                                        <p:tgtEl>
                                          <p:spTgt spid="93"/>
                                        </p:tgtEl>
                                        <p:attrNameLst>
                                          <p:attrName>style.visibility</p:attrName>
                                        </p:attrNameLst>
                                      </p:cBhvr>
                                      <p:to>
                                        <p:strVal val="visible"/>
                                      </p:to>
                                    </p:set>
                                    <p:animEffect transition="in" filter="wipe(right)">
                                      <p:cBhvr>
                                        <p:cTn id="47" dur="500"/>
                                        <p:tgtEl>
                                          <p:spTgt spid="93"/>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91"/>
                                        </p:tgtEl>
                                        <p:attrNameLst>
                                          <p:attrName>style.visibility</p:attrName>
                                        </p:attrNameLst>
                                      </p:cBhvr>
                                      <p:to>
                                        <p:strVal val="visible"/>
                                      </p:to>
                                    </p:set>
                                    <p:animEffect transition="in" filter="wipe(right)">
                                      <p:cBhvr>
                                        <p:cTn id="52" dur="500"/>
                                        <p:tgtEl>
                                          <p:spTgt spid="91"/>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89"/>
                                        </p:tgtEl>
                                        <p:attrNameLst>
                                          <p:attrName>style.visibility</p:attrName>
                                        </p:attrNameLst>
                                      </p:cBhvr>
                                      <p:to>
                                        <p:strVal val="visible"/>
                                      </p:to>
                                    </p:set>
                                    <p:animEffect transition="in" filter="fade">
                                      <p:cBhvr>
                                        <p:cTn id="57" dur="500"/>
                                        <p:tgtEl>
                                          <p:spTgt spid="89"/>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nodeType="clickEffect">
                                  <p:stCondLst>
                                    <p:cond delay="0"/>
                                  </p:stCondLst>
                                  <p:childTnLst>
                                    <p:set>
                                      <p:cBhvr>
                                        <p:cTn id="61" dur="1" fill="hold">
                                          <p:stCondLst>
                                            <p:cond delay="0"/>
                                          </p:stCondLst>
                                        </p:cTn>
                                        <p:tgtEl>
                                          <p:spTgt spid="95"/>
                                        </p:tgtEl>
                                        <p:attrNameLst>
                                          <p:attrName>style.visibility</p:attrName>
                                        </p:attrNameLst>
                                      </p:cBhvr>
                                      <p:to>
                                        <p:strVal val="visible"/>
                                      </p:to>
                                    </p:set>
                                    <p:animEffect transition="in" filter="wipe(left)">
                                      <p:cBhvr>
                                        <p:cTn id="62"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p:cNvSpPr/>
          <p:nvPr/>
        </p:nvSpPr>
        <p:spPr bwMode="auto">
          <a:xfrm>
            <a:off x="9144046" y="1492211"/>
            <a:ext cx="2340809" cy="432739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t" anchorCtr="0" compatLnSpc="1">
            <a:prstTxWarp prst="textNoShape">
              <a:avLst/>
            </a:prstTxWarp>
          </a:bodyPr>
          <a:lstStyle/>
          <a:p>
            <a:pPr algn="ctr" defTabSz="913674">
              <a:lnSpc>
                <a:spcPct val="90000"/>
              </a:lnSpc>
            </a:pPr>
            <a:endParaRPr lang="en-US" sz="2099" dirty="0">
              <a:gradFill>
                <a:gsLst>
                  <a:gs pos="0">
                    <a:srgbClr val="FFFFFF"/>
                  </a:gs>
                  <a:gs pos="100000">
                    <a:srgbClr val="FFFFFF"/>
                  </a:gs>
                </a:gsLst>
                <a:lin ang="5400000" scaled="0"/>
              </a:gradFill>
            </a:endParaRPr>
          </a:p>
          <a:p>
            <a:pPr algn="ctr" defTabSz="913674">
              <a:lnSpc>
                <a:spcPct val="90000"/>
              </a:lnSpc>
            </a:pPr>
            <a:endParaRPr lang="en-US" sz="1832" dirty="0">
              <a:gradFill>
                <a:gsLst>
                  <a:gs pos="0">
                    <a:srgbClr val="FFFFFF"/>
                  </a:gs>
                  <a:gs pos="100000">
                    <a:srgbClr val="FFFFFF"/>
                  </a:gs>
                </a:gsLst>
                <a:lin ang="5400000" scaled="0"/>
              </a:gradFill>
            </a:endParaRPr>
          </a:p>
          <a:p>
            <a:pPr algn="ctr" defTabSz="913674">
              <a:lnSpc>
                <a:spcPct val="90000"/>
              </a:lnSpc>
            </a:pPr>
            <a:r>
              <a:rPr lang="en-US" sz="1801" dirty="0">
                <a:gradFill>
                  <a:gsLst>
                    <a:gs pos="0">
                      <a:srgbClr val="FFFFFF"/>
                    </a:gs>
                    <a:gs pos="100000">
                      <a:srgbClr val="FFFFFF"/>
                    </a:gs>
                  </a:gsLst>
                  <a:lin ang="5400000" scaled="0"/>
                </a:gradFill>
              </a:rPr>
              <a:t>Microsoft Azure</a:t>
            </a:r>
            <a:endParaRPr lang="en-US" sz="1801" b="1" dirty="0">
              <a:solidFill>
                <a:srgbClr val="FF8A00">
                  <a:lumMod val="60000"/>
                  <a:lumOff val="40000"/>
                </a:srgbClr>
              </a:solidFill>
            </a:endParaRPr>
          </a:p>
        </p:txBody>
      </p:sp>
      <p:sp>
        <p:nvSpPr>
          <p:cNvPr id="56" name="Rectangle 55"/>
          <p:cNvSpPr/>
          <p:nvPr/>
        </p:nvSpPr>
        <p:spPr bwMode="auto">
          <a:xfrm>
            <a:off x="522155" y="1492211"/>
            <a:ext cx="4326270" cy="432739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31" tIns="60931" rIns="60931" bIns="60931" numCol="1" spcCol="0" rtlCol="0" fromWordArt="0" anchor="ctr" anchorCtr="0" forceAA="0" compatLnSpc="1">
            <a:prstTxWarp prst="textNoShape">
              <a:avLst/>
            </a:prstTxWarp>
            <a:noAutofit/>
          </a:bodyPr>
          <a:lstStyle/>
          <a:p>
            <a:pPr algn="ctr" defTabSz="1218120"/>
            <a:endParaRPr lang="en-US" sz="2399" dirty="0" err="1">
              <a:solidFill>
                <a:srgbClr val="44546A"/>
              </a:solidFill>
              <a:ea typeface="Segoe UI" pitchFamily="34" charset="0"/>
              <a:cs typeface="Segoe UI" pitchFamily="34" charset="0"/>
            </a:endParaRPr>
          </a:p>
        </p:txBody>
      </p:sp>
      <p:sp>
        <p:nvSpPr>
          <p:cNvPr id="2" name="Title 1"/>
          <p:cNvSpPr>
            <a:spLocks noGrp="1"/>
          </p:cNvSpPr>
          <p:nvPr>
            <p:ph type="title" idx="4294967295"/>
          </p:nvPr>
        </p:nvSpPr>
        <p:spPr>
          <a:xfrm>
            <a:off x="415636" y="159892"/>
            <a:ext cx="11149013" cy="1023937"/>
          </a:xfrm>
        </p:spPr>
        <p:txBody>
          <a:bodyPr/>
          <a:lstStyle/>
          <a:p>
            <a:r>
              <a:rPr lang="en-US" dirty="0" smtClean="0"/>
              <a:t>Hybrid Cloud Connectivity</a:t>
            </a:r>
            <a:endParaRPr lang="en-US" sz="2999" dirty="0"/>
          </a:p>
        </p:txBody>
      </p:sp>
      <p:sp>
        <p:nvSpPr>
          <p:cNvPr id="3" name="Rectangle 2"/>
          <p:cNvSpPr/>
          <p:nvPr/>
        </p:nvSpPr>
        <p:spPr bwMode="auto">
          <a:xfrm>
            <a:off x="900731" y="1993122"/>
            <a:ext cx="3465045" cy="346504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rtlCol="0" anchor="t" anchorCtr="0" compatLnSpc="1">
            <a:prstTxWarp prst="textNoShape">
              <a:avLst/>
            </a:prstTxWarp>
          </a:bodyPr>
          <a:lstStyle/>
          <a:p>
            <a:pPr algn="ctr" defTabSz="913674">
              <a:lnSpc>
                <a:spcPct val="90000"/>
              </a:lnSpc>
            </a:pPr>
            <a:r>
              <a:rPr lang="en-US" sz="2000" dirty="0">
                <a:gradFill>
                  <a:gsLst>
                    <a:gs pos="0">
                      <a:srgbClr val="FFFFFF"/>
                    </a:gs>
                    <a:gs pos="100000">
                      <a:srgbClr val="FFFFFF"/>
                    </a:gs>
                  </a:gsLst>
                  <a:lin ang="5400000" scaled="0"/>
                </a:gradFill>
              </a:rPr>
              <a:t>On-Premises Network</a:t>
            </a:r>
            <a:endParaRPr lang="en-US" sz="1100" b="1" dirty="0">
              <a:solidFill>
                <a:srgbClr val="FF8A00">
                  <a:lumMod val="60000"/>
                  <a:lumOff val="40000"/>
                </a:srgbClr>
              </a:solidFill>
            </a:endParaRPr>
          </a:p>
        </p:txBody>
      </p:sp>
      <p:pic>
        <p:nvPicPr>
          <p:cNvPr id="10"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3605216" y="3496440"/>
            <a:ext cx="355417" cy="712047"/>
          </a:xfrm>
          <a:prstGeom prst="rect">
            <a:avLst/>
          </a:prstGeom>
          <a:noFill/>
        </p:spPr>
      </p:pic>
      <p:sp>
        <p:nvSpPr>
          <p:cNvPr id="12" name="Rectangle 11"/>
          <p:cNvSpPr/>
          <p:nvPr/>
        </p:nvSpPr>
        <p:spPr>
          <a:xfrm>
            <a:off x="3242711" y="4151458"/>
            <a:ext cx="1080440" cy="253904"/>
          </a:xfrm>
          <a:prstGeom prst="rect">
            <a:avLst/>
          </a:prstGeom>
        </p:spPr>
        <p:txBody>
          <a:bodyPr wrap="none" lIns="91404" tIns="45703" rIns="91404" bIns="45703">
            <a:spAutoFit/>
          </a:bodyPr>
          <a:lstStyle/>
          <a:p>
            <a:pPr algn="ctr" defTabSz="913674">
              <a:lnSpc>
                <a:spcPct val="90000"/>
              </a:lnSpc>
            </a:pPr>
            <a:r>
              <a:rPr lang="en-US" sz="1167" dirty="0">
                <a:solidFill>
                  <a:srgbClr val="FFFFFF">
                    <a:alpha val="99000"/>
                  </a:srgbClr>
                </a:solidFill>
              </a:rPr>
              <a:t>VPN Gateway</a:t>
            </a:r>
          </a:p>
        </p:txBody>
      </p:sp>
      <p:grpSp>
        <p:nvGrpSpPr>
          <p:cNvPr id="15" name="Group 14"/>
          <p:cNvGrpSpPr/>
          <p:nvPr/>
        </p:nvGrpSpPr>
        <p:grpSpPr>
          <a:xfrm>
            <a:off x="3465638" y="2402827"/>
            <a:ext cx="869718" cy="629216"/>
            <a:chOff x="2870782" y="2512291"/>
            <a:chExt cx="791194" cy="572406"/>
          </a:xfrm>
        </p:grpSpPr>
        <p:pic>
          <p:nvPicPr>
            <p:cNvPr id="13"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16" tIns="45708" rIns="91416" bIns="45708" numCol="1" anchor="t" anchorCtr="0" compatLnSpc="1">
              <a:prstTxWarp prst="textNoShape">
                <a:avLst/>
              </a:prstTxWarp>
            </a:bodyPr>
            <a:lstStyle/>
            <a:p>
              <a:pPr defTabSz="1218369"/>
              <a:endParaRPr lang="en-US" sz="2399">
                <a:solidFill>
                  <a:srgbClr val="FFFFFF"/>
                </a:solidFill>
              </a:endParaRPr>
            </a:p>
          </p:txBody>
        </p:sp>
      </p:grpSp>
      <p:sp>
        <p:nvSpPr>
          <p:cNvPr id="16" name="Rectangle 15"/>
          <p:cNvSpPr/>
          <p:nvPr/>
        </p:nvSpPr>
        <p:spPr>
          <a:xfrm>
            <a:off x="3721038" y="2990173"/>
            <a:ext cx="344853" cy="253904"/>
          </a:xfrm>
          <a:prstGeom prst="rect">
            <a:avLst/>
          </a:prstGeom>
        </p:spPr>
        <p:txBody>
          <a:bodyPr wrap="none" lIns="91404" tIns="45703" rIns="91404" bIns="45703">
            <a:spAutoFit/>
          </a:bodyPr>
          <a:lstStyle/>
          <a:p>
            <a:pPr algn="ctr" defTabSz="913674">
              <a:lnSpc>
                <a:spcPct val="90000"/>
              </a:lnSpc>
            </a:pPr>
            <a:r>
              <a:rPr lang="en-US" sz="1167" dirty="0">
                <a:solidFill>
                  <a:srgbClr val="FFFFFF">
                    <a:alpha val="99000"/>
                  </a:srgbClr>
                </a:solidFill>
              </a:rPr>
              <a:t>IIS</a:t>
            </a:r>
          </a:p>
        </p:txBody>
      </p:sp>
      <p:grpSp>
        <p:nvGrpSpPr>
          <p:cNvPr id="35" name="Group 34"/>
          <p:cNvGrpSpPr/>
          <p:nvPr/>
        </p:nvGrpSpPr>
        <p:grpSpPr>
          <a:xfrm>
            <a:off x="2222038" y="3483314"/>
            <a:ext cx="822448" cy="927452"/>
            <a:chOff x="1739198" y="3451570"/>
            <a:chExt cx="822662" cy="927692"/>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674"/>
                    <a:endParaRPr lang="en-US" sz="2299" dirty="0">
                      <a:solidFill>
                        <a:srgbClr val="FFFFFF">
                          <a:alpha val="99000"/>
                        </a:srgbClr>
                      </a:solidFill>
                    </a:endParaRPr>
                  </a:p>
                </p:txBody>
              </p:sp>
              <p:sp>
                <p:nvSpPr>
                  <p:cNvPr id="19" name="Rectangle 18"/>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674"/>
                    <a:endParaRPr lang="en-US" sz="2299" dirty="0">
                      <a:solidFill>
                        <a:srgbClr val="FFFFFF">
                          <a:alpha val="99000"/>
                        </a:srgbClr>
                      </a:solidFill>
                    </a:endParaRPr>
                  </a:p>
                </p:txBody>
              </p:sp>
              <p:sp>
                <p:nvSpPr>
                  <p:cNvPr id="20" name="Rectangle 19"/>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674"/>
                    <a:endParaRPr lang="en-US" sz="2299" dirty="0">
                      <a:solidFill>
                        <a:srgbClr val="FFFFFF">
                          <a:alpha val="99000"/>
                        </a:srgbClr>
                      </a:solidFill>
                    </a:endParaRPr>
                  </a:p>
                </p:txBody>
              </p:sp>
            </p:grpSp>
            <p:sp>
              <p:nvSpPr>
                <p:cNvPr id="22" name="Isosceles Triangle 21"/>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674"/>
                  <a:endParaRPr lang="en-US" sz="2299" dirty="0">
                    <a:solidFill>
                      <a:srgbClr val="FFFFFF">
                        <a:alpha val="99000"/>
                      </a:srgbClr>
                    </a:solidFill>
                  </a:endParaRPr>
                </a:p>
              </p:txBody>
            </p:sp>
          </p:grpSp>
        </p:grpSp>
        <p:sp>
          <p:nvSpPr>
            <p:cNvPr id="25" name="Rectangle 24"/>
            <p:cNvSpPr/>
            <p:nvPr/>
          </p:nvSpPr>
          <p:spPr>
            <a:xfrm>
              <a:off x="1739198" y="4125283"/>
              <a:ext cx="822662" cy="253979"/>
            </a:xfrm>
            <a:prstGeom prst="rect">
              <a:avLst/>
            </a:prstGeom>
          </p:spPr>
          <p:txBody>
            <a:bodyPr wrap="none">
              <a:spAutoFit/>
            </a:bodyPr>
            <a:lstStyle/>
            <a:p>
              <a:pPr algn="ctr" defTabSz="913674">
                <a:lnSpc>
                  <a:spcPct val="90000"/>
                </a:lnSpc>
              </a:pPr>
              <a:r>
                <a:rPr lang="en-US" sz="1167" dirty="0">
                  <a:solidFill>
                    <a:srgbClr val="FFFFFF">
                      <a:alpha val="99000"/>
                    </a:srgbClr>
                  </a:solidFill>
                </a:rPr>
                <a:t>AD / DNS</a:t>
              </a:r>
            </a:p>
          </p:txBody>
        </p:sp>
      </p:grpSp>
      <p:pic>
        <p:nvPicPr>
          <p:cNvPr id="27" name="Picture 2"/>
          <p:cNvPicPr>
            <a:picLocks noChangeAspect="1" noChangeArrowheads="1"/>
          </p:cNvPicPr>
          <p:nvPr/>
        </p:nvPicPr>
        <p:blipFill rotWithShape="1">
          <a:blip r:embed="rId4" cstate="print">
            <a:lum bright="100000" contrast="100000"/>
          </a:blip>
          <a:srcRect l="9422" t="9591" r="8195" b="13220"/>
          <a:stretch/>
        </p:blipFill>
        <p:spPr bwMode="auto">
          <a:xfrm>
            <a:off x="2269837" y="2402757"/>
            <a:ext cx="732919" cy="629216"/>
          </a:xfrm>
          <a:prstGeom prst="rect">
            <a:avLst/>
          </a:prstGeom>
          <a:noFill/>
          <a:ln w="9525">
            <a:noFill/>
            <a:miter lim="800000"/>
            <a:headEnd/>
            <a:tailEnd/>
          </a:ln>
          <a:effectLst/>
        </p:spPr>
      </p:pic>
      <p:sp>
        <p:nvSpPr>
          <p:cNvPr id="29" name="Rectangle 28"/>
          <p:cNvSpPr/>
          <p:nvPr/>
        </p:nvSpPr>
        <p:spPr>
          <a:xfrm>
            <a:off x="2466023" y="2990100"/>
            <a:ext cx="447417" cy="253904"/>
          </a:xfrm>
          <a:prstGeom prst="rect">
            <a:avLst/>
          </a:prstGeom>
        </p:spPr>
        <p:txBody>
          <a:bodyPr wrap="none" lIns="91404" tIns="45703" rIns="91404" bIns="45703">
            <a:spAutoFit/>
          </a:bodyPr>
          <a:lstStyle/>
          <a:p>
            <a:pPr algn="ctr" defTabSz="913674">
              <a:lnSpc>
                <a:spcPct val="90000"/>
              </a:lnSpc>
            </a:pPr>
            <a:r>
              <a:rPr lang="en-US" sz="1167" dirty="0">
                <a:solidFill>
                  <a:srgbClr val="FFFFFF">
                    <a:alpha val="99000"/>
                  </a:srgbClr>
                </a:solidFill>
              </a:rPr>
              <a:t>SQL</a:t>
            </a:r>
          </a:p>
        </p:txBody>
      </p:sp>
      <p:pic>
        <p:nvPicPr>
          <p:cNvPr id="30"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808163" y="2711004"/>
            <a:ext cx="333250" cy="302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2150826" y="4442670"/>
            <a:ext cx="964859" cy="989073"/>
            <a:chOff x="1809804" y="4442923"/>
            <a:chExt cx="965110" cy="989329"/>
          </a:xfrm>
        </p:grpSpPr>
        <p:pic>
          <p:nvPicPr>
            <p:cNvPr id="31"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52359" y="5178273"/>
              <a:ext cx="811441" cy="253979"/>
            </a:xfrm>
            <a:prstGeom prst="rect">
              <a:avLst/>
            </a:prstGeom>
          </p:spPr>
          <p:txBody>
            <a:bodyPr wrap="none">
              <a:spAutoFit/>
            </a:bodyPr>
            <a:lstStyle/>
            <a:p>
              <a:pPr algn="ctr" defTabSz="913674">
                <a:lnSpc>
                  <a:spcPct val="90000"/>
                </a:lnSpc>
              </a:pPr>
              <a:r>
                <a:rPr lang="en-US" sz="1167" dirty="0">
                  <a:solidFill>
                    <a:srgbClr val="FFFFFF">
                      <a:alpha val="99000"/>
                    </a:srgbClr>
                  </a:soli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defTabSz="1218369"/>
              <a:endParaRPr lang="en-US" sz="1600">
                <a:solidFill>
                  <a:srgbClr val="FFFFFF">
                    <a:alpha val="99000"/>
                  </a:srgbClr>
                </a:solidFill>
              </a:endParaRPr>
            </a:p>
          </p:txBody>
        </p:sp>
      </p:grpSp>
      <p:sp>
        <p:nvSpPr>
          <p:cNvPr id="36" name="Freeform 27"/>
          <p:cNvSpPr>
            <a:spLocks noChangeAspect="1" noEditPoints="1"/>
          </p:cNvSpPr>
          <p:nvPr/>
        </p:nvSpPr>
        <p:spPr bwMode="black">
          <a:xfrm>
            <a:off x="1190799" y="3566211"/>
            <a:ext cx="510214" cy="328666"/>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04" tIns="45703" rIns="91404" bIns="45703" numCol="1" anchor="t" anchorCtr="0" compatLnSpc="1">
            <a:prstTxWarp prst="textNoShape">
              <a:avLst/>
            </a:prstTxWarp>
          </a:bodyPr>
          <a:lstStyle/>
          <a:p>
            <a:pPr defTabSz="1218369"/>
            <a:endParaRPr lang="en-US" sz="2399">
              <a:solidFill>
                <a:srgbClr val="FFFFFF"/>
              </a:solidFill>
            </a:endParaRPr>
          </a:p>
        </p:txBody>
      </p:sp>
      <p:sp>
        <p:nvSpPr>
          <p:cNvPr id="37" name="Freeform 27"/>
          <p:cNvSpPr>
            <a:spLocks noChangeAspect="1" noEditPoints="1"/>
          </p:cNvSpPr>
          <p:nvPr/>
        </p:nvSpPr>
        <p:spPr bwMode="black">
          <a:xfrm>
            <a:off x="1190799" y="4043045"/>
            <a:ext cx="510214" cy="328666"/>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04" tIns="45703" rIns="91404" bIns="45703" numCol="1" anchor="t" anchorCtr="0" compatLnSpc="1">
            <a:prstTxWarp prst="textNoShape">
              <a:avLst/>
            </a:prstTxWarp>
          </a:bodyPr>
          <a:lstStyle/>
          <a:p>
            <a:pPr defTabSz="1218369"/>
            <a:endParaRPr lang="en-US" sz="2399">
              <a:solidFill>
                <a:srgbClr val="FFFFFF"/>
              </a:solidFill>
            </a:endParaRPr>
          </a:p>
        </p:txBody>
      </p:sp>
      <p:sp>
        <p:nvSpPr>
          <p:cNvPr id="38" name="Freeform 27"/>
          <p:cNvSpPr>
            <a:spLocks noChangeAspect="1" noEditPoints="1"/>
          </p:cNvSpPr>
          <p:nvPr/>
        </p:nvSpPr>
        <p:spPr bwMode="black">
          <a:xfrm>
            <a:off x="1190799" y="4519878"/>
            <a:ext cx="510214" cy="328666"/>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04" tIns="45703" rIns="91404" bIns="45703" numCol="1" anchor="t" anchorCtr="0" compatLnSpc="1">
            <a:prstTxWarp prst="textNoShape">
              <a:avLst/>
            </a:prstTxWarp>
          </a:bodyPr>
          <a:lstStyle/>
          <a:p>
            <a:pPr defTabSz="1218369"/>
            <a:endParaRPr lang="en-US" sz="2399">
              <a:solidFill>
                <a:srgbClr val="FFFFFF"/>
              </a:solidFill>
            </a:endParaRPr>
          </a:p>
        </p:txBody>
      </p:sp>
      <p:sp>
        <p:nvSpPr>
          <p:cNvPr id="39" name="Freeform 27"/>
          <p:cNvSpPr>
            <a:spLocks noChangeAspect="1" noEditPoints="1"/>
          </p:cNvSpPr>
          <p:nvPr/>
        </p:nvSpPr>
        <p:spPr bwMode="black">
          <a:xfrm>
            <a:off x="1190799" y="4996709"/>
            <a:ext cx="510214" cy="328666"/>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04" tIns="45703" rIns="91404" bIns="45703" numCol="1" anchor="t" anchorCtr="0" compatLnSpc="1">
            <a:prstTxWarp prst="textNoShape">
              <a:avLst/>
            </a:prstTxWarp>
          </a:bodyPr>
          <a:lstStyle/>
          <a:p>
            <a:pPr defTabSz="1218369"/>
            <a:endParaRPr lang="en-US" sz="2399">
              <a:solidFill>
                <a:srgbClr val="FFFFFF"/>
              </a:solidFill>
            </a:endParaRPr>
          </a:p>
        </p:txBody>
      </p:sp>
      <p:grpSp>
        <p:nvGrpSpPr>
          <p:cNvPr id="91" name="Group 90"/>
          <p:cNvGrpSpPr/>
          <p:nvPr/>
        </p:nvGrpSpPr>
        <p:grpSpPr>
          <a:xfrm>
            <a:off x="10140991" y="4844696"/>
            <a:ext cx="375965" cy="558574"/>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674"/>
                  <a:endParaRPr lang="en-US" sz="2299" dirty="0">
                    <a:gradFill>
                      <a:gsLst>
                        <a:gs pos="0">
                          <a:srgbClr val="FFFFFF"/>
                        </a:gs>
                        <a:gs pos="100000">
                          <a:srgbClr val="FFFFFF"/>
                        </a:gs>
                      </a:gsLst>
                      <a:lin ang="5400000" scaled="0"/>
                    </a:gradFill>
                  </a:endParaRPr>
                </a:p>
              </p:txBody>
            </p:sp>
            <p:sp>
              <p:nvSpPr>
                <p:cNvPr id="98" name="Rectangle 97"/>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674"/>
                  <a:endParaRPr lang="en-US" sz="2299" dirty="0">
                    <a:gradFill>
                      <a:gsLst>
                        <a:gs pos="0">
                          <a:srgbClr val="FFFFFF"/>
                        </a:gs>
                        <a:gs pos="100000">
                          <a:srgbClr val="FFFFFF"/>
                        </a:gs>
                      </a:gsLst>
                      <a:lin ang="5400000" scaled="0"/>
                    </a:gradFill>
                  </a:endParaRPr>
                </a:p>
              </p:txBody>
            </p:sp>
            <p:sp>
              <p:nvSpPr>
                <p:cNvPr id="99" name="Rectangle 98"/>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674"/>
                  <a:endParaRPr lang="en-US" sz="2299" dirty="0">
                    <a:gradFill>
                      <a:gsLst>
                        <a:gs pos="0">
                          <a:srgbClr val="FFFFFF"/>
                        </a:gs>
                        <a:gs pos="100000">
                          <a:srgbClr val="FFFFFF"/>
                        </a:gs>
                      </a:gsLst>
                      <a:lin ang="5400000" scaled="0"/>
                    </a:gradFill>
                  </a:endParaRPr>
                </a:p>
              </p:txBody>
            </p:sp>
          </p:grpSp>
          <p:sp>
            <p:nvSpPr>
              <p:cNvPr id="96" name="Isosceles Triangle 95"/>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674"/>
                <a:endParaRPr lang="en-US" sz="2299" dirty="0">
                  <a:gradFill>
                    <a:gsLst>
                      <a:gs pos="0">
                        <a:srgbClr val="FFFFFF"/>
                      </a:gs>
                      <a:gs pos="100000">
                        <a:srgbClr val="FFFFFF"/>
                      </a:gs>
                    </a:gsLst>
                    <a:lin ang="5400000" scaled="0"/>
                  </a:gradFill>
                </a:endParaRPr>
              </a:p>
            </p:txBody>
          </p:sp>
        </p:grpSp>
      </p:grpSp>
      <p:pic>
        <p:nvPicPr>
          <p:cNvPr id="101"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0867585" y="4844696"/>
            <a:ext cx="278810" cy="558574"/>
          </a:xfrm>
          <a:prstGeom prst="rect">
            <a:avLst/>
          </a:prstGeom>
          <a:noFill/>
        </p:spPr>
      </p:pic>
      <p:pic>
        <p:nvPicPr>
          <p:cNvPr id="9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447015" y="4844696"/>
            <a:ext cx="278810" cy="558574"/>
          </a:xfrm>
          <a:prstGeom prst="rect">
            <a:avLst/>
          </a:prstGeom>
          <a:noFill/>
        </p:spPr>
      </p:pic>
      <p:sp>
        <p:nvSpPr>
          <p:cNvPr id="106" name="Rectangle 105"/>
          <p:cNvSpPr/>
          <p:nvPr/>
        </p:nvSpPr>
        <p:spPr>
          <a:xfrm>
            <a:off x="9471347" y="5414044"/>
            <a:ext cx="225965" cy="161605"/>
          </a:xfrm>
          <a:prstGeom prst="rect">
            <a:avLst/>
          </a:prstGeom>
        </p:spPr>
        <p:txBody>
          <a:bodyPr wrap="none" lIns="0" tIns="0" rIns="0" bIns="0">
            <a:spAutoFit/>
          </a:bodyPr>
          <a:lstStyle/>
          <a:p>
            <a:pPr algn="ctr" defTabSz="913674">
              <a:lnSpc>
                <a:spcPct val="90000"/>
              </a:lnSpc>
            </a:pPr>
            <a:r>
              <a:rPr lang="en-US" sz="1167" dirty="0">
                <a:solidFill>
                  <a:srgbClr val="FFFFFF">
                    <a:alpha val="99000"/>
                  </a:srgbClr>
                </a:solidFill>
              </a:rPr>
              <a:t>File</a:t>
            </a:r>
          </a:p>
        </p:txBody>
      </p:sp>
      <p:sp>
        <p:nvSpPr>
          <p:cNvPr id="107" name="Rectangle 106"/>
          <p:cNvSpPr/>
          <p:nvPr/>
        </p:nvSpPr>
        <p:spPr>
          <a:xfrm>
            <a:off x="10010062" y="5414044"/>
            <a:ext cx="637829" cy="161605"/>
          </a:xfrm>
          <a:prstGeom prst="rect">
            <a:avLst/>
          </a:prstGeom>
        </p:spPr>
        <p:txBody>
          <a:bodyPr wrap="none" lIns="0" tIns="0" rIns="0" bIns="0">
            <a:spAutoFit/>
          </a:bodyPr>
          <a:lstStyle/>
          <a:p>
            <a:pPr algn="ctr" defTabSz="913674">
              <a:lnSpc>
                <a:spcPct val="90000"/>
              </a:lnSpc>
            </a:pPr>
            <a:r>
              <a:rPr lang="en-US" sz="1167" dirty="0">
                <a:solidFill>
                  <a:srgbClr val="FFFFFF">
                    <a:alpha val="99000"/>
                  </a:srgbClr>
                </a:solidFill>
              </a:rPr>
              <a:t>AD / DNS</a:t>
            </a:r>
          </a:p>
        </p:txBody>
      </p:sp>
      <p:sp>
        <p:nvSpPr>
          <p:cNvPr id="110" name="Rectangle 109"/>
          <p:cNvSpPr/>
          <p:nvPr/>
        </p:nvSpPr>
        <p:spPr>
          <a:xfrm>
            <a:off x="10886667" y="5414044"/>
            <a:ext cx="262825" cy="161605"/>
          </a:xfrm>
          <a:prstGeom prst="rect">
            <a:avLst/>
          </a:prstGeom>
        </p:spPr>
        <p:txBody>
          <a:bodyPr wrap="none" lIns="0" tIns="0" rIns="0" bIns="0">
            <a:spAutoFit/>
          </a:bodyPr>
          <a:lstStyle/>
          <a:p>
            <a:pPr algn="ctr" defTabSz="913674">
              <a:lnSpc>
                <a:spcPct val="90000"/>
              </a:lnSpc>
            </a:pPr>
            <a:r>
              <a:rPr lang="en-US" sz="1167" dirty="0">
                <a:solidFill>
                  <a:srgbClr val="FFFFFF">
                    <a:alpha val="99000"/>
                  </a:srgbClr>
                </a:solidFill>
              </a:rPr>
              <a:t>SQL</a:t>
            </a:r>
          </a:p>
        </p:txBody>
      </p:sp>
      <p:pic>
        <p:nvPicPr>
          <p:cNvPr id="72" name="Picture 2"/>
          <p:cNvPicPr>
            <a:picLocks noChangeAspect="1" noChangeArrowheads="1"/>
          </p:cNvPicPr>
          <p:nvPr/>
        </p:nvPicPr>
        <p:blipFill>
          <a:blip r:embed="rId6"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1088780" y="5171915"/>
            <a:ext cx="201480" cy="182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0716195" y="4829081"/>
            <a:ext cx="300029" cy="601082"/>
          </a:xfrm>
          <a:prstGeom prst="rect">
            <a:avLst/>
          </a:prstGeom>
          <a:noFill/>
        </p:spPr>
      </p:pic>
      <p:sp>
        <p:nvSpPr>
          <p:cNvPr id="70" name="Rectangle 69"/>
          <p:cNvSpPr/>
          <p:nvPr/>
        </p:nvSpPr>
        <p:spPr>
          <a:xfrm>
            <a:off x="10439723" y="3235664"/>
            <a:ext cx="716356" cy="161605"/>
          </a:xfrm>
          <a:prstGeom prst="rect">
            <a:avLst/>
          </a:prstGeom>
        </p:spPr>
        <p:txBody>
          <a:bodyPr wrap="none" lIns="0" tIns="0" rIns="0" bIns="0">
            <a:spAutoFit/>
          </a:bodyPr>
          <a:lstStyle/>
          <a:p>
            <a:pPr algn="ctr" defTabSz="913674">
              <a:lnSpc>
                <a:spcPct val="90000"/>
              </a:lnSpc>
            </a:pPr>
            <a:r>
              <a:rPr lang="en-US" sz="1167" dirty="0">
                <a:solidFill>
                  <a:srgbClr val="FFFFFF">
                    <a:alpha val="99000"/>
                  </a:srgbClr>
                </a:solidFill>
              </a:rPr>
              <a:t>SharePoint</a:t>
            </a:r>
            <a:endParaRPr lang="en-US" sz="1100" dirty="0">
              <a:solidFill>
                <a:srgbClr val="FFFFFF">
                  <a:alpha val="99000"/>
                </a:srgbClr>
              </a:solidFill>
            </a:endParaRPr>
          </a:p>
        </p:txBody>
      </p:sp>
      <p:sp>
        <p:nvSpPr>
          <p:cNvPr id="71" name="Rectangle 70"/>
          <p:cNvSpPr/>
          <p:nvPr/>
        </p:nvSpPr>
        <p:spPr>
          <a:xfrm>
            <a:off x="9670611" y="3243449"/>
            <a:ext cx="149041" cy="152309"/>
          </a:xfrm>
          <a:prstGeom prst="rect">
            <a:avLst/>
          </a:prstGeom>
        </p:spPr>
        <p:txBody>
          <a:bodyPr wrap="none" lIns="0" tIns="0" rIns="0" bIns="0">
            <a:spAutoFit/>
          </a:bodyPr>
          <a:lstStyle/>
          <a:p>
            <a:pPr algn="ctr" defTabSz="913674">
              <a:lnSpc>
                <a:spcPct val="90000"/>
              </a:lnSpc>
            </a:pPr>
            <a:r>
              <a:rPr lang="en-US" sz="1100" dirty="0">
                <a:solidFill>
                  <a:srgbClr val="FFFFFF">
                    <a:alpha val="99000"/>
                  </a:srgbClr>
                </a:solidFill>
              </a:rPr>
              <a:t>IIS</a:t>
            </a:r>
          </a:p>
        </p:txBody>
      </p:sp>
      <p:pic>
        <p:nvPicPr>
          <p:cNvPr id="74" name="Picture 2"/>
          <p:cNvPicPr>
            <a:picLocks noChangeAspect="1" noChangeArrowheads="1"/>
          </p:cNvPicPr>
          <p:nvPr/>
        </p:nvPicPr>
        <p:blipFill rotWithShape="1">
          <a:blip r:embed="rId4" cstate="print">
            <a:lum bright="100000" contrast="100000"/>
          </a:blip>
          <a:srcRect l="9422" t="9591" r="8195" b="13220"/>
          <a:stretch/>
        </p:blipFill>
        <p:spPr bwMode="auto">
          <a:xfrm>
            <a:off x="10431443" y="2577635"/>
            <a:ext cx="732919" cy="629216"/>
          </a:xfrm>
          <a:prstGeom prst="rect">
            <a:avLst/>
          </a:prstGeom>
          <a:noFill/>
          <a:ln w="9525">
            <a:noFill/>
            <a:miter lim="800000"/>
            <a:headEnd/>
            <a:tailEnd/>
          </a:ln>
          <a:effectLst/>
        </p:spPr>
      </p:pic>
      <p:grpSp>
        <p:nvGrpSpPr>
          <p:cNvPr id="57" name="Group 56"/>
          <p:cNvGrpSpPr/>
          <p:nvPr/>
        </p:nvGrpSpPr>
        <p:grpSpPr>
          <a:xfrm>
            <a:off x="9352884" y="2586318"/>
            <a:ext cx="869718" cy="629216"/>
            <a:chOff x="2870782" y="2512291"/>
            <a:chExt cx="791194" cy="572406"/>
          </a:xfrm>
        </p:grpSpPr>
        <p:pic>
          <p:nvPicPr>
            <p:cNvPr id="58"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61"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16" tIns="45708" rIns="91416" bIns="45708" numCol="1" anchor="t" anchorCtr="0" compatLnSpc="1">
              <a:prstTxWarp prst="textNoShape">
                <a:avLst/>
              </a:prstTxWarp>
            </a:bodyPr>
            <a:lstStyle/>
            <a:p>
              <a:pPr defTabSz="1218369"/>
              <a:endParaRPr lang="en-US" sz="2399">
                <a:solidFill>
                  <a:srgbClr val="FFFFFF"/>
                </a:solidFill>
              </a:endParaRPr>
            </a:p>
          </p:txBody>
        </p:sp>
      </p:grpSp>
      <p:pic>
        <p:nvPicPr>
          <p:cNvPr id="6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408058" y="3633305"/>
            <a:ext cx="355417" cy="712047"/>
          </a:xfrm>
          <a:prstGeom prst="rect">
            <a:avLst/>
          </a:prstGeom>
          <a:noFill/>
        </p:spPr>
      </p:pic>
      <p:sp>
        <p:nvSpPr>
          <p:cNvPr id="63" name="Rectangle 62"/>
          <p:cNvSpPr/>
          <p:nvPr/>
        </p:nvSpPr>
        <p:spPr>
          <a:xfrm>
            <a:off x="9218221" y="4261517"/>
            <a:ext cx="1169223" cy="258498"/>
          </a:xfrm>
          <a:prstGeom prst="rect">
            <a:avLst/>
          </a:prstGeom>
        </p:spPr>
        <p:txBody>
          <a:bodyPr wrap="none" lIns="91404" tIns="45703" rIns="91404" bIns="45703">
            <a:spAutoFit/>
          </a:bodyPr>
          <a:lstStyle/>
          <a:p>
            <a:pPr algn="ctr" defTabSz="913674">
              <a:lnSpc>
                <a:spcPct val="90000"/>
              </a:lnSpc>
            </a:pPr>
            <a:r>
              <a:rPr lang="en-US" sz="1200" dirty="0">
                <a:solidFill>
                  <a:srgbClr val="FFFFFF">
                    <a:alpha val="99000"/>
                  </a:srgbClr>
                </a:solidFill>
              </a:rPr>
              <a:t>VPN Gateways</a:t>
            </a:r>
          </a:p>
        </p:txBody>
      </p:sp>
      <p:pic>
        <p:nvPicPr>
          <p:cNvPr id="64"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3679011" y="4647052"/>
            <a:ext cx="278810" cy="558574"/>
          </a:xfrm>
          <a:prstGeom prst="rect">
            <a:avLst/>
          </a:prstGeom>
          <a:noFill/>
        </p:spPr>
      </p:pic>
      <p:sp>
        <p:nvSpPr>
          <p:cNvPr id="65" name="Rectangle 64"/>
          <p:cNvSpPr/>
          <p:nvPr/>
        </p:nvSpPr>
        <p:spPr>
          <a:xfrm>
            <a:off x="3388435" y="5216401"/>
            <a:ext cx="855781" cy="161605"/>
          </a:xfrm>
          <a:prstGeom prst="rect">
            <a:avLst/>
          </a:prstGeom>
        </p:spPr>
        <p:txBody>
          <a:bodyPr wrap="none" lIns="0" tIns="0" rIns="0" bIns="0">
            <a:spAutoFit/>
          </a:bodyPr>
          <a:lstStyle/>
          <a:p>
            <a:pPr algn="ctr" defTabSz="913674">
              <a:lnSpc>
                <a:spcPct val="90000"/>
              </a:lnSpc>
            </a:pPr>
            <a:r>
              <a:rPr lang="en-US" sz="1167" dirty="0" err="1">
                <a:solidFill>
                  <a:srgbClr val="FFFFFF">
                    <a:alpha val="99000"/>
                  </a:srgbClr>
                </a:solidFill>
              </a:rPr>
              <a:t>BranchCache</a:t>
            </a:r>
            <a:endParaRPr lang="en-US" sz="1167" dirty="0">
              <a:solidFill>
                <a:srgbClr val="FFFFFF">
                  <a:alpha val="99000"/>
                </a:srgbClr>
              </a:solidFill>
            </a:endParaRPr>
          </a:p>
        </p:txBody>
      </p:sp>
      <p:sp>
        <p:nvSpPr>
          <p:cNvPr id="66" name="TextBox 65"/>
          <p:cNvSpPr txBox="1"/>
          <p:nvPr/>
        </p:nvSpPr>
        <p:spPr>
          <a:xfrm>
            <a:off x="522154" y="5904045"/>
            <a:ext cx="4326272" cy="369236"/>
          </a:xfrm>
          <a:prstGeom prst="rect">
            <a:avLst/>
          </a:prstGeom>
          <a:noFill/>
        </p:spPr>
        <p:txBody>
          <a:bodyPr wrap="square" lIns="0" tIns="0" rIns="0" bIns="0" rtlCol="0">
            <a:spAutoFit/>
          </a:bodyPr>
          <a:lstStyle/>
          <a:p>
            <a:pPr algn="ctr" defTabSz="914053"/>
            <a:r>
              <a:rPr lang="en-US" sz="2399" spc="-70" dirty="0">
                <a:solidFill>
                  <a:prstClr val="black"/>
                </a:solidFill>
              </a:rPr>
              <a:t>IP Address Space: 10.1.0.0/16</a:t>
            </a:r>
          </a:p>
        </p:txBody>
      </p:sp>
      <p:sp>
        <p:nvSpPr>
          <p:cNvPr id="67" name="TextBox 66"/>
          <p:cNvSpPr txBox="1"/>
          <p:nvPr/>
        </p:nvSpPr>
        <p:spPr>
          <a:xfrm>
            <a:off x="8059466" y="5904045"/>
            <a:ext cx="4326272" cy="369236"/>
          </a:xfrm>
          <a:prstGeom prst="rect">
            <a:avLst/>
          </a:prstGeom>
          <a:noFill/>
        </p:spPr>
        <p:txBody>
          <a:bodyPr wrap="square" lIns="0" tIns="0" rIns="0" bIns="0" rtlCol="0">
            <a:spAutoFit/>
          </a:bodyPr>
          <a:lstStyle/>
          <a:p>
            <a:pPr algn="ctr" defTabSz="914053"/>
            <a:r>
              <a:rPr lang="en-US" sz="2399" spc="-70" dirty="0">
                <a:solidFill>
                  <a:prstClr val="black"/>
                </a:solidFill>
              </a:rPr>
              <a:t>IP Address Space: 10.2.0.0/16</a:t>
            </a:r>
          </a:p>
        </p:txBody>
      </p:sp>
      <p:pic>
        <p:nvPicPr>
          <p:cNvPr id="68"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298619" y="2461378"/>
            <a:ext cx="278810" cy="558574"/>
          </a:xfrm>
          <a:prstGeom prst="rect">
            <a:avLst/>
          </a:prstGeom>
          <a:noFill/>
        </p:spPr>
      </p:pic>
      <p:sp>
        <p:nvSpPr>
          <p:cNvPr id="69" name="Rectangle 68"/>
          <p:cNvSpPr/>
          <p:nvPr/>
        </p:nvSpPr>
        <p:spPr>
          <a:xfrm>
            <a:off x="959170" y="3030726"/>
            <a:ext cx="953539" cy="161605"/>
          </a:xfrm>
          <a:prstGeom prst="rect">
            <a:avLst/>
          </a:prstGeom>
        </p:spPr>
        <p:txBody>
          <a:bodyPr wrap="none" lIns="0" tIns="0" rIns="0" bIns="0">
            <a:spAutoFit/>
          </a:bodyPr>
          <a:lstStyle/>
          <a:p>
            <a:pPr algn="ctr" defTabSz="913674">
              <a:lnSpc>
                <a:spcPct val="90000"/>
              </a:lnSpc>
            </a:pPr>
            <a:r>
              <a:rPr lang="en-US" sz="1167" dirty="0">
                <a:solidFill>
                  <a:srgbClr val="FFFFFF">
                    <a:alpha val="99000"/>
                  </a:srgbClr>
                </a:solidFill>
              </a:rPr>
              <a:t>System Center</a:t>
            </a:r>
          </a:p>
        </p:txBody>
      </p:sp>
      <p:sp>
        <p:nvSpPr>
          <p:cNvPr id="76" name="Rectangle 75"/>
          <p:cNvSpPr/>
          <p:nvPr/>
        </p:nvSpPr>
        <p:spPr bwMode="auto">
          <a:xfrm>
            <a:off x="9218668" y="2403543"/>
            <a:ext cx="2194072" cy="1009787"/>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0" rIns="91400" bIns="45700" numCol="1" rtlCol="0" anchor="ctr" anchorCtr="0" compatLnSpc="1">
            <a:prstTxWarp prst="textNoShape">
              <a:avLst/>
            </a:prstTxWarp>
          </a:bodyPr>
          <a:lstStyle/>
          <a:p>
            <a:pPr algn="ctr" defTabSz="1217969"/>
            <a:endParaRPr lang="en-US" sz="1899" dirty="0">
              <a:gradFill>
                <a:gsLst>
                  <a:gs pos="0">
                    <a:srgbClr val="FFFFFF"/>
                  </a:gs>
                  <a:gs pos="100000">
                    <a:srgbClr val="FFFFFF"/>
                  </a:gs>
                </a:gsLst>
                <a:lin ang="5400000" scaled="0"/>
              </a:gradFill>
            </a:endParaRPr>
          </a:p>
        </p:txBody>
      </p:sp>
      <p:sp>
        <p:nvSpPr>
          <p:cNvPr id="77" name="Rectangle 76"/>
          <p:cNvSpPr/>
          <p:nvPr/>
        </p:nvSpPr>
        <p:spPr bwMode="auto">
          <a:xfrm>
            <a:off x="9218668" y="3514504"/>
            <a:ext cx="2194072" cy="1009787"/>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0" rIns="91400" bIns="45700" numCol="1" rtlCol="0" anchor="ctr" anchorCtr="0" compatLnSpc="1">
            <a:prstTxWarp prst="textNoShape">
              <a:avLst/>
            </a:prstTxWarp>
          </a:bodyPr>
          <a:lstStyle/>
          <a:p>
            <a:pPr algn="ctr" defTabSz="1217969"/>
            <a:endParaRPr lang="en-US" sz="1899" dirty="0">
              <a:gradFill>
                <a:gsLst>
                  <a:gs pos="0">
                    <a:srgbClr val="FFFFFF"/>
                  </a:gs>
                  <a:gs pos="100000">
                    <a:srgbClr val="FFFFFF"/>
                  </a:gs>
                </a:gsLst>
                <a:lin ang="5400000" scaled="0"/>
              </a:gradFill>
            </a:endParaRPr>
          </a:p>
        </p:txBody>
      </p:sp>
      <p:pic>
        <p:nvPicPr>
          <p:cNvPr id="78"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598431" y="3633305"/>
            <a:ext cx="355417" cy="712047"/>
          </a:xfrm>
          <a:prstGeom prst="rect">
            <a:avLst/>
          </a:prstGeom>
          <a:noFill/>
        </p:spPr>
      </p:pic>
      <p:sp>
        <p:nvSpPr>
          <p:cNvPr id="80" name="Rectangle 79"/>
          <p:cNvSpPr/>
          <p:nvPr/>
        </p:nvSpPr>
        <p:spPr bwMode="auto">
          <a:xfrm>
            <a:off x="9226604" y="4625464"/>
            <a:ext cx="2194072" cy="1009787"/>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0" rIns="91400" bIns="45700" numCol="1" rtlCol="0" anchor="ctr" anchorCtr="0" compatLnSpc="1">
            <a:prstTxWarp prst="textNoShape">
              <a:avLst/>
            </a:prstTxWarp>
          </a:bodyPr>
          <a:lstStyle/>
          <a:p>
            <a:pPr algn="ctr" defTabSz="1217969"/>
            <a:endParaRPr lang="en-US" sz="1899" dirty="0">
              <a:gradFill>
                <a:gsLst>
                  <a:gs pos="0">
                    <a:srgbClr val="FFFFFF"/>
                  </a:gs>
                  <a:gs pos="100000">
                    <a:srgbClr val="FFFFFF"/>
                  </a:gs>
                </a:gsLst>
                <a:lin ang="5400000" scaled="0"/>
              </a:gradFill>
            </a:endParaRPr>
          </a:p>
        </p:txBody>
      </p:sp>
      <p:sp>
        <p:nvSpPr>
          <p:cNvPr id="5" name="TextBox 4"/>
          <p:cNvSpPr txBox="1"/>
          <p:nvPr/>
        </p:nvSpPr>
        <p:spPr>
          <a:xfrm>
            <a:off x="9361802" y="2428131"/>
            <a:ext cx="1363310" cy="153848"/>
          </a:xfrm>
          <a:prstGeom prst="rect">
            <a:avLst/>
          </a:prstGeom>
          <a:noFill/>
        </p:spPr>
        <p:txBody>
          <a:bodyPr wrap="square" lIns="0" tIns="0" rIns="0" bIns="0" rtlCol="0">
            <a:spAutoFit/>
          </a:bodyPr>
          <a:lstStyle/>
          <a:p>
            <a:r>
              <a:rPr lang="en-US" sz="1000" spc="-58" dirty="0">
                <a:gradFill>
                  <a:gsLst>
                    <a:gs pos="2917">
                      <a:srgbClr val="FFFFFF"/>
                    </a:gs>
                    <a:gs pos="30000">
                      <a:srgbClr val="FFFFFF"/>
                    </a:gs>
                  </a:gsLst>
                  <a:lin ang="5400000" scaled="0"/>
                </a:gradFill>
              </a:rPr>
              <a:t>Subnet 10.2.1.0 / 24 - Web</a:t>
            </a:r>
          </a:p>
        </p:txBody>
      </p:sp>
      <p:sp>
        <p:nvSpPr>
          <p:cNvPr id="81" name="TextBox 80"/>
          <p:cNvSpPr txBox="1"/>
          <p:nvPr/>
        </p:nvSpPr>
        <p:spPr>
          <a:xfrm>
            <a:off x="9326802" y="3538912"/>
            <a:ext cx="1819592" cy="153848"/>
          </a:xfrm>
          <a:prstGeom prst="rect">
            <a:avLst/>
          </a:prstGeom>
          <a:noFill/>
        </p:spPr>
        <p:txBody>
          <a:bodyPr wrap="square" lIns="0" tIns="0" rIns="0" bIns="0" rtlCol="0">
            <a:spAutoFit/>
          </a:bodyPr>
          <a:lstStyle/>
          <a:p>
            <a:r>
              <a:rPr lang="en-US" sz="1000" spc="-58" dirty="0">
                <a:gradFill>
                  <a:gsLst>
                    <a:gs pos="2917">
                      <a:srgbClr val="FFFFFF"/>
                    </a:gs>
                    <a:gs pos="30000">
                      <a:srgbClr val="FFFFFF"/>
                    </a:gs>
                  </a:gsLst>
                  <a:lin ang="5400000" scaled="0"/>
                </a:gradFill>
              </a:rPr>
              <a:t>Subnet 10.2.0.0 / 24 - Gateway</a:t>
            </a:r>
          </a:p>
        </p:txBody>
      </p:sp>
      <p:sp>
        <p:nvSpPr>
          <p:cNvPr id="82" name="TextBox 81"/>
          <p:cNvSpPr txBox="1"/>
          <p:nvPr/>
        </p:nvSpPr>
        <p:spPr>
          <a:xfrm>
            <a:off x="9326802" y="4650348"/>
            <a:ext cx="1819592" cy="153848"/>
          </a:xfrm>
          <a:prstGeom prst="rect">
            <a:avLst/>
          </a:prstGeom>
          <a:noFill/>
        </p:spPr>
        <p:txBody>
          <a:bodyPr wrap="square" lIns="0" tIns="0" rIns="0" bIns="0" rtlCol="0">
            <a:spAutoFit/>
          </a:bodyPr>
          <a:lstStyle/>
          <a:p>
            <a:r>
              <a:rPr lang="en-US" sz="1000" spc="-58" dirty="0">
                <a:gradFill>
                  <a:gsLst>
                    <a:gs pos="2917">
                      <a:srgbClr val="FFFFFF"/>
                    </a:gs>
                    <a:gs pos="30000">
                      <a:srgbClr val="FFFFFF"/>
                    </a:gs>
                  </a:gsLst>
                  <a:lin ang="5400000" scaled="0"/>
                </a:gradFill>
              </a:rPr>
              <a:t>Subnet 10.2.2.0 / 24 - Core</a:t>
            </a:r>
          </a:p>
        </p:txBody>
      </p:sp>
      <p:sp>
        <p:nvSpPr>
          <p:cNvPr id="6" name="TextBox 5"/>
          <p:cNvSpPr txBox="1"/>
          <p:nvPr/>
        </p:nvSpPr>
        <p:spPr>
          <a:xfrm>
            <a:off x="3995843" y="3590443"/>
            <a:ext cx="824666" cy="307697"/>
          </a:xfrm>
          <a:prstGeom prst="rect">
            <a:avLst/>
          </a:prstGeom>
          <a:noFill/>
        </p:spPr>
        <p:txBody>
          <a:bodyPr wrap="square" lIns="0" tIns="0" rIns="0" bIns="0" rtlCol="0">
            <a:spAutoFit/>
          </a:bodyPr>
          <a:lstStyle/>
          <a:p>
            <a:r>
              <a:rPr lang="en-US" sz="1000" spc="-58" dirty="0">
                <a:gradFill>
                  <a:gsLst>
                    <a:gs pos="2917">
                      <a:srgbClr val="FFFFFF"/>
                    </a:gs>
                    <a:gs pos="30000">
                      <a:srgbClr val="FFFFFF"/>
                    </a:gs>
                  </a:gsLst>
                  <a:lin ang="5400000" scaled="0"/>
                </a:gradFill>
              </a:rPr>
              <a:t>IPv4 Public Address</a:t>
            </a:r>
          </a:p>
        </p:txBody>
      </p:sp>
      <p:cxnSp>
        <p:nvCxnSpPr>
          <p:cNvPr id="60" name="Straight Arrow Connector 59"/>
          <p:cNvCxnSpPr/>
          <p:nvPr/>
        </p:nvCxnSpPr>
        <p:spPr>
          <a:xfrm flipH="1">
            <a:off x="4820509" y="2970232"/>
            <a:ext cx="4541513" cy="71823"/>
          </a:xfrm>
          <a:prstGeom prst="straightConnector1">
            <a:avLst/>
          </a:prstGeom>
          <a:ln w="57150">
            <a:solidFill>
              <a:schemeClr val="accent1"/>
            </a:solidFill>
            <a:headEnd type="triangle" w="med" len="sm"/>
            <a:tailEnd type="triangle" w="med" len="sm"/>
          </a:ln>
          <a:effectLst/>
        </p:spPr>
        <p:style>
          <a:lnRef idx="1">
            <a:schemeClr val="accent1"/>
          </a:lnRef>
          <a:fillRef idx="0">
            <a:schemeClr val="accent1"/>
          </a:fillRef>
          <a:effectRef idx="0">
            <a:schemeClr val="accent1"/>
          </a:effectRef>
          <a:fontRef idx="minor">
            <a:schemeClr val="tx1"/>
          </a:fontRef>
        </p:style>
      </p:cxnSp>
      <p:sp>
        <p:nvSpPr>
          <p:cNvPr id="8" name="Freeform 128"/>
          <p:cNvSpPr>
            <a:spLocks noChangeAspect="1"/>
          </p:cNvSpPr>
          <p:nvPr/>
        </p:nvSpPr>
        <p:spPr bwMode="black">
          <a:xfrm>
            <a:off x="5330005" y="1715173"/>
            <a:ext cx="3324630" cy="18365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a:noFill/>
          </a:ln>
          <a:effectLst/>
          <a:extLst/>
        </p:spPr>
        <p:txBody>
          <a:bodyPr vert="horz" wrap="square" lIns="91404" tIns="45703" rIns="91404" bIns="45703" numCol="1" anchor="t" anchorCtr="0" compatLnSpc="1">
            <a:prstTxWarp prst="textNoShape">
              <a:avLst/>
            </a:prstTxWarp>
          </a:bodyPr>
          <a:lstStyle/>
          <a:p>
            <a:pPr defTabSz="1218369"/>
            <a:endParaRPr lang="en-US" sz="2399">
              <a:solidFill>
                <a:srgbClr val="FFFFFF"/>
              </a:solidFill>
            </a:endParaRPr>
          </a:p>
        </p:txBody>
      </p:sp>
      <p:sp>
        <p:nvSpPr>
          <p:cNvPr id="89" name="Rectangle 88"/>
          <p:cNvSpPr/>
          <p:nvPr/>
        </p:nvSpPr>
        <p:spPr>
          <a:xfrm>
            <a:off x="5705021" y="2588677"/>
            <a:ext cx="2383913" cy="673740"/>
          </a:xfrm>
          <a:prstGeom prst="rect">
            <a:avLst/>
          </a:prstGeom>
        </p:spPr>
        <p:txBody>
          <a:bodyPr wrap="none" lIns="91404" tIns="45703" rIns="91404" bIns="45703">
            <a:spAutoFit/>
          </a:bodyPr>
          <a:lstStyle/>
          <a:p>
            <a:pPr algn="ctr" defTabSz="913674">
              <a:lnSpc>
                <a:spcPct val="90000"/>
              </a:lnSpc>
            </a:pPr>
            <a:r>
              <a:rPr lang="en-US" sz="2099" b="1" dirty="0">
                <a:gradFill>
                  <a:gsLst>
                    <a:gs pos="0">
                      <a:srgbClr val="FFFFFF"/>
                    </a:gs>
                    <a:gs pos="100000">
                      <a:srgbClr val="FFFFFF"/>
                    </a:gs>
                  </a:gsLst>
                  <a:lin ang="5400000" scaled="0"/>
                </a:gradFill>
              </a:rPr>
              <a:t>Site-to-Site </a:t>
            </a:r>
            <a:br>
              <a:rPr lang="en-US" sz="2099" b="1" dirty="0">
                <a:gradFill>
                  <a:gsLst>
                    <a:gs pos="0">
                      <a:srgbClr val="FFFFFF"/>
                    </a:gs>
                    <a:gs pos="100000">
                      <a:srgbClr val="FFFFFF"/>
                    </a:gs>
                  </a:gsLst>
                  <a:lin ang="5400000" scaled="0"/>
                </a:gradFill>
              </a:rPr>
            </a:br>
            <a:r>
              <a:rPr lang="en-US" sz="2099" b="1" dirty="0" err="1">
                <a:gradFill>
                  <a:gsLst>
                    <a:gs pos="0">
                      <a:srgbClr val="FFFFFF"/>
                    </a:gs>
                    <a:gs pos="100000">
                      <a:srgbClr val="FFFFFF"/>
                    </a:gs>
                  </a:gsLst>
                  <a:lin ang="5400000" scaled="0"/>
                </a:gradFill>
              </a:rPr>
              <a:t>IPSec</a:t>
            </a:r>
            <a:r>
              <a:rPr lang="en-US" sz="2099" b="1" dirty="0">
                <a:gradFill>
                  <a:gsLst>
                    <a:gs pos="0">
                      <a:srgbClr val="FFFFFF"/>
                    </a:gs>
                    <a:gs pos="100000">
                      <a:srgbClr val="FFFFFF"/>
                    </a:gs>
                  </a:gsLst>
                  <a:lin ang="5400000" scaled="0"/>
                </a:gradFill>
              </a:rPr>
              <a:t> VPN tunnel</a:t>
            </a:r>
          </a:p>
        </p:txBody>
      </p:sp>
      <p:sp>
        <p:nvSpPr>
          <p:cNvPr id="4" name="TextBox 3"/>
          <p:cNvSpPr txBox="1"/>
          <p:nvPr/>
        </p:nvSpPr>
        <p:spPr>
          <a:xfrm>
            <a:off x="9931660" y="3783454"/>
            <a:ext cx="1481080" cy="461545"/>
          </a:xfrm>
          <a:prstGeom prst="rect">
            <a:avLst/>
          </a:prstGeom>
          <a:noFill/>
        </p:spPr>
        <p:txBody>
          <a:bodyPr wrap="square" lIns="91416" tIns="91416" rIns="91416" bIns="91416" rtlCol="0">
            <a:spAutoFit/>
          </a:bodyPr>
          <a:lstStyle/>
          <a:p>
            <a:pPr>
              <a:lnSpc>
                <a:spcPct val="90000"/>
              </a:lnSpc>
              <a:spcBef>
                <a:spcPct val="20000"/>
              </a:spcBef>
              <a:buSzPct val="90000"/>
            </a:pPr>
            <a:r>
              <a:rPr lang="en-US" sz="1000" dirty="0">
                <a:solidFill>
                  <a:srgbClr val="FFFFFF">
                    <a:alpha val="99000"/>
                  </a:srgbClr>
                </a:solidFill>
              </a:rPr>
              <a:t>Highly Available </a:t>
            </a:r>
            <a:br>
              <a:rPr lang="en-US" sz="1000" dirty="0">
                <a:solidFill>
                  <a:srgbClr val="FFFFFF">
                    <a:alpha val="99000"/>
                  </a:srgbClr>
                </a:solidFill>
              </a:rPr>
            </a:br>
            <a:r>
              <a:rPr lang="en-US" sz="1000" dirty="0">
                <a:solidFill>
                  <a:srgbClr val="FFFFFF">
                    <a:alpha val="99000"/>
                  </a:srgbClr>
                </a:solidFill>
              </a:rPr>
              <a:t>Active / Passive</a:t>
            </a:r>
          </a:p>
        </p:txBody>
      </p:sp>
      <p:sp>
        <p:nvSpPr>
          <p:cNvPr id="7" name="TextBox 6"/>
          <p:cNvSpPr txBox="1"/>
          <p:nvPr/>
        </p:nvSpPr>
        <p:spPr>
          <a:xfrm>
            <a:off x="9226604" y="1499457"/>
            <a:ext cx="2194072" cy="627700"/>
          </a:xfrm>
          <a:prstGeom prst="rect">
            <a:avLst/>
          </a:prstGeom>
          <a:noFill/>
        </p:spPr>
        <p:txBody>
          <a:bodyPr wrap="square" lIns="91416" tIns="91416" rIns="91416" bIns="91416" rtlCol="0">
            <a:spAutoFit/>
          </a:bodyPr>
          <a:lstStyle/>
          <a:p>
            <a:pPr algn="ctr">
              <a:lnSpc>
                <a:spcPct val="90000"/>
              </a:lnSpc>
              <a:spcBef>
                <a:spcPct val="20000"/>
              </a:spcBef>
              <a:buSzPct val="90000"/>
            </a:pPr>
            <a:r>
              <a:rPr lang="en-US" sz="3199" dirty="0" err="1">
                <a:solidFill>
                  <a:srgbClr val="FFFFFF">
                    <a:alpha val="99000"/>
                  </a:srgbClr>
                </a:solidFill>
              </a:rPr>
              <a:t>CloudNet</a:t>
            </a:r>
            <a:endParaRPr lang="en-US" sz="3199" dirty="0">
              <a:solidFill>
                <a:srgbClr val="FFFFFF">
                  <a:alpha val="99000"/>
                </a:srgbClr>
              </a:solidFill>
            </a:endParaRPr>
          </a:p>
        </p:txBody>
      </p:sp>
      <p:sp>
        <p:nvSpPr>
          <p:cNvPr id="79" name="TextBox 78"/>
          <p:cNvSpPr txBox="1"/>
          <p:nvPr/>
        </p:nvSpPr>
        <p:spPr>
          <a:xfrm>
            <a:off x="1484938" y="1481386"/>
            <a:ext cx="2376444" cy="627700"/>
          </a:xfrm>
          <a:prstGeom prst="rect">
            <a:avLst/>
          </a:prstGeom>
          <a:noFill/>
        </p:spPr>
        <p:txBody>
          <a:bodyPr wrap="square" lIns="91416" tIns="91416" rIns="91416" bIns="91416" rtlCol="0">
            <a:spAutoFit/>
          </a:bodyPr>
          <a:lstStyle/>
          <a:p>
            <a:pPr algn="ctr">
              <a:lnSpc>
                <a:spcPct val="90000"/>
              </a:lnSpc>
              <a:spcBef>
                <a:spcPct val="20000"/>
              </a:spcBef>
              <a:buSzPct val="90000"/>
            </a:pPr>
            <a:r>
              <a:rPr lang="en-US" sz="3199" dirty="0" err="1">
                <a:solidFill>
                  <a:srgbClr val="FFFFFF">
                    <a:alpha val="99000"/>
                  </a:srgbClr>
                </a:solidFill>
              </a:rPr>
              <a:t>OnPremNet</a:t>
            </a:r>
            <a:endParaRPr lang="en-US" sz="3199" dirty="0">
              <a:solidFill>
                <a:srgbClr val="FFFFFF">
                  <a:alpha val="99000"/>
                </a:srgbClr>
              </a:solidFill>
            </a:endParaRPr>
          </a:p>
        </p:txBody>
      </p:sp>
      <p:sp>
        <p:nvSpPr>
          <p:cNvPr id="83" name="Freeform 128"/>
          <p:cNvSpPr>
            <a:spLocks noChangeAspect="1"/>
          </p:cNvSpPr>
          <p:nvPr/>
        </p:nvSpPr>
        <p:spPr bwMode="black">
          <a:xfrm>
            <a:off x="5392533" y="3696245"/>
            <a:ext cx="3324630" cy="18365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a:noFill/>
          </a:ln>
          <a:effectLst/>
          <a:extLst/>
        </p:spPr>
        <p:txBody>
          <a:bodyPr vert="horz" wrap="square" lIns="91404" tIns="45703" rIns="91404" bIns="45703" numCol="1" anchor="t" anchorCtr="0" compatLnSpc="1">
            <a:prstTxWarp prst="textNoShape">
              <a:avLst/>
            </a:prstTxWarp>
          </a:bodyPr>
          <a:lstStyle/>
          <a:p>
            <a:pPr defTabSz="1218369"/>
            <a:endParaRPr lang="en-US" sz="2399">
              <a:solidFill>
                <a:srgbClr val="FFFFFF"/>
              </a:solidFill>
            </a:endParaRPr>
          </a:p>
        </p:txBody>
      </p:sp>
      <p:sp>
        <p:nvSpPr>
          <p:cNvPr id="11" name="Rectangle 10"/>
          <p:cNvSpPr/>
          <p:nvPr/>
        </p:nvSpPr>
        <p:spPr>
          <a:xfrm>
            <a:off x="4034769" y="4401081"/>
            <a:ext cx="6096000" cy="590931"/>
          </a:xfrm>
          <a:prstGeom prst="rect">
            <a:avLst/>
          </a:prstGeom>
        </p:spPr>
        <p:txBody>
          <a:bodyPr>
            <a:spAutoFit/>
          </a:bodyPr>
          <a:lstStyle/>
          <a:p>
            <a:pPr algn="ctr" defTabSz="913674">
              <a:lnSpc>
                <a:spcPct val="90000"/>
              </a:lnSpc>
            </a:pPr>
            <a:r>
              <a:rPr lang="en-US" b="1" dirty="0">
                <a:gradFill>
                  <a:gsLst>
                    <a:gs pos="0">
                      <a:srgbClr val="FFFFFF"/>
                    </a:gs>
                    <a:gs pos="100000">
                      <a:srgbClr val="FFFFFF"/>
                    </a:gs>
                  </a:gsLst>
                  <a:lin ang="5400000" scaled="0"/>
                </a:gradFill>
              </a:rPr>
              <a:t>Site-to-Site </a:t>
            </a:r>
            <a:br>
              <a:rPr lang="en-US" b="1" dirty="0">
                <a:gradFill>
                  <a:gsLst>
                    <a:gs pos="0">
                      <a:srgbClr val="FFFFFF"/>
                    </a:gs>
                    <a:gs pos="100000">
                      <a:srgbClr val="FFFFFF"/>
                    </a:gs>
                  </a:gsLst>
                  <a:lin ang="5400000" scaled="0"/>
                </a:gradFill>
              </a:rPr>
            </a:br>
            <a:r>
              <a:rPr lang="en-US" b="1" dirty="0" smtClean="0">
                <a:gradFill>
                  <a:gsLst>
                    <a:gs pos="0">
                      <a:srgbClr val="FFFFFF"/>
                    </a:gs>
                    <a:gs pos="100000">
                      <a:srgbClr val="FFFFFF"/>
                    </a:gs>
                  </a:gsLst>
                  <a:lin ang="5400000" scaled="0"/>
                </a:gradFill>
              </a:rPr>
              <a:t>Express Route tunnel</a:t>
            </a:r>
            <a:endParaRPr lang="en-US" b="1" dirty="0">
              <a:gradFill>
                <a:gsLst>
                  <a:gs pos="0">
                    <a:srgbClr val="FFFFFF"/>
                  </a:gs>
                  <a:gs pos="100000">
                    <a:srgbClr val="FFFFFF"/>
                  </a:gs>
                </a:gsLst>
                <a:lin ang="5400000" scaled="0"/>
              </a:gradFill>
            </a:endParaRPr>
          </a:p>
        </p:txBody>
      </p:sp>
      <p:cxnSp>
        <p:nvCxnSpPr>
          <p:cNvPr id="84" name="Straight Arrow Connector 83"/>
          <p:cNvCxnSpPr/>
          <p:nvPr/>
        </p:nvCxnSpPr>
        <p:spPr>
          <a:xfrm flipH="1">
            <a:off x="4829381" y="4951133"/>
            <a:ext cx="4541513" cy="71823"/>
          </a:xfrm>
          <a:prstGeom prst="straightConnector1">
            <a:avLst/>
          </a:prstGeom>
          <a:ln w="57150">
            <a:solidFill>
              <a:schemeClr val="accent1"/>
            </a:solidFill>
            <a:headEnd type="triangle" w="med" len="sm"/>
            <a:tailEnd type="triangle" w="med" len="sm"/>
          </a:ln>
          <a:effectLst/>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H="1" flipV="1">
            <a:off x="8279365" y="3257614"/>
            <a:ext cx="993371" cy="414795"/>
          </a:xfrm>
          <a:prstGeom prst="straightConnector1">
            <a:avLst/>
          </a:prstGeom>
          <a:ln w="57150">
            <a:solidFill>
              <a:schemeClr val="accent1"/>
            </a:solidFill>
            <a:headEnd type="triangle" w="med" len="sm"/>
            <a:tailEnd type="triangle" w="med" len="sm"/>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643749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647969" y="2505208"/>
            <a:ext cx="6272450" cy="832764"/>
          </a:xfrm>
        </p:spPr>
        <p:txBody>
          <a:bodyPr/>
          <a:lstStyle/>
          <a:p>
            <a:r>
              <a:rPr lang="en-US" sz="4705" dirty="0"/>
              <a:t>What is Identity?</a:t>
            </a:r>
          </a:p>
        </p:txBody>
      </p:sp>
    </p:spTree>
    <p:extLst>
      <p:ext uri="{BB962C8B-B14F-4D97-AF65-F5344CB8AC3E}">
        <p14:creationId xmlns:p14="http://schemas.microsoft.com/office/powerpoint/2010/main" val="1698049536"/>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Freeform 5"/>
          <p:cNvSpPr>
            <a:spLocks noEditPoints="1"/>
          </p:cNvSpPr>
          <p:nvPr/>
        </p:nvSpPr>
        <p:spPr bwMode="auto">
          <a:xfrm>
            <a:off x="5938917" y="2857367"/>
            <a:ext cx="731040" cy="1127109"/>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bg1">
              <a:lumMod val="95000"/>
            </a:schemeClr>
          </a:solidFill>
          <a:ln>
            <a:noFill/>
          </a:ln>
        </p:spPr>
        <p:txBody>
          <a:bodyPr vert="horz" wrap="square" lIns="89606" tIns="44804" rIns="89606" bIns="44804" numCol="1" anchor="t" anchorCtr="0" compatLnSpc="1">
            <a:prstTxWarp prst="textNoShape">
              <a:avLst/>
            </a:prstTxWarp>
          </a:bodyPr>
          <a:lstStyle/>
          <a:p>
            <a:pPr defTabSz="914188"/>
            <a:endParaRPr lang="en-GB" sz="1764">
              <a:solidFill>
                <a:srgbClr val="505050"/>
              </a:solidFill>
            </a:endParaRPr>
          </a:p>
        </p:txBody>
      </p:sp>
      <p:sp>
        <p:nvSpPr>
          <p:cNvPr id="2" name="Title 1"/>
          <p:cNvSpPr>
            <a:spLocks noGrp="1"/>
          </p:cNvSpPr>
          <p:nvPr>
            <p:ph type="title"/>
          </p:nvPr>
        </p:nvSpPr>
        <p:spPr/>
        <p:txBody>
          <a:bodyPr vert="horz" wrap="square" lIns="143371" tIns="89606" rIns="143371" bIns="89606" rtlCol="0" anchor="t">
            <a:noAutofit/>
          </a:bodyPr>
          <a:lstStyle/>
          <a:p>
            <a:r>
              <a:rPr lang="en-US" sz="3919" dirty="0">
                <a:solidFill>
                  <a:srgbClr val="06796F"/>
                </a:solidFill>
              </a:rPr>
              <a:t>Corporate Identity Comes from Many Sources</a:t>
            </a:r>
          </a:p>
        </p:txBody>
      </p:sp>
      <p:sp>
        <p:nvSpPr>
          <p:cNvPr id="103" name="Rectangle 3"/>
          <p:cNvSpPr>
            <a:spLocks noChangeArrowheads="1"/>
          </p:cNvSpPr>
          <p:nvPr/>
        </p:nvSpPr>
        <p:spPr bwMode="auto">
          <a:xfrm>
            <a:off x="792684" y="1602733"/>
            <a:ext cx="1156101" cy="529353"/>
          </a:xfrm>
          <a:prstGeom prst="rect">
            <a:avLst/>
          </a:prstGeom>
          <a:noFill/>
          <a:ln w="15875">
            <a:noFill/>
          </a:ln>
          <a:effectLst>
            <a:outerShdw blurRad="292100" dist="63500" dir="5760000" sx="105000" sy="105000" algn="tl" rotWithShape="0">
              <a:prstClr val="black">
                <a:alpha val="41000"/>
              </a:prstClr>
            </a:outerShdw>
          </a:effectLst>
        </p:spPr>
        <p:style>
          <a:lnRef idx="2">
            <a:schemeClr val="accent3">
              <a:shade val="50000"/>
            </a:schemeClr>
          </a:lnRef>
          <a:fillRef idx="1">
            <a:schemeClr val="accent3"/>
          </a:fillRef>
          <a:effectRef idx="0">
            <a:schemeClr val="accent3"/>
          </a:effectRef>
          <a:fontRef idx="minor">
            <a:schemeClr val="lt1"/>
          </a:fontRef>
        </p:style>
        <p:txBody>
          <a:bodyPr wrap="square" lIns="182804" tIns="91403" rIns="365611" bIns="45702" rtlCol="0">
            <a:noAutofit/>
          </a:bodyPr>
          <a:lstStyle/>
          <a:p>
            <a:pPr defTabSz="914004">
              <a:lnSpc>
                <a:spcPct val="85000"/>
              </a:lnSpc>
              <a:spcBef>
                <a:spcPct val="0"/>
              </a:spcBef>
              <a:defRPr/>
            </a:pPr>
            <a:r>
              <a:rPr lang="en-US" sz="1200" b="1" dirty="0">
                <a:solidFill>
                  <a:srgbClr val="DC3C00">
                    <a:lumMod val="75000"/>
                  </a:srgbClr>
                </a:solidFill>
                <a:cs typeface="Segoe UI" pitchFamily="34" charset="0"/>
              </a:rPr>
              <a:t>HR System</a:t>
            </a:r>
          </a:p>
        </p:txBody>
      </p:sp>
      <p:sp>
        <p:nvSpPr>
          <p:cNvPr id="105" name="Rectangle 5"/>
          <p:cNvSpPr>
            <a:spLocks noChangeArrowheads="1"/>
          </p:cNvSpPr>
          <p:nvPr/>
        </p:nvSpPr>
        <p:spPr bwMode="auto">
          <a:xfrm>
            <a:off x="792683" y="5149804"/>
            <a:ext cx="1056864" cy="325452"/>
          </a:xfrm>
          <a:prstGeom prst="rect">
            <a:avLst/>
          </a:prstGeom>
          <a:noFill/>
          <a:ln w="15875">
            <a:noFill/>
          </a:ln>
          <a:effectLst>
            <a:outerShdw blurRad="292100" dist="63500" dir="5760000" sx="105000" sy="105000" algn="tl" rotWithShape="0">
              <a:prstClr val="black">
                <a:alpha val="41000"/>
              </a:prstClr>
            </a:outerShdw>
          </a:effectLst>
        </p:spPr>
        <p:style>
          <a:lnRef idx="2">
            <a:schemeClr val="accent3">
              <a:shade val="50000"/>
            </a:schemeClr>
          </a:lnRef>
          <a:fillRef idx="1">
            <a:schemeClr val="accent3"/>
          </a:fillRef>
          <a:effectRef idx="0">
            <a:schemeClr val="accent3"/>
          </a:effectRef>
          <a:fontRef idx="minor">
            <a:schemeClr val="lt1"/>
          </a:fontRef>
        </p:style>
        <p:txBody>
          <a:bodyPr wrap="square" lIns="182804" tIns="91403" rIns="365611" bIns="45702" rtlCol="0">
            <a:noAutofit/>
          </a:bodyPr>
          <a:lstStyle/>
          <a:p>
            <a:pPr defTabSz="914004">
              <a:lnSpc>
                <a:spcPct val="85000"/>
              </a:lnSpc>
              <a:spcBef>
                <a:spcPct val="0"/>
              </a:spcBef>
              <a:defRPr/>
            </a:pPr>
            <a:r>
              <a:rPr lang="en-US" sz="1200" b="1" dirty="0">
                <a:solidFill>
                  <a:srgbClr val="DC3C00"/>
                </a:solidFill>
                <a:cs typeface="Segoe UI" pitchFamily="34" charset="0"/>
              </a:rPr>
              <a:t>LDAP</a:t>
            </a:r>
          </a:p>
        </p:txBody>
      </p:sp>
      <p:sp>
        <p:nvSpPr>
          <p:cNvPr id="106" name="Rectangle 6"/>
          <p:cNvSpPr>
            <a:spLocks noChangeArrowheads="1"/>
          </p:cNvSpPr>
          <p:nvPr/>
        </p:nvSpPr>
        <p:spPr bwMode="auto">
          <a:xfrm>
            <a:off x="792684" y="3981251"/>
            <a:ext cx="1288026" cy="304897"/>
          </a:xfrm>
          <a:prstGeom prst="rect">
            <a:avLst/>
          </a:prstGeom>
          <a:noFill/>
          <a:ln w="15875">
            <a:noFill/>
          </a:ln>
          <a:effectLst>
            <a:outerShdw blurRad="292100" dist="63500" dir="5760000" sx="105000" sy="105000" algn="tl" rotWithShape="0">
              <a:prstClr val="black">
                <a:alpha val="41000"/>
              </a:prstClr>
            </a:outerShdw>
          </a:effectLst>
        </p:spPr>
        <p:style>
          <a:lnRef idx="2">
            <a:schemeClr val="accent3">
              <a:shade val="50000"/>
            </a:schemeClr>
          </a:lnRef>
          <a:fillRef idx="1">
            <a:schemeClr val="accent3"/>
          </a:fillRef>
          <a:effectRef idx="0">
            <a:schemeClr val="accent3"/>
          </a:effectRef>
          <a:fontRef idx="minor">
            <a:schemeClr val="lt1"/>
          </a:fontRef>
        </p:style>
        <p:txBody>
          <a:bodyPr wrap="square" lIns="182804" tIns="91403" rIns="365611" bIns="45702" rtlCol="0">
            <a:noAutofit/>
          </a:bodyPr>
          <a:lstStyle/>
          <a:p>
            <a:pPr defTabSz="914004">
              <a:lnSpc>
                <a:spcPct val="85000"/>
              </a:lnSpc>
              <a:spcBef>
                <a:spcPct val="0"/>
              </a:spcBef>
              <a:defRPr/>
            </a:pPr>
            <a:r>
              <a:rPr lang="en-US" sz="1200" b="1" dirty="0">
                <a:solidFill>
                  <a:srgbClr val="008272">
                    <a:lumMod val="75000"/>
                  </a:srgbClr>
                </a:solidFill>
                <a:cs typeface="Segoe UI" pitchFamily="34" charset="0"/>
              </a:rPr>
              <a:t>Exchange</a:t>
            </a:r>
          </a:p>
        </p:txBody>
      </p:sp>
      <p:sp>
        <p:nvSpPr>
          <p:cNvPr id="107" name="Rectangle 7"/>
          <p:cNvSpPr>
            <a:spLocks noChangeArrowheads="1"/>
          </p:cNvSpPr>
          <p:nvPr/>
        </p:nvSpPr>
        <p:spPr bwMode="auto">
          <a:xfrm>
            <a:off x="792684" y="2777901"/>
            <a:ext cx="1278114" cy="355199"/>
          </a:xfrm>
          <a:prstGeom prst="rect">
            <a:avLst/>
          </a:prstGeom>
          <a:noFill/>
          <a:ln w="15875">
            <a:noFill/>
          </a:ln>
          <a:effectLst/>
        </p:spPr>
        <p:style>
          <a:lnRef idx="2">
            <a:schemeClr val="accent3">
              <a:shade val="50000"/>
            </a:schemeClr>
          </a:lnRef>
          <a:fillRef idx="1">
            <a:schemeClr val="accent3"/>
          </a:fillRef>
          <a:effectRef idx="0">
            <a:schemeClr val="accent3"/>
          </a:effectRef>
          <a:fontRef idx="minor">
            <a:schemeClr val="lt1"/>
          </a:fontRef>
        </p:style>
        <p:txBody>
          <a:bodyPr wrap="square" lIns="182804" tIns="91403" rIns="365611" bIns="45702" rtlCol="0">
            <a:noAutofit/>
          </a:bodyPr>
          <a:lstStyle/>
          <a:p>
            <a:pPr defTabSz="914004">
              <a:lnSpc>
                <a:spcPct val="85000"/>
              </a:lnSpc>
              <a:spcBef>
                <a:spcPct val="0"/>
              </a:spcBef>
              <a:defRPr/>
            </a:pPr>
            <a:r>
              <a:rPr lang="en-US" sz="1200" b="1" dirty="0">
                <a:solidFill>
                  <a:srgbClr val="68217A"/>
                </a:solidFill>
                <a:cs typeface="Segoe UI" pitchFamily="34" charset="0"/>
              </a:rPr>
              <a:t>Database</a:t>
            </a:r>
          </a:p>
        </p:txBody>
      </p:sp>
      <p:grpSp>
        <p:nvGrpSpPr>
          <p:cNvPr id="12" name="Group 11"/>
          <p:cNvGrpSpPr/>
          <p:nvPr/>
        </p:nvGrpSpPr>
        <p:grpSpPr>
          <a:xfrm>
            <a:off x="1852013" y="2879882"/>
            <a:ext cx="2082635" cy="156314"/>
            <a:chOff x="1887407" y="2832839"/>
            <a:chExt cx="2125251" cy="159512"/>
          </a:xfrm>
        </p:grpSpPr>
        <p:sp>
          <p:nvSpPr>
            <p:cNvPr id="130" name="Rectangle 39"/>
            <p:cNvSpPr>
              <a:spLocks noChangeArrowheads="1"/>
            </p:cNvSpPr>
            <p:nvPr/>
          </p:nvSpPr>
          <p:spPr bwMode="auto">
            <a:xfrm>
              <a:off x="1887407" y="2832839"/>
              <a:ext cx="699635" cy="155434"/>
            </a:xfrm>
            <a:prstGeom prst="rect">
              <a:avLst/>
            </a:prstGeom>
            <a:solidFill>
              <a:srgbClr val="FFFFFF"/>
            </a:solidFill>
            <a:ln w="6350">
              <a:solidFill>
                <a:schemeClr val="bg1"/>
              </a:solidFill>
              <a:miter lim="800000"/>
              <a:headEnd/>
              <a:tailEnd/>
            </a:ln>
          </p:spPr>
          <p:txBody>
            <a:bodyPr wrap="none" lIns="0" tIns="0" rIns="0" bIns="0" anchor="ctr"/>
            <a:lstStyle/>
            <a:p>
              <a:pPr defTabSz="914004">
                <a:spcBef>
                  <a:spcPct val="0"/>
                </a:spcBef>
              </a:pPr>
              <a:r>
                <a:rPr lang="en-US" sz="933" dirty="0">
                  <a:solidFill>
                    <a:srgbClr val="68217A"/>
                  </a:solidFill>
                </a:rPr>
                <a:t>title</a:t>
              </a:r>
            </a:p>
          </p:txBody>
        </p:sp>
        <p:sp>
          <p:nvSpPr>
            <p:cNvPr id="172" name="Rectangle 81"/>
            <p:cNvSpPr>
              <a:spLocks noChangeArrowheads="1"/>
            </p:cNvSpPr>
            <p:nvPr/>
          </p:nvSpPr>
          <p:spPr bwMode="auto">
            <a:xfrm>
              <a:off x="2771972" y="2836917"/>
              <a:ext cx="1240686" cy="155434"/>
            </a:xfrm>
            <a:prstGeom prst="rect">
              <a:avLst/>
            </a:prstGeom>
            <a:solidFill>
              <a:srgbClr val="FFFFFF"/>
            </a:solidFill>
            <a:ln w="6350">
              <a:solidFill>
                <a:schemeClr val="bg1"/>
              </a:solidFill>
              <a:miter lim="800000"/>
              <a:headEnd/>
              <a:tailEnd/>
            </a:ln>
          </p:spPr>
          <p:txBody>
            <a:bodyPr wrap="none" lIns="0" tIns="0" rIns="0" bIns="0" anchor="ctr"/>
            <a:lstStyle/>
            <a:p>
              <a:pPr defTabSz="914004">
                <a:spcBef>
                  <a:spcPct val="0"/>
                </a:spcBef>
              </a:pPr>
              <a:r>
                <a:rPr lang="en-US" sz="933" dirty="0">
                  <a:solidFill>
                    <a:srgbClr val="68217A"/>
                  </a:solidFill>
                </a:rPr>
                <a:t>Coordinator</a:t>
              </a:r>
            </a:p>
          </p:txBody>
        </p:sp>
      </p:grpSp>
      <p:grpSp>
        <p:nvGrpSpPr>
          <p:cNvPr id="11" name="Group 10"/>
          <p:cNvGrpSpPr/>
          <p:nvPr/>
        </p:nvGrpSpPr>
        <p:grpSpPr>
          <a:xfrm>
            <a:off x="1852013" y="1602734"/>
            <a:ext cx="2082635" cy="491754"/>
            <a:chOff x="1887407" y="1602802"/>
            <a:chExt cx="2125251" cy="501817"/>
          </a:xfrm>
        </p:grpSpPr>
        <p:sp>
          <p:nvSpPr>
            <p:cNvPr id="119" name="Rectangle 28"/>
            <p:cNvSpPr>
              <a:spLocks noChangeArrowheads="1"/>
            </p:cNvSpPr>
            <p:nvPr/>
          </p:nvSpPr>
          <p:spPr bwMode="auto">
            <a:xfrm>
              <a:off x="1887407" y="1603080"/>
              <a:ext cx="1085014" cy="148485"/>
            </a:xfrm>
            <a:prstGeom prst="rect">
              <a:avLst/>
            </a:prstGeom>
            <a:solidFill>
              <a:schemeClr val="bg1"/>
            </a:solidFill>
            <a:ln w="6350">
              <a:noFill/>
              <a:miter lim="800000"/>
              <a:headEnd/>
              <a:tailEnd/>
            </a:ln>
          </p:spPr>
          <p:txBody>
            <a:bodyPr wrap="none" lIns="0" tIns="0" rIns="0" bIns="0" anchor="ctr"/>
            <a:lstStyle/>
            <a:p>
              <a:pPr defTabSz="914004">
                <a:spcBef>
                  <a:spcPct val="0"/>
                </a:spcBef>
              </a:pPr>
              <a:r>
                <a:rPr lang="en-US" sz="933" dirty="0">
                  <a:solidFill>
                    <a:srgbClr val="DC3C00">
                      <a:lumMod val="75000"/>
                    </a:srgbClr>
                  </a:solidFill>
                </a:rPr>
                <a:t>givenName</a:t>
              </a:r>
            </a:p>
          </p:txBody>
        </p:sp>
        <p:sp>
          <p:nvSpPr>
            <p:cNvPr id="120" name="Rectangle 29"/>
            <p:cNvSpPr>
              <a:spLocks noChangeArrowheads="1"/>
            </p:cNvSpPr>
            <p:nvPr/>
          </p:nvSpPr>
          <p:spPr bwMode="auto">
            <a:xfrm>
              <a:off x="1887407" y="1758514"/>
              <a:ext cx="1085014" cy="148485"/>
            </a:xfrm>
            <a:prstGeom prst="rect">
              <a:avLst/>
            </a:prstGeom>
            <a:solidFill>
              <a:schemeClr val="bg1"/>
            </a:solidFill>
            <a:ln w="6350">
              <a:noFill/>
              <a:miter lim="800000"/>
              <a:headEnd/>
              <a:tailEnd/>
            </a:ln>
          </p:spPr>
          <p:txBody>
            <a:bodyPr wrap="none" lIns="0" tIns="0" rIns="0" bIns="0" anchor="ctr"/>
            <a:lstStyle/>
            <a:p>
              <a:pPr defTabSz="914004">
                <a:spcBef>
                  <a:spcPct val="0"/>
                </a:spcBef>
              </a:pPr>
              <a:r>
                <a:rPr lang="en-US" sz="933" dirty="0">
                  <a:solidFill>
                    <a:srgbClr val="DC3C00">
                      <a:lumMod val="75000"/>
                    </a:srgbClr>
                  </a:solidFill>
                </a:rPr>
                <a:t>surname</a:t>
              </a:r>
            </a:p>
          </p:txBody>
        </p:sp>
        <p:sp>
          <p:nvSpPr>
            <p:cNvPr id="123" name="Rectangle 32"/>
            <p:cNvSpPr>
              <a:spLocks noChangeArrowheads="1"/>
            </p:cNvSpPr>
            <p:nvPr/>
          </p:nvSpPr>
          <p:spPr bwMode="auto">
            <a:xfrm>
              <a:off x="1887407" y="1949185"/>
              <a:ext cx="1085014" cy="148485"/>
            </a:xfrm>
            <a:prstGeom prst="rect">
              <a:avLst/>
            </a:prstGeom>
            <a:solidFill>
              <a:schemeClr val="bg1"/>
            </a:solidFill>
            <a:ln w="6350">
              <a:noFill/>
              <a:miter lim="800000"/>
              <a:headEnd/>
              <a:tailEnd/>
            </a:ln>
          </p:spPr>
          <p:txBody>
            <a:bodyPr wrap="none" lIns="0" tIns="0" rIns="0" bIns="0" anchor="ctr"/>
            <a:lstStyle/>
            <a:p>
              <a:pPr defTabSz="914004">
                <a:spcBef>
                  <a:spcPct val="0"/>
                </a:spcBef>
              </a:pPr>
              <a:r>
                <a:rPr lang="en-US" sz="933" dirty="0">
                  <a:solidFill>
                    <a:srgbClr val="DC3C00">
                      <a:lumMod val="75000"/>
                    </a:srgbClr>
                  </a:solidFill>
                </a:rPr>
                <a:t>employeeID</a:t>
              </a:r>
            </a:p>
          </p:txBody>
        </p:sp>
        <p:sp>
          <p:nvSpPr>
            <p:cNvPr id="170" name="Rectangle 79"/>
            <p:cNvSpPr>
              <a:spLocks noChangeArrowheads="1"/>
            </p:cNvSpPr>
            <p:nvPr/>
          </p:nvSpPr>
          <p:spPr bwMode="auto">
            <a:xfrm>
              <a:off x="2771972" y="1602802"/>
              <a:ext cx="1240686" cy="155434"/>
            </a:xfrm>
            <a:prstGeom prst="rect">
              <a:avLst/>
            </a:prstGeom>
            <a:solidFill>
              <a:schemeClr val="bg1"/>
            </a:solidFill>
            <a:ln w="6350">
              <a:noFill/>
              <a:miter lim="800000"/>
              <a:headEnd/>
              <a:tailEnd/>
            </a:ln>
          </p:spPr>
          <p:txBody>
            <a:bodyPr wrap="none" lIns="0" tIns="0" rIns="0" bIns="0" anchor="ctr"/>
            <a:lstStyle/>
            <a:p>
              <a:pPr defTabSz="914004">
                <a:spcBef>
                  <a:spcPct val="0"/>
                </a:spcBef>
              </a:pPr>
              <a:r>
                <a:rPr lang="en-US" sz="933" dirty="0">
                  <a:solidFill>
                    <a:srgbClr val="DC3C00">
                      <a:lumMod val="75000"/>
                    </a:srgbClr>
                  </a:solidFill>
                </a:rPr>
                <a:t>Samantha</a:t>
              </a:r>
            </a:p>
          </p:txBody>
        </p:sp>
        <p:sp>
          <p:nvSpPr>
            <p:cNvPr id="171" name="Rectangle 80"/>
            <p:cNvSpPr>
              <a:spLocks noChangeArrowheads="1"/>
            </p:cNvSpPr>
            <p:nvPr/>
          </p:nvSpPr>
          <p:spPr bwMode="auto">
            <a:xfrm>
              <a:off x="2771972" y="1760653"/>
              <a:ext cx="1240686" cy="155434"/>
            </a:xfrm>
            <a:prstGeom prst="rect">
              <a:avLst/>
            </a:prstGeom>
            <a:solidFill>
              <a:schemeClr val="bg1"/>
            </a:solidFill>
            <a:ln w="6350">
              <a:noFill/>
              <a:miter lim="800000"/>
              <a:headEnd/>
              <a:tailEnd/>
            </a:ln>
          </p:spPr>
          <p:txBody>
            <a:bodyPr wrap="none" lIns="0" tIns="0" rIns="0" bIns="0" anchor="ctr"/>
            <a:lstStyle/>
            <a:p>
              <a:pPr defTabSz="914004">
                <a:spcBef>
                  <a:spcPct val="0"/>
                </a:spcBef>
              </a:pPr>
              <a:r>
                <a:rPr lang="en-US" sz="933" dirty="0">
                  <a:solidFill>
                    <a:srgbClr val="DC3C00">
                      <a:lumMod val="75000"/>
                    </a:srgbClr>
                  </a:solidFill>
                </a:rPr>
                <a:t>Dearing</a:t>
              </a:r>
            </a:p>
          </p:txBody>
        </p:sp>
        <p:sp>
          <p:nvSpPr>
            <p:cNvPr id="173" name="Rectangle 83"/>
            <p:cNvSpPr>
              <a:spLocks noChangeArrowheads="1"/>
            </p:cNvSpPr>
            <p:nvPr/>
          </p:nvSpPr>
          <p:spPr bwMode="auto">
            <a:xfrm>
              <a:off x="2771972" y="1949185"/>
              <a:ext cx="1240686" cy="155434"/>
            </a:xfrm>
            <a:prstGeom prst="rect">
              <a:avLst/>
            </a:prstGeom>
            <a:solidFill>
              <a:schemeClr val="bg1"/>
            </a:solidFill>
            <a:ln w="6350">
              <a:noFill/>
              <a:miter lim="800000"/>
              <a:headEnd/>
              <a:tailEnd/>
            </a:ln>
          </p:spPr>
          <p:txBody>
            <a:bodyPr wrap="none" lIns="0" tIns="0" rIns="0" bIns="0" anchor="ctr"/>
            <a:lstStyle/>
            <a:p>
              <a:pPr defTabSz="914004">
                <a:spcBef>
                  <a:spcPct val="0"/>
                </a:spcBef>
              </a:pPr>
              <a:r>
                <a:rPr lang="en-US" sz="933" dirty="0">
                  <a:solidFill>
                    <a:srgbClr val="DC3C00">
                      <a:lumMod val="75000"/>
                    </a:srgbClr>
                  </a:solidFill>
                </a:rPr>
                <a:t>007</a:t>
              </a:r>
            </a:p>
          </p:txBody>
        </p:sp>
      </p:grpSp>
      <p:grpSp>
        <p:nvGrpSpPr>
          <p:cNvPr id="13" name="Group 12"/>
          <p:cNvGrpSpPr/>
          <p:nvPr/>
        </p:nvGrpSpPr>
        <p:grpSpPr>
          <a:xfrm>
            <a:off x="1852013" y="4059386"/>
            <a:ext cx="2082635" cy="152318"/>
            <a:chOff x="1887407" y="4325480"/>
            <a:chExt cx="2125251" cy="155434"/>
          </a:xfrm>
        </p:grpSpPr>
        <p:sp>
          <p:nvSpPr>
            <p:cNvPr id="212" name="Rectangle 40"/>
            <p:cNvSpPr>
              <a:spLocks noChangeArrowheads="1"/>
            </p:cNvSpPr>
            <p:nvPr/>
          </p:nvSpPr>
          <p:spPr bwMode="auto">
            <a:xfrm>
              <a:off x="1887407" y="4325480"/>
              <a:ext cx="699635" cy="155434"/>
            </a:xfrm>
            <a:prstGeom prst="rect">
              <a:avLst/>
            </a:prstGeom>
            <a:solidFill>
              <a:srgbClr val="FFFFFF"/>
            </a:solidFill>
            <a:ln w="6350">
              <a:solidFill>
                <a:schemeClr val="bg1"/>
              </a:solidFill>
              <a:miter lim="800000"/>
              <a:headEnd/>
              <a:tailEnd/>
            </a:ln>
          </p:spPr>
          <p:txBody>
            <a:bodyPr wrap="none" lIns="0" tIns="0" rIns="0" bIns="0" anchor="ctr"/>
            <a:lstStyle/>
            <a:p>
              <a:pPr defTabSz="914004">
                <a:spcBef>
                  <a:spcPct val="0"/>
                </a:spcBef>
              </a:pPr>
              <a:r>
                <a:rPr lang="en-US" sz="933" dirty="0">
                  <a:solidFill>
                    <a:srgbClr val="008272">
                      <a:lumMod val="75000"/>
                    </a:srgbClr>
                  </a:solidFill>
                </a:rPr>
                <a:t>e-mail</a:t>
              </a:r>
            </a:p>
          </p:txBody>
        </p:sp>
        <p:sp>
          <p:nvSpPr>
            <p:cNvPr id="217" name="Rectangle 45"/>
            <p:cNvSpPr>
              <a:spLocks noChangeArrowheads="1"/>
            </p:cNvSpPr>
            <p:nvPr/>
          </p:nvSpPr>
          <p:spPr bwMode="auto">
            <a:xfrm>
              <a:off x="2771972" y="4325480"/>
              <a:ext cx="1240686" cy="155434"/>
            </a:xfrm>
            <a:prstGeom prst="rect">
              <a:avLst/>
            </a:prstGeom>
            <a:solidFill>
              <a:srgbClr val="FFFFFF"/>
            </a:solidFill>
            <a:ln w="6350">
              <a:solidFill>
                <a:schemeClr val="bg1"/>
              </a:solidFill>
              <a:miter lim="800000"/>
              <a:headEnd/>
              <a:tailEnd/>
            </a:ln>
          </p:spPr>
          <p:txBody>
            <a:bodyPr wrap="none" lIns="0" tIns="0" rIns="0" bIns="0" anchor="ctr"/>
            <a:lstStyle/>
            <a:p>
              <a:pPr defTabSz="914004">
                <a:spcBef>
                  <a:spcPct val="0"/>
                </a:spcBef>
              </a:pPr>
              <a:r>
                <a:rPr lang="en-US" sz="933" dirty="0">
                  <a:solidFill>
                    <a:srgbClr val="008272">
                      <a:lumMod val="75000"/>
                    </a:srgbClr>
                  </a:solidFill>
                </a:rPr>
                <a:t>samd@contoso.com</a:t>
              </a:r>
            </a:p>
          </p:txBody>
        </p:sp>
      </p:grpSp>
      <p:grpSp>
        <p:nvGrpSpPr>
          <p:cNvPr id="14" name="Group 13"/>
          <p:cNvGrpSpPr/>
          <p:nvPr/>
        </p:nvGrpSpPr>
        <p:grpSpPr>
          <a:xfrm>
            <a:off x="1852013" y="5226676"/>
            <a:ext cx="2082635" cy="152318"/>
            <a:chOff x="1887407" y="5292132"/>
            <a:chExt cx="2125251" cy="155434"/>
          </a:xfrm>
        </p:grpSpPr>
        <p:sp>
          <p:nvSpPr>
            <p:cNvPr id="227" name="Rectangle 42"/>
            <p:cNvSpPr>
              <a:spLocks noChangeArrowheads="1"/>
            </p:cNvSpPr>
            <p:nvPr/>
          </p:nvSpPr>
          <p:spPr bwMode="auto">
            <a:xfrm>
              <a:off x="1887407" y="5292132"/>
              <a:ext cx="699635" cy="155434"/>
            </a:xfrm>
            <a:prstGeom prst="rect">
              <a:avLst/>
            </a:prstGeom>
            <a:solidFill>
              <a:srgbClr val="FFFFFF"/>
            </a:solidFill>
            <a:ln w="6350">
              <a:solidFill>
                <a:schemeClr val="bg1"/>
              </a:solidFill>
              <a:miter lim="800000"/>
              <a:headEnd/>
              <a:tailEnd/>
            </a:ln>
          </p:spPr>
          <p:txBody>
            <a:bodyPr wrap="none" lIns="0" tIns="0" rIns="0" bIns="0" anchor="ctr"/>
            <a:lstStyle/>
            <a:p>
              <a:pPr defTabSz="914004">
                <a:spcBef>
                  <a:spcPct val="0"/>
                </a:spcBef>
              </a:pPr>
              <a:r>
                <a:rPr lang="en-US" sz="933" dirty="0">
                  <a:solidFill>
                    <a:srgbClr val="DC3C00"/>
                  </a:solidFill>
                </a:rPr>
                <a:t>telephone</a:t>
              </a:r>
            </a:p>
          </p:txBody>
        </p:sp>
        <p:sp>
          <p:nvSpPr>
            <p:cNvPr id="232" name="Rectangle 47"/>
            <p:cNvSpPr>
              <a:spLocks noChangeArrowheads="1"/>
            </p:cNvSpPr>
            <p:nvPr/>
          </p:nvSpPr>
          <p:spPr bwMode="auto">
            <a:xfrm>
              <a:off x="2771972" y="5292132"/>
              <a:ext cx="1240686" cy="155434"/>
            </a:xfrm>
            <a:prstGeom prst="rect">
              <a:avLst/>
            </a:prstGeom>
            <a:solidFill>
              <a:srgbClr val="FFFFFF"/>
            </a:solidFill>
            <a:ln w="6350">
              <a:solidFill>
                <a:schemeClr val="bg1"/>
              </a:solidFill>
              <a:miter lim="800000"/>
              <a:headEnd/>
              <a:tailEnd/>
            </a:ln>
          </p:spPr>
          <p:txBody>
            <a:bodyPr wrap="none" lIns="0" tIns="0" rIns="0" bIns="0" anchor="ctr"/>
            <a:lstStyle/>
            <a:p>
              <a:pPr defTabSz="914004">
                <a:spcBef>
                  <a:spcPct val="0"/>
                </a:spcBef>
              </a:pPr>
              <a:r>
                <a:rPr lang="en-US" sz="933" dirty="0">
                  <a:solidFill>
                    <a:srgbClr val="DC3C00"/>
                  </a:solidFill>
                </a:rPr>
                <a:t>555-123-4567</a:t>
              </a:r>
            </a:p>
          </p:txBody>
        </p:sp>
      </p:grpSp>
      <p:cxnSp>
        <p:nvCxnSpPr>
          <p:cNvPr id="234" name="Straight Arrow Connector 233"/>
          <p:cNvCxnSpPr/>
          <p:nvPr/>
        </p:nvCxnSpPr>
        <p:spPr>
          <a:xfrm flipH="1" flipV="1">
            <a:off x="3905937" y="2127188"/>
            <a:ext cx="1316946" cy="875078"/>
          </a:xfrm>
          <a:prstGeom prst="straightConnector1">
            <a:avLst/>
          </a:prstGeom>
          <a:ln w="25400" cap="rnd" cmpd="sng">
            <a:solidFill>
              <a:srgbClr val="0070C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5" name="Straight Arrow Connector 234"/>
          <p:cNvCxnSpPr/>
          <p:nvPr/>
        </p:nvCxnSpPr>
        <p:spPr>
          <a:xfrm flipH="1" flipV="1">
            <a:off x="3929875" y="2993665"/>
            <a:ext cx="1339437" cy="302255"/>
          </a:xfrm>
          <a:prstGeom prst="straightConnector1">
            <a:avLst/>
          </a:prstGeom>
          <a:ln w="25400" cap="rnd" cmpd="sng">
            <a:solidFill>
              <a:srgbClr val="0070C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6" name="Straight Arrow Connector 235"/>
          <p:cNvCxnSpPr/>
          <p:nvPr/>
        </p:nvCxnSpPr>
        <p:spPr>
          <a:xfrm flipH="1">
            <a:off x="3905937" y="3497879"/>
            <a:ext cx="1363375" cy="652535"/>
          </a:xfrm>
          <a:prstGeom prst="straightConnector1">
            <a:avLst/>
          </a:prstGeom>
          <a:ln w="25400" cap="rnd" cmpd="sng">
            <a:solidFill>
              <a:srgbClr val="0070C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p:cNvCxnSpPr/>
          <p:nvPr/>
        </p:nvCxnSpPr>
        <p:spPr>
          <a:xfrm flipH="1">
            <a:off x="3929878" y="3791658"/>
            <a:ext cx="1339435" cy="1358147"/>
          </a:xfrm>
          <a:prstGeom prst="straightConnector1">
            <a:avLst/>
          </a:prstGeom>
          <a:ln w="25400" cap="rnd" cmpd="sng">
            <a:solidFill>
              <a:srgbClr val="0070C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0" name="Group 239"/>
          <p:cNvGrpSpPr/>
          <p:nvPr/>
        </p:nvGrpSpPr>
        <p:grpSpPr>
          <a:xfrm>
            <a:off x="9259160" y="2111273"/>
            <a:ext cx="1661161" cy="1084064"/>
            <a:chOff x="4180433" y="3009950"/>
            <a:chExt cx="1695153" cy="1106246"/>
          </a:xfrm>
        </p:grpSpPr>
        <p:grpSp>
          <p:nvGrpSpPr>
            <p:cNvPr id="241" name="Group 240"/>
            <p:cNvGrpSpPr/>
            <p:nvPr/>
          </p:nvGrpSpPr>
          <p:grpSpPr>
            <a:xfrm>
              <a:off x="4180433" y="3665675"/>
              <a:ext cx="1695153" cy="450521"/>
              <a:chOff x="3002667" y="5699193"/>
              <a:chExt cx="1695153" cy="450521"/>
            </a:xfrm>
          </p:grpSpPr>
          <p:sp>
            <p:nvSpPr>
              <p:cNvPr id="243" name="Rectangle 242"/>
              <p:cNvSpPr/>
              <p:nvPr/>
            </p:nvSpPr>
            <p:spPr>
              <a:xfrm>
                <a:off x="3351065" y="5965195"/>
                <a:ext cx="1156250" cy="184519"/>
              </a:xfrm>
              <a:prstGeom prst="rect">
                <a:avLst/>
              </a:prstGeom>
              <a:ln>
                <a:noFill/>
              </a:ln>
            </p:spPr>
            <p:txBody>
              <a:bodyPr wrap="square" lIns="0" tIns="0" rIns="0" bIns="0" anchor="ctr">
                <a:spAutoFit/>
              </a:bodyPr>
              <a:lstStyle/>
              <a:p>
                <a:pPr algn="ctr" defTabSz="1074661" fontAlgn="base">
                  <a:spcBef>
                    <a:spcPts val="1411"/>
                  </a:spcBef>
                  <a:spcAft>
                    <a:spcPct val="0"/>
                  </a:spcAft>
                </a:pPr>
                <a:r>
                  <a:rPr lang="en-US" sz="1175" dirty="0">
                    <a:ln>
                      <a:solidFill>
                        <a:srgbClr val="FFFFFF">
                          <a:alpha val="0"/>
                        </a:srgbClr>
                      </a:solidFill>
                    </a:ln>
                    <a:solidFill>
                      <a:srgbClr val="00188F"/>
                    </a:solidFill>
                  </a:rPr>
                  <a:t>Active Directory</a:t>
                </a:r>
              </a:p>
            </p:txBody>
          </p:sp>
          <p:pic>
            <p:nvPicPr>
              <p:cNvPr id="244" name="Picture 24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02667" y="5699193"/>
                <a:ext cx="1695153" cy="398452"/>
              </a:xfrm>
              <a:prstGeom prst="rect">
                <a:avLst/>
              </a:prstGeom>
            </p:spPr>
          </p:pic>
        </p:grpSp>
        <p:pic>
          <p:nvPicPr>
            <p:cNvPr id="242" name="Picture 24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525105" y="3009950"/>
              <a:ext cx="1044032" cy="690827"/>
            </a:xfrm>
            <a:prstGeom prst="rect">
              <a:avLst/>
            </a:prstGeom>
          </p:spPr>
        </p:pic>
      </p:grpSp>
      <p:grpSp>
        <p:nvGrpSpPr>
          <p:cNvPr id="6" name="Group 5"/>
          <p:cNvGrpSpPr/>
          <p:nvPr/>
        </p:nvGrpSpPr>
        <p:grpSpPr>
          <a:xfrm>
            <a:off x="324163" y="1544959"/>
            <a:ext cx="545512" cy="737144"/>
            <a:chOff x="304838" y="1574669"/>
            <a:chExt cx="556675" cy="752227"/>
          </a:xfrm>
        </p:grpSpPr>
        <p:sp>
          <p:nvSpPr>
            <p:cNvPr id="261" name="Freeform 59"/>
            <p:cNvSpPr>
              <a:spLocks noEditPoints="1"/>
            </p:cNvSpPr>
            <p:nvPr/>
          </p:nvSpPr>
          <p:spPr bwMode="auto">
            <a:xfrm>
              <a:off x="468905" y="1574669"/>
              <a:ext cx="392608" cy="752227"/>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5875" cap="flat">
              <a:solidFill>
                <a:srgbClr val="0070C0"/>
              </a:solidFill>
              <a:prstDash val="solid"/>
              <a:miter lim="800000"/>
              <a:headEnd/>
              <a:tailEnd/>
            </a:ln>
          </p:spPr>
          <p:txBody>
            <a:bodyPr vert="horz" wrap="square" lIns="89606" tIns="44804" rIns="89606" bIns="44804" numCol="1" anchor="t" anchorCtr="0" compatLnSpc="1">
              <a:prstTxWarp prst="textNoShape">
                <a:avLst/>
              </a:prstTxWarp>
            </a:bodyPr>
            <a:lstStyle/>
            <a:p>
              <a:pPr defTabSz="914004"/>
              <a:endParaRPr lang="en-GB" sz="1764">
                <a:solidFill>
                  <a:srgbClr val="505050"/>
                </a:solidFill>
              </a:endParaRPr>
            </a:p>
          </p:txBody>
        </p:sp>
        <p:sp>
          <p:nvSpPr>
            <p:cNvPr id="204" name="Freeform 5"/>
            <p:cNvSpPr>
              <a:spLocks noChangeAspect="1" noEditPoints="1"/>
            </p:cNvSpPr>
            <p:nvPr/>
          </p:nvSpPr>
          <p:spPr bwMode="auto">
            <a:xfrm>
              <a:off x="304838" y="1593176"/>
              <a:ext cx="317103" cy="476250"/>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GB" sz="1764">
                <a:solidFill>
                  <a:srgbClr val="505050"/>
                </a:solidFill>
              </a:endParaRPr>
            </a:p>
          </p:txBody>
        </p:sp>
      </p:grpSp>
      <p:grpSp>
        <p:nvGrpSpPr>
          <p:cNvPr id="5" name="Group 4"/>
          <p:cNvGrpSpPr/>
          <p:nvPr/>
        </p:nvGrpSpPr>
        <p:grpSpPr>
          <a:xfrm>
            <a:off x="357135" y="2730318"/>
            <a:ext cx="512540" cy="737144"/>
            <a:chOff x="201973" y="2767716"/>
            <a:chExt cx="523027" cy="752227"/>
          </a:xfrm>
        </p:grpSpPr>
        <p:sp>
          <p:nvSpPr>
            <p:cNvPr id="112" name="Freeform 59"/>
            <p:cNvSpPr>
              <a:spLocks noEditPoints="1"/>
            </p:cNvSpPr>
            <p:nvPr/>
          </p:nvSpPr>
          <p:spPr bwMode="auto">
            <a:xfrm>
              <a:off x="332392" y="2767716"/>
              <a:ext cx="392608" cy="752227"/>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5875" cap="flat">
              <a:solidFill>
                <a:srgbClr val="0070C0"/>
              </a:solidFill>
              <a:prstDash val="solid"/>
              <a:miter lim="800000"/>
              <a:headEnd/>
              <a:tailEnd/>
            </a:ln>
          </p:spPr>
          <p:txBody>
            <a:bodyPr vert="horz" wrap="square" lIns="89606" tIns="44804" rIns="89606" bIns="44804" numCol="1" anchor="t" anchorCtr="0" compatLnSpc="1">
              <a:prstTxWarp prst="textNoShape">
                <a:avLst/>
              </a:prstTxWarp>
            </a:bodyPr>
            <a:lstStyle/>
            <a:p>
              <a:pPr defTabSz="914004"/>
              <a:endParaRPr lang="en-GB" sz="1764">
                <a:solidFill>
                  <a:srgbClr val="505050"/>
                </a:solidFill>
              </a:endParaRPr>
            </a:p>
          </p:txBody>
        </p:sp>
        <p:sp>
          <p:nvSpPr>
            <p:cNvPr id="110" name="Freeform 5"/>
            <p:cNvSpPr>
              <a:spLocks noEditPoints="1"/>
            </p:cNvSpPr>
            <p:nvPr/>
          </p:nvSpPr>
          <p:spPr bwMode="auto">
            <a:xfrm>
              <a:off x="201973" y="2982751"/>
              <a:ext cx="279417" cy="346662"/>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3" name="Group 2"/>
          <p:cNvGrpSpPr/>
          <p:nvPr/>
        </p:nvGrpSpPr>
        <p:grpSpPr>
          <a:xfrm>
            <a:off x="260713" y="5101035"/>
            <a:ext cx="608962" cy="737144"/>
            <a:chOff x="180652" y="5203510"/>
            <a:chExt cx="621423" cy="752227"/>
          </a:xfrm>
        </p:grpSpPr>
        <p:sp>
          <p:nvSpPr>
            <p:cNvPr id="113" name="Freeform 59"/>
            <p:cNvSpPr>
              <a:spLocks noEditPoints="1"/>
            </p:cNvSpPr>
            <p:nvPr/>
          </p:nvSpPr>
          <p:spPr bwMode="auto">
            <a:xfrm>
              <a:off x="409467" y="5203510"/>
              <a:ext cx="392608" cy="752227"/>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5875" cap="flat">
              <a:solidFill>
                <a:srgbClr val="0070C0"/>
              </a:solidFill>
              <a:prstDash val="solid"/>
              <a:miter lim="800000"/>
              <a:headEnd/>
              <a:tailEnd/>
            </a:ln>
          </p:spPr>
          <p:txBody>
            <a:bodyPr vert="horz" wrap="square" lIns="89606" tIns="44804" rIns="89606" bIns="44804" numCol="1" anchor="t" anchorCtr="0" compatLnSpc="1">
              <a:prstTxWarp prst="textNoShape">
                <a:avLst/>
              </a:prstTxWarp>
            </a:bodyPr>
            <a:lstStyle/>
            <a:p>
              <a:pPr defTabSz="914004"/>
              <a:endParaRPr lang="en-GB" sz="1764">
                <a:solidFill>
                  <a:srgbClr val="505050"/>
                </a:solidFill>
              </a:endParaRPr>
            </a:p>
          </p:txBody>
        </p:sp>
        <p:grpSp>
          <p:nvGrpSpPr>
            <p:cNvPr id="80" name="Group 79"/>
            <p:cNvGrpSpPr/>
            <p:nvPr/>
          </p:nvGrpSpPr>
          <p:grpSpPr>
            <a:xfrm>
              <a:off x="180652" y="5308356"/>
              <a:ext cx="451651" cy="557023"/>
              <a:chOff x="7953018" y="2427975"/>
              <a:chExt cx="745655" cy="770304"/>
            </a:xfrm>
          </p:grpSpPr>
          <p:sp>
            <p:nvSpPr>
              <p:cNvPr id="92" name="Freeform 31"/>
              <p:cNvSpPr>
                <a:spLocks/>
              </p:cNvSpPr>
              <p:nvPr/>
            </p:nvSpPr>
            <p:spPr bwMode="auto">
              <a:xfrm rot="21134722">
                <a:off x="7953018" y="2427975"/>
                <a:ext cx="745655" cy="770304"/>
              </a:xfrm>
              <a:custGeom>
                <a:avLst/>
                <a:gdLst>
                  <a:gd name="T0" fmla="*/ 1042 w 1154"/>
                  <a:gd name="T1" fmla="*/ 887 h 887"/>
                  <a:gd name="T2" fmla="*/ 1154 w 1154"/>
                  <a:gd name="T3" fmla="*/ 161 h 887"/>
                  <a:gd name="T4" fmla="*/ 105 w 1154"/>
                  <a:gd name="T5" fmla="*/ 0 h 887"/>
                  <a:gd name="T6" fmla="*/ 16 w 1154"/>
                  <a:gd name="T7" fmla="*/ 708 h 887"/>
                  <a:gd name="T8" fmla="*/ 1034 w 1154"/>
                  <a:gd name="T9" fmla="*/ 887 h 887"/>
                </a:gdLst>
                <a:ahLst/>
                <a:cxnLst>
                  <a:cxn ang="0">
                    <a:pos x="T0" y="T1"/>
                  </a:cxn>
                  <a:cxn ang="0">
                    <a:pos x="T2" y="T3"/>
                  </a:cxn>
                  <a:cxn ang="0">
                    <a:pos x="T4" y="T5"/>
                  </a:cxn>
                  <a:cxn ang="0">
                    <a:pos x="T6" y="T7"/>
                  </a:cxn>
                  <a:cxn ang="0">
                    <a:pos x="T8" y="T9"/>
                  </a:cxn>
                </a:cxnLst>
                <a:rect l="0" t="0" r="r" b="b"/>
                <a:pathLst>
                  <a:path w="1154" h="887">
                    <a:moveTo>
                      <a:pt x="1042" y="887"/>
                    </a:moveTo>
                    <a:cubicBezTo>
                      <a:pt x="1150" y="185"/>
                      <a:pt x="1154" y="161"/>
                      <a:pt x="1154" y="161"/>
                    </a:cubicBezTo>
                    <a:cubicBezTo>
                      <a:pt x="133" y="4"/>
                      <a:pt x="105" y="0"/>
                      <a:pt x="105" y="0"/>
                    </a:cubicBezTo>
                    <a:cubicBezTo>
                      <a:pt x="0" y="680"/>
                      <a:pt x="16" y="708"/>
                      <a:pt x="16" y="708"/>
                    </a:cubicBezTo>
                    <a:cubicBezTo>
                      <a:pt x="1034" y="887"/>
                      <a:pt x="1034" y="887"/>
                      <a:pt x="1034" y="887"/>
                    </a:cubicBezTo>
                  </a:path>
                </a:pathLst>
              </a:custGeom>
              <a:solidFill>
                <a:srgbClr val="FFFFFF"/>
              </a:solidFill>
              <a:ln w="9525">
                <a:noFill/>
                <a:round/>
                <a:headEnd/>
                <a:tailEnd/>
              </a:ln>
            </p:spPr>
            <p:txBody>
              <a:bodyPr vert="horz" wrap="square" lIns="89606" tIns="44804" rIns="89606" bIns="44804" numCol="1" anchor="t" anchorCtr="0" compatLnSpc="1">
                <a:prstTxWarp prst="textNoShape">
                  <a:avLst/>
                </a:prstTxWarp>
              </a:bodyPr>
              <a:lstStyle/>
              <a:p>
                <a:pPr defTabSz="914004"/>
                <a:endParaRPr lang="en-GB" sz="1764">
                  <a:solidFill>
                    <a:srgbClr val="505050"/>
                  </a:solidFill>
                </a:endParaRPr>
              </a:p>
            </p:txBody>
          </p:sp>
          <p:sp>
            <p:nvSpPr>
              <p:cNvPr id="90" name="Freeform 40"/>
              <p:cNvSpPr>
                <a:spLocks noEditPoints="1"/>
              </p:cNvSpPr>
              <p:nvPr/>
            </p:nvSpPr>
            <p:spPr bwMode="auto">
              <a:xfrm>
                <a:off x="7961517" y="2545627"/>
                <a:ext cx="672563" cy="514974"/>
              </a:xfrm>
              <a:custGeom>
                <a:avLst/>
                <a:gdLst>
                  <a:gd name="T0" fmla="*/ 203 w 595"/>
                  <a:gd name="T1" fmla="*/ 250 h 469"/>
                  <a:gd name="T2" fmla="*/ 240 w 595"/>
                  <a:gd name="T3" fmla="*/ 226 h 469"/>
                  <a:gd name="T4" fmla="*/ 226 w 595"/>
                  <a:gd name="T5" fmla="*/ 193 h 469"/>
                  <a:gd name="T6" fmla="*/ 513 w 595"/>
                  <a:gd name="T7" fmla="*/ 41 h 469"/>
                  <a:gd name="T8" fmla="*/ 491 w 595"/>
                  <a:gd name="T9" fmla="*/ 41 h 469"/>
                  <a:gd name="T10" fmla="*/ 509 w 595"/>
                  <a:gd name="T11" fmla="*/ 38 h 469"/>
                  <a:gd name="T12" fmla="*/ 450 w 595"/>
                  <a:gd name="T13" fmla="*/ 41 h 469"/>
                  <a:gd name="T14" fmla="*/ 450 w 595"/>
                  <a:gd name="T15" fmla="*/ 36 h 469"/>
                  <a:gd name="T16" fmla="*/ 304 w 595"/>
                  <a:gd name="T17" fmla="*/ 275 h 469"/>
                  <a:gd name="T18" fmla="*/ 376 w 595"/>
                  <a:gd name="T19" fmla="*/ 245 h 469"/>
                  <a:gd name="T20" fmla="*/ 320 w 595"/>
                  <a:gd name="T21" fmla="*/ 281 h 469"/>
                  <a:gd name="T22" fmla="*/ 565 w 595"/>
                  <a:gd name="T23" fmla="*/ 112 h 469"/>
                  <a:gd name="T24" fmla="*/ 29 w 595"/>
                  <a:gd name="T25" fmla="*/ 440 h 469"/>
                  <a:gd name="T26" fmla="*/ 566 w 595"/>
                  <a:gd name="T27" fmla="*/ 440 h 469"/>
                  <a:gd name="T28" fmla="*/ 253 w 595"/>
                  <a:gd name="T29" fmla="*/ 264 h 469"/>
                  <a:gd name="T30" fmla="*/ 208 w 595"/>
                  <a:gd name="T31" fmla="*/ 275 h 469"/>
                  <a:gd name="T32" fmla="*/ 169 w 595"/>
                  <a:gd name="T33" fmla="*/ 252 h 469"/>
                  <a:gd name="T34" fmla="*/ 157 w 595"/>
                  <a:gd name="T35" fmla="*/ 208 h 469"/>
                  <a:gd name="T36" fmla="*/ 180 w 595"/>
                  <a:gd name="T37" fmla="*/ 169 h 469"/>
                  <a:gd name="T38" fmla="*/ 225 w 595"/>
                  <a:gd name="T39" fmla="*/ 157 h 469"/>
                  <a:gd name="T40" fmla="*/ 265 w 595"/>
                  <a:gd name="T41" fmla="*/ 180 h 469"/>
                  <a:gd name="T42" fmla="*/ 276 w 595"/>
                  <a:gd name="T43" fmla="*/ 224 h 469"/>
                  <a:gd name="T44" fmla="*/ 253 w 595"/>
                  <a:gd name="T45" fmla="*/ 264 h 469"/>
                  <a:gd name="T46" fmla="*/ 428 w 595"/>
                  <a:gd name="T47" fmla="*/ 351 h 469"/>
                  <a:gd name="T48" fmla="*/ 368 w 595"/>
                  <a:gd name="T49" fmla="*/ 387 h 469"/>
                  <a:gd name="T50" fmla="*/ 299 w 595"/>
                  <a:gd name="T51" fmla="*/ 369 h 469"/>
                  <a:gd name="T52" fmla="*/ 264 w 595"/>
                  <a:gd name="T53" fmla="*/ 308 h 469"/>
                  <a:gd name="T54" fmla="*/ 282 w 595"/>
                  <a:gd name="T55" fmla="*/ 241 h 469"/>
                  <a:gd name="T56" fmla="*/ 341 w 595"/>
                  <a:gd name="T57" fmla="*/ 206 h 469"/>
                  <a:gd name="T58" fmla="*/ 411 w 595"/>
                  <a:gd name="T59" fmla="*/ 224 h 469"/>
                  <a:gd name="T60" fmla="*/ 445 w 595"/>
                  <a:gd name="T61" fmla="*/ 284 h 469"/>
                  <a:gd name="T62" fmla="*/ 205 w 595"/>
                  <a:gd name="T63" fmla="*/ 211 h 469"/>
                  <a:gd name="T64" fmla="*/ 222 w 595"/>
                  <a:gd name="T65" fmla="*/ 204 h 469"/>
                  <a:gd name="T66" fmla="*/ 538 w 595"/>
                  <a:gd name="T67" fmla="*/ 19 h 469"/>
                  <a:gd name="T68" fmla="*/ 531 w 595"/>
                  <a:gd name="T69" fmla="*/ 41 h 469"/>
                  <a:gd name="T70" fmla="*/ 545 w 595"/>
                  <a:gd name="T71" fmla="*/ 34 h 469"/>
                  <a:gd name="T72" fmla="*/ 560 w 595"/>
                  <a:gd name="T73" fmla="*/ 41 h 469"/>
                  <a:gd name="T74" fmla="*/ 553 w 595"/>
                  <a:gd name="T75" fmla="*/ 19 h 469"/>
                  <a:gd name="T76" fmla="*/ 347 w 595"/>
                  <a:gd name="T77" fmla="*/ 314 h 469"/>
                  <a:gd name="T78" fmla="*/ 595 w 595"/>
                  <a:gd name="T79" fmla="*/ 440 h 469"/>
                  <a:gd name="T80" fmla="*/ 0 w 595"/>
                  <a:gd name="T81" fmla="*/ 440 h 469"/>
                  <a:gd name="T82" fmla="*/ 565 w 595"/>
                  <a:gd name="T83" fmla="*/ 83 h 469"/>
                  <a:gd name="T84" fmla="*/ 595 w 595"/>
                  <a:gd name="T85" fmla="*/ 69 h 469"/>
                  <a:gd name="T86" fmla="*/ 0 w 595"/>
                  <a:gd name="T87" fmla="*/ 67 h 469"/>
                  <a:gd name="T88" fmla="*/ 565 w 595"/>
                  <a:gd name="T89"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5" h="469">
                    <a:moveTo>
                      <a:pt x="231" y="183"/>
                    </a:moveTo>
                    <a:cubicBezTo>
                      <a:pt x="212" y="175"/>
                      <a:pt x="191" y="184"/>
                      <a:pt x="183" y="202"/>
                    </a:cubicBezTo>
                    <a:cubicBezTo>
                      <a:pt x="176" y="220"/>
                      <a:pt x="184" y="242"/>
                      <a:pt x="203" y="250"/>
                    </a:cubicBezTo>
                    <a:cubicBezTo>
                      <a:pt x="221" y="257"/>
                      <a:pt x="242" y="249"/>
                      <a:pt x="250" y="230"/>
                    </a:cubicBezTo>
                    <a:cubicBezTo>
                      <a:pt x="258" y="212"/>
                      <a:pt x="249" y="191"/>
                      <a:pt x="231" y="183"/>
                    </a:cubicBezTo>
                    <a:close/>
                    <a:moveTo>
                      <a:pt x="240" y="226"/>
                    </a:moveTo>
                    <a:cubicBezTo>
                      <a:pt x="234" y="239"/>
                      <a:pt x="220" y="244"/>
                      <a:pt x="207" y="239"/>
                    </a:cubicBezTo>
                    <a:cubicBezTo>
                      <a:pt x="194" y="234"/>
                      <a:pt x="189" y="219"/>
                      <a:pt x="194" y="206"/>
                    </a:cubicBezTo>
                    <a:cubicBezTo>
                      <a:pt x="199" y="194"/>
                      <a:pt x="214" y="188"/>
                      <a:pt x="226" y="193"/>
                    </a:cubicBezTo>
                    <a:cubicBezTo>
                      <a:pt x="239" y="199"/>
                      <a:pt x="245" y="213"/>
                      <a:pt x="240" y="226"/>
                    </a:cubicBezTo>
                    <a:close/>
                    <a:moveTo>
                      <a:pt x="491" y="41"/>
                    </a:moveTo>
                    <a:cubicBezTo>
                      <a:pt x="513" y="41"/>
                      <a:pt x="513" y="41"/>
                      <a:pt x="513" y="41"/>
                    </a:cubicBezTo>
                    <a:cubicBezTo>
                      <a:pt x="513" y="20"/>
                      <a:pt x="513" y="20"/>
                      <a:pt x="513" y="20"/>
                    </a:cubicBezTo>
                    <a:cubicBezTo>
                      <a:pt x="491" y="20"/>
                      <a:pt x="491" y="20"/>
                      <a:pt x="491" y="20"/>
                    </a:cubicBezTo>
                    <a:lnTo>
                      <a:pt x="491" y="41"/>
                    </a:lnTo>
                    <a:close/>
                    <a:moveTo>
                      <a:pt x="495" y="23"/>
                    </a:moveTo>
                    <a:cubicBezTo>
                      <a:pt x="509" y="23"/>
                      <a:pt x="509" y="23"/>
                      <a:pt x="509" y="23"/>
                    </a:cubicBezTo>
                    <a:cubicBezTo>
                      <a:pt x="509" y="38"/>
                      <a:pt x="509" y="38"/>
                      <a:pt x="509" y="38"/>
                    </a:cubicBezTo>
                    <a:cubicBezTo>
                      <a:pt x="495" y="38"/>
                      <a:pt x="495" y="38"/>
                      <a:pt x="495" y="38"/>
                    </a:cubicBezTo>
                    <a:lnTo>
                      <a:pt x="495" y="23"/>
                    </a:lnTo>
                    <a:close/>
                    <a:moveTo>
                      <a:pt x="450" y="41"/>
                    </a:moveTo>
                    <a:cubicBezTo>
                      <a:pt x="476" y="41"/>
                      <a:pt x="476" y="41"/>
                      <a:pt x="476" y="41"/>
                    </a:cubicBezTo>
                    <a:cubicBezTo>
                      <a:pt x="476" y="36"/>
                      <a:pt x="476" y="36"/>
                      <a:pt x="476" y="36"/>
                    </a:cubicBezTo>
                    <a:cubicBezTo>
                      <a:pt x="450" y="36"/>
                      <a:pt x="450" y="36"/>
                      <a:pt x="450" y="36"/>
                    </a:cubicBezTo>
                    <a:lnTo>
                      <a:pt x="450" y="41"/>
                    </a:lnTo>
                    <a:close/>
                    <a:moveTo>
                      <a:pt x="376" y="245"/>
                    </a:moveTo>
                    <a:cubicBezTo>
                      <a:pt x="348" y="233"/>
                      <a:pt x="316" y="247"/>
                      <a:pt x="304" y="275"/>
                    </a:cubicBezTo>
                    <a:cubicBezTo>
                      <a:pt x="292" y="303"/>
                      <a:pt x="305" y="335"/>
                      <a:pt x="333" y="347"/>
                    </a:cubicBezTo>
                    <a:cubicBezTo>
                      <a:pt x="361" y="359"/>
                      <a:pt x="394" y="346"/>
                      <a:pt x="406" y="318"/>
                    </a:cubicBezTo>
                    <a:cubicBezTo>
                      <a:pt x="418" y="290"/>
                      <a:pt x="405" y="257"/>
                      <a:pt x="376" y="245"/>
                    </a:cubicBezTo>
                    <a:close/>
                    <a:moveTo>
                      <a:pt x="390" y="311"/>
                    </a:moveTo>
                    <a:cubicBezTo>
                      <a:pt x="381" y="330"/>
                      <a:pt x="359" y="339"/>
                      <a:pt x="340" y="331"/>
                    </a:cubicBezTo>
                    <a:cubicBezTo>
                      <a:pt x="321" y="323"/>
                      <a:pt x="312" y="301"/>
                      <a:pt x="320" y="281"/>
                    </a:cubicBezTo>
                    <a:cubicBezTo>
                      <a:pt x="328" y="262"/>
                      <a:pt x="350" y="253"/>
                      <a:pt x="370" y="261"/>
                    </a:cubicBezTo>
                    <a:cubicBezTo>
                      <a:pt x="389" y="270"/>
                      <a:pt x="398" y="292"/>
                      <a:pt x="390" y="311"/>
                    </a:cubicBezTo>
                    <a:close/>
                    <a:moveTo>
                      <a:pt x="565" y="112"/>
                    </a:moveTo>
                    <a:cubicBezTo>
                      <a:pt x="29" y="112"/>
                      <a:pt x="29" y="112"/>
                      <a:pt x="29" y="112"/>
                    </a:cubicBezTo>
                    <a:cubicBezTo>
                      <a:pt x="29" y="112"/>
                      <a:pt x="29" y="113"/>
                      <a:pt x="29" y="113"/>
                    </a:cubicBezTo>
                    <a:cubicBezTo>
                      <a:pt x="29" y="440"/>
                      <a:pt x="29" y="440"/>
                      <a:pt x="29" y="440"/>
                    </a:cubicBezTo>
                    <a:cubicBezTo>
                      <a:pt x="29" y="440"/>
                      <a:pt x="29" y="440"/>
                      <a:pt x="29" y="440"/>
                    </a:cubicBezTo>
                    <a:cubicBezTo>
                      <a:pt x="566" y="440"/>
                      <a:pt x="566" y="440"/>
                      <a:pt x="566" y="440"/>
                    </a:cubicBezTo>
                    <a:cubicBezTo>
                      <a:pt x="566" y="440"/>
                      <a:pt x="566" y="440"/>
                      <a:pt x="566" y="440"/>
                    </a:cubicBezTo>
                    <a:cubicBezTo>
                      <a:pt x="566" y="113"/>
                      <a:pt x="566" y="113"/>
                      <a:pt x="566" y="113"/>
                    </a:cubicBezTo>
                    <a:cubicBezTo>
                      <a:pt x="566" y="113"/>
                      <a:pt x="566" y="112"/>
                      <a:pt x="565" y="112"/>
                    </a:cubicBezTo>
                    <a:close/>
                    <a:moveTo>
                      <a:pt x="253" y="264"/>
                    </a:moveTo>
                    <a:cubicBezTo>
                      <a:pt x="249" y="260"/>
                      <a:pt x="242" y="259"/>
                      <a:pt x="236" y="261"/>
                    </a:cubicBezTo>
                    <a:cubicBezTo>
                      <a:pt x="230" y="264"/>
                      <a:pt x="226" y="269"/>
                      <a:pt x="225" y="275"/>
                    </a:cubicBezTo>
                    <a:cubicBezTo>
                      <a:pt x="220" y="276"/>
                      <a:pt x="214" y="276"/>
                      <a:pt x="208" y="275"/>
                    </a:cubicBezTo>
                    <a:cubicBezTo>
                      <a:pt x="208" y="269"/>
                      <a:pt x="204" y="264"/>
                      <a:pt x="198" y="261"/>
                    </a:cubicBezTo>
                    <a:cubicBezTo>
                      <a:pt x="192" y="259"/>
                      <a:pt x="185" y="260"/>
                      <a:pt x="180" y="264"/>
                    </a:cubicBezTo>
                    <a:cubicBezTo>
                      <a:pt x="176" y="260"/>
                      <a:pt x="172" y="256"/>
                      <a:pt x="169" y="252"/>
                    </a:cubicBezTo>
                    <a:cubicBezTo>
                      <a:pt x="173" y="247"/>
                      <a:pt x="174" y="241"/>
                      <a:pt x="172" y="235"/>
                    </a:cubicBezTo>
                    <a:cubicBezTo>
                      <a:pt x="169" y="229"/>
                      <a:pt x="164" y="225"/>
                      <a:pt x="157" y="224"/>
                    </a:cubicBezTo>
                    <a:cubicBezTo>
                      <a:pt x="157" y="219"/>
                      <a:pt x="157" y="214"/>
                      <a:pt x="157" y="208"/>
                    </a:cubicBezTo>
                    <a:cubicBezTo>
                      <a:pt x="164" y="208"/>
                      <a:pt x="169" y="204"/>
                      <a:pt x="172" y="198"/>
                    </a:cubicBezTo>
                    <a:cubicBezTo>
                      <a:pt x="174" y="192"/>
                      <a:pt x="173" y="185"/>
                      <a:pt x="169" y="180"/>
                    </a:cubicBezTo>
                    <a:cubicBezTo>
                      <a:pt x="172" y="176"/>
                      <a:pt x="176" y="172"/>
                      <a:pt x="180" y="169"/>
                    </a:cubicBezTo>
                    <a:cubicBezTo>
                      <a:pt x="185" y="173"/>
                      <a:pt x="192" y="174"/>
                      <a:pt x="198" y="171"/>
                    </a:cubicBezTo>
                    <a:cubicBezTo>
                      <a:pt x="204" y="169"/>
                      <a:pt x="208" y="163"/>
                      <a:pt x="208" y="157"/>
                    </a:cubicBezTo>
                    <a:cubicBezTo>
                      <a:pt x="214" y="156"/>
                      <a:pt x="220" y="156"/>
                      <a:pt x="225" y="157"/>
                    </a:cubicBezTo>
                    <a:cubicBezTo>
                      <a:pt x="226" y="163"/>
                      <a:pt x="230" y="169"/>
                      <a:pt x="236" y="171"/>
                    </a:cubicBezTo>
                    <a:cubicBezTo>
                      <a:pt x="242" y="174"/>
                      <a:pt x="249" y="173"/>
                      <a:pt x="253" y="169"/>
                    </a:cubicBezTo>
                    <a:cubicBezTo>
                      <a:pt x="258" y="172"/>
                      <a:pt x="261" y="176"/>
                      <a:pt x="265" y="180"/>
                    </a:cubicBezTo>
                    <a:cubicBezTo>
                      <a:pt x="261" y="185"/>
                      <a:pt x="259" y="192"/>
                      <a:pt x="262" y="198"/>
                    </a:cubicBezTo>
                    <a:cubicBezTo>
                      <a:pt x="264" y="204"/>
                      <a:pt x="270" y="208"/>
                      <a:pt x="276" y="208"/>
                    </a:cubicBezTo>
                    <a:cubicBezTo>
                      <a:pt x="277" y="214"/>
                      <a:pt x="277" y="219"/>
                      <a:pt x="276" y="224"/>
                    </a:cubicBezTo>
                    <a:cubicBezTo>
                      <a:pt x="270" y="225"/>
                      <a:pt x="264" y="229"/>
                      <a:pt x="262" y="235"/>
                    </a:cubicBezTo>
                    <a:cubicBezTo>
                      <a:pt x="259" y="241"/>
                      <a:pt x="261" y="247"/>
                      <a:pt x="265" y="252"/>
                    </a:cubicBezTo>
                    <a:cubicBezTo>
                      <a:pt x="261" y="257"/>
                      <a:pt x="258" y="260"/>
                      <a:pt x="253" y="264"/>
                    </a:cubicBezTo>
                    <a:close/>
                    <a:moveTo>
                      <a:pt x="445" y="308"/>
                    </a:moveTo>
                    <a:cubicBezTo>
                      <a:pt x="436" y="309"/>
                      <a:pt x="427" y="315"/>
                      <a:pt x="424" y="325"/>
                    </a:cubicBezTo>
                    <a:cubicBezTo>
                      <a:pt x="420" y="334"/>
                      <a:pt x="422" y="344"/>
                      <a:pt x="428" y="351"/>
                    </a:cubicBezTo>
                    <a:cubicBezTo>
                      <a:pt x="423" y="358"/>
                      <a:pt x="417" y="364"/>
                      <a:pt x="411" y="368"/>
                    </a:cubicBezTo>
                    <a:cubicBezTo>
                      <a:pt x="403" y="363"/>
                      <a:pt x="393" y="361"/>
                      <a:pt x="384" y="365"/>
                    </a:cubicBezTo>
                    <a:cubicBezTo>
                      <a:pt x="375" y="369"/>
                      <a:pt x="369" y="377"/>
                      <a:pt x="368" y="387"/>
                    </a:cubicBezTo>
                    <a:cubicBezTo>
                      <a:pt x="359" y="388"/>
                      <a:pt x="350" y="388"/>
                      <a:pt x="342" y="387"/>
                    </a:cubicBezTo>
                    <a:cubicBezTo>
                      <a:pt x="341" y="377"/>
                      <a:pt x="335" y="369"/>
                      <a:pt x="326" y="365"/>
                    </a:cubicBezTo>
                    <a:cubicBezTo>
                      <a:pt x="316" y="361"/>
                      <a:pt x="306" y="363"/>
                      <a:pt x="299" y="369"/>
                    </a:cubicBezTo>
                    <a:cubicBezTo>
                      <a:pt x="292" y="363"/>
                      <a:pt x="287" y="358"/>
                      <a:pt x="282" y="351"/>
                    </a:cubicBezTo>
                    <a:cubicBezTo>
                      <a:pt x="288" y="344"/>
                      <a:pt x="290" y="334"/>
                      <a:pt x="286" y="324"/>
                    </a:cubicBezTo>
                    <a:cubicBezTo>
                      <a:pt x="282" y="315"/>
                      <a:pt x="274" y="309"/>
                      <a:pt x="264" y="308"/>
                    </a:cubicBezTo>
                    <a:cubicBezTo>
                      <a:pt x="263" y="300"/>
                      <a:pt x="263" y="292"/>
                      <a:pt x="264" y="284"/>
                    </a:cubicBezTo>
                    <a:cubicBezTo>
                      <a:pt x="274" y="283"/>
                      <a:pt x="282" y="277"/>
                      <a:pt x="286" y="268"/>
                    </a:cubicBezTo>
                    <a:cubicBezTo>
                      <a:pt x="290" y="259"/>
                      <a:pt x="288" y="249"/>
                      <a:pt x="282" y="241"/>
                    </a:cubicBezTo>
                    <a:cubicBezTo>
                      <a:pt x="287" y="235"/>
                      <a:pt x="293" y="229"/>
                      <a:pt x="299" y="224"/>
                    </a:cubicBezTo>
                    <a:cubicBezTo>
                      <a:pt x="306" y="230"/>
                      <a:pt x="316" y="232"/>
                      <a:pt x="326" y="228"/>
                    </a:cubicBezTo>
                    <a:cubicBezTo>
                      <a:pt x="335" y="224"/>
                      <a:pt x="341" y="215"/>
                      <a:pt x="341" y="206"/>
                    </a:cubicBezTo>
                    <a:cubicBezTo>
                      <a:pt x="350" y="205"/>
                      <a:pt x="359" y="205"/>
                      <a:pt x="368" y="206"/>
                    </a:cubicBezTo>
                    <a:cubicBezTo>
                      <a:pt x="369" y="215"/>
                      <a:pt x="375" y="224"/>
                      <a:pt x="384" y="228"/>
                    </a:cubicBezTo>
                    <a:cubicBezTo>
                      <a:pt x="393" y="232"/>
                      <a:pt x="403" y="230"/>
                      <a:pt x="411" y="224"/>
                    </a:cubicBezTo>
                    <a:cubicBezTo>
                      <a:pt x="417" y="229"/>
                      <a:pt x="423" y="235"/>
                      <a:pt x="428" y="241"/>
                    </a:cubicBezTo>
                    <a:cubicBezTo>
                      <a:pt x="422" y="249"/>
                      <a:pt x="420" y="259"/>
                      <a:pt x="424" y="268"/>
                    </a:cubicBezTo>
                    <a:cubicBezTo>
                      <a:pt x="427" y="277"/>
                      <a:pt x="436" y="283"/>
                      <a:pt x="445" y="284"/>
                    </a:cubicBezTo>
                    <a:cubicBezTo>
                      <a:pt x="446" y="292"/>
                      <a:pt x="446" y="300"/>
                      <a:pt x="445" y="308"/>
                    </a:cubicBezTo>
                    <a:close/>
                    <a:moveTo>
                      <a:pt x="222" y="204"/>
                    </a:moveTo>
                    <a:cubicBezTo>
                      <a:pt x="215" y="202"/>
                      <a:pt x="208" y="205"/>
                      <a:pt x="205" y="211"/>
                    </a:cubicBezTo>
                    <a:cubicBezTo>
                      <a:pt x="202" y="218"/>
                      <a:pt x="205" y="225"/>
                      <a:pt x="212" y="228"/>
                    </a:cubicBezTo>
                    <a:cubicBezTo>
                      <a:pt x="218" y="231"/>
                      <a:pt x="226" y="228"/>
                      <a:pt x="229" y="221"/>
                    </a:cubicBezTo>
                    <a:cubicBezTo>
                      <a:pt x="231" y="215"/>
                      <a:pt x="228" y="207"/>
                      <a:pt x="222" y="204"/>
                    </a:cubicBezTo>
                    <a:close/>
                    <a:moveTo>
                      <a:pt x="553" y="19"/>
                    </a:moveTo>
                    <a:cubicBezTo>
                      <a:pt x="545" y="27"/>
                      <a:pt x="545" y="27"/>
                      <a:pt x="545" y="27"/>
                    </a:cubicBezTo>
                    <a:cubicBezTo>
                      <a:pt x="538" y="19"/>
                      <a:pt x="538" y="19"/>
                      <a:pt x="538" y="19"/>
                    </a:cubicBezTo>
                    <a:cubicBezTo>
                      <a:pt x="531" y="19"/>
                      <a:pt x="531" y="19"/>
                      <a:pt x="531" y="19"/>
                    </a:cubicBezTo>
                    <a:cubicBezTo>
                      <a:pt x="542" y="30"/>
                      <a:pt x="542" y="30"/>
                      <a:pt x="542" y="30"/>
                    </a:cubicBezTo>
                    <a:cubicBezTo>
                      <a:pt x="531" y="41"/>
                      <a:pt x="531" y="41"/>
                      <a:pt x="531" y="41"/>
                    </a:cubicBezTo>
                    <a:cubicBezTo>
                      <a:pt x="538" y="41"/>
                      <a:pt x="538" y="41"/>
                      <a:pt x="538" y="41"/>
                    </a:cubicBezTo>
                    <a:cubicBezTo>
                      <a:pt x="538" y="41"/>
                      <a:pt x="538" y="41"/>
                      <a:pt x="538" y="41"/>
                    </a:cubicBezTo>
                    <a:cubicBezTo>
                      <a:pt x="545" y="34"/>
                      <a:pt x="545" y="34"/>
                      <a:pt x="545" y="34"/>
                    </a:cubicBezTo>
                    <a:cubicBezTo>
                      <a:pt x="548" y="37"/>
                      <a:pt x="548" y="37"/>
                      <a:pt x="548" y="37"/>
                    </a:cubicBezTo>
                    <a:cubicBezTo>
                      <a:pt x="553" y="41"/>
                      <a:pt x="553" y="41"/>
                      <a:pt x="553" y="41"/>
                    </a:cubicBezTo>
                    <a:cubicBezTo>
                      <a:pt x="560" y="41"/>
                      <a:pt x="560" y="41"/>
                      <a:pt x="560" y="41"/>
                    </a:cubicBezTo>
                    <a:cubicBezTo>
                      <a:pt x="549" y="30"/>
                      <a:pt x="549" y="30"/>
                      <a:pt x="549" y="30"/>
                    </a:cubicBezTo>
                    <a:cubicBezTo>
                      <a:pt x="560" y="19"/>
                      <a:pt x="560" y="19"/>
                      <a:pt x="560" y="19"/>
                    </a:cubicBezTo>
                    <a:lnTo>
                      <a:pt x="553" y="19"/>
                    </a:lnTo>
                    <a:close/>
                    <a:moveTo>
                      <a:pt x="362" y="278"/>
                    </a:moveTo>
                    <a:cubicBezTo>
                      <a:pt x="352" y="274"/>
                      <a:pt x="341" y="279"/>
                      <a:pt x="337" y="289"/>
                    </a:cubicBezTo>
                    <a:cubicBezTo>
                      <a:pt x="333" y="299"/>
                      <a:pt x="337" y="310"/>
                      <a:pt x="347" y="314"/>
                    </a:cubicBezTo>
                    <a:cubicBezTo>
                      <a:pt x="357" y="318"/>
                      <a:pt x="368" y="314"/>
                      <a:pt x="373" y="304"/>
                    </a:cubicBezTo>
                    <a:cubicBezTo>
                      <a:pt x="377" y="294"/>
                      <a:pt x="372" y="283"/>
                      <a:pt x="362" y="278"/>
                    </a:cubicBezTo>
                    <a:close/>
                    <a:moveTo>
                      <a:pt x="595" y="440"/>
                    </a:moveTo>
                    <a:cubicBezTo>
                      <a:pt x="595" y="456"/>
                      <a:pt x="582" y="469"/>
                      <a:pt x="565" y="469"/>
                    </a:cubicBezTo>
                    <a:cubicBezTo>
                      <a:pt x="29" y="469"/>
                      <a:pt x="29" y="469"/>
                      <a:pt x="29" y="469"/>
                    </a:cubicBezTo>
                    <a:cubicBezTo>
                      <a:pt x="13" y="469"/>
                      <a:pt x="0" y="456"/>
                      <a:pt x="0" y="440"/>
                    </a:cubicBezTo>
                    <a:cubicBezTo>
                      <a:pt x="0" y="113"/>
                      <a:pt x="0" y="113"/>
                      <a:pt x="0" y="113"/>
                    </a:cubicBezTo>
                    <a:cubicBezTo>
                      <a:pt x="0" y="96"/>
                      <a:pt x="13" y="83"/>
                      <a:pt x="29" y="83"/>
                    </a:cubicBezTo>
                    <a:cubicBezTo>
                      <a:pt x="565" y="83"/>
                      <a:pt x="565" y="83"/>
                      <a:pt x="565" y="83"/>
                    </a:cubicBezTo>
                    <a:cubicBezTo>
                      <a:pt x="582" y="83"/>
                      <a:pt x="595" y="96"/>
                      <a:pt x="595" y="113"/>
                    </a:cubicBezTo>
                    <a:lnTo>
                      <a:pt x="595" y="440"/>
                    </a:lnTo>
                    <a:close/>
                    <a:moveTo>
                      <a:pt x="595" y="69"/>
                    </a:moveTo>
                    <a:cubicBezTo>
                      <a:pt x="589" y="63"/>
                      <a:pt x="581" y="59"/>
                      <a:pt x="572" y="59"/>
                    </a:cubicBezTo>
                    <a:cubicBezTo>
                      <a:pt x="20" y="59"/>
                      <a:pt x="20" y="59"/>
                      <a:pt x="20" y="59"/>
                    </a:cubicBezTo>
                    <a:cubicBezTo>
                      <a:pt x="12" y="59"/>
                      <a:pt x="5" y="62"/>
                      <a:pt x="0" y="67"/>
                    </a:cubicBezTo>
                    <a:cubicBezTo>
                      <a:pt x="0" y="30"/>
                      <a:pt x="0" y="30"/>
                      <a:pt x="0" y="30"/>
                    </a:cubicBezTo>
                    <a:cubicBezTo>
                      <a:pt x="0" y="13"/>
                      <a:pt x="13" y="0"/>
                      <a:pt x="29" y="0"/>
                    </a:cubicBezTo>
                    <a:cubicBezTo>
                      <a:pt x="565" y="0"/>
                      <a:pt x="565" y="0"/>
                      <a:pt x="565" y="0"/>
                    </a:cubicBezTo>
                    <a:cubicBezTo>
                      <a:pt x="582" y="0"/>
                      <a:pt x="595" y="13"/>
                      <a:pt x="595" y="30"/>
                    </a:cubicBezTo>
                    <a:lnTo>
                      <a:pt x="595" y="69"/>
                    </a:lnTo>
                    <a:close/>
                  </a:path>
                </a:pathLst>
              </a:custGeom>
              <a:solidFill>
                <a:srgbClr val="0070C0"/>
              </a:solidFill>
              <a:ln>
                <a:noFill/>
              </a:ln>
            </p:spPr>
            <p:txBody>
              <a:bodyPr vert="horz" wrap="square" lIns="89606" tIns="44804" rIns="89606" bIns="44804" numCol="1" anchor="t" anchorCtr="0" compatLnSpc="1">
                <a:prstTxWarp prst="textNoShape">
                  <a:avLst/>
                </a:prstTxWarp>
              </a:bodyPr>
              <a:lstStyle/>
              <a:p>
                <a:pPr defTabSz="914004"/>
                <a:endParaRPr lang="en-GB" sz="1764">
                  <a:solidFill>
                    <a:srgbClr val="505050"/>
                  </a:solidFill>
                </a:endParaRPr>
              </a:p>
            </p:txBody>
          </p:sp>
        </p:grpSp>
      </p:grpSp>
      <p:grpSp>
        <p:nvGrpSpPr>
          <p:cNvPr id="25" name="Group 24"/>
          <p:cNvGrpSpPr/>
          <p:nvPr/>
        </p:nvGrpSpPr>
        <p:grpSpPr>
          <a:xfrm>
            <a:off x="5375822" y="2819609"/>
            <a:ext cx="1976277" cy="1179504"/>
            <a:chOff x="5483322" y="2875401"/>
            <a:chExt cx="2016716" cy="1203640"/>
          </a:xfrm>
        </p:grpSpPr>
        <p:grpSp>
          <p:nvGrpSpPr>
            <p:cNvPr id="15" name="Group 14"/>
            <p:cNvGrpSpPr/>
            <p:nvPr/>
          </p:nvGrpSpPr>
          <p:grpSpPr>
            <a:xfrm>
              <a:off x="5556609" y="3010919"/>
              <a:ext cx="1943429" cy="932603"/>
              <a:chOff x="8807404" y="2416174"/>
              <a:chExt cx="1943429" cy="932603"/>
            </a:xfrm>
          </p:grpSpPr>
          <p:sp>
            <p:nvSpPr>
              <p:cNvPr id="151" name="Rectangle 60"/>
              <p:cNvSpPr>
                <a:spLocks noChangeArrowheads="1"/>
              </p:cNvSpPr>
              <p:nvPr/>
            </p:nvSpPr>
            <p:spPr bwMode="auto">
              <a:xfrm>
                <a:off x="8807404" y="2416174"/>
                <a:ext cx="699634" cy="155434"/>
              </a:xfrm>
              <a:prstGeom prst="rect">
                <a:avLst/>
              </a:prstGeom>
              <a:noFill/>
              <a:ln w="6350">
                <a:noFill/>
                <a:miter lim="800000"/>
                <a:headEnd/>
                <a:tailEnd/>
              </a:ln>
            </p:spPr>
            <p:txBody>
              <a:bodyPr wrap="none" lIns="0" tIns="0" rIns="0" bIns="0" anchor="ctr"/>
              <a:lstStyle/>
              <a:p>
                <a:pPr defTabSz="914004">
                  <a:spcBef>
                    <a:spcPct val="0"/>
                  </a:spcBef>
                </a:pPr>
                <a:r>
                  <a:rPr lang="en-US" sz="933" b="1" dirty="0">
                    <a:solidFill>
                      <a:srgbClr val="DC3C00">
                        <a:lumMod val="75000"/>
                      </a:srgbClr>
                    </a:solidFill>
                  </a:rPr>
                  <a:t>givenName</a:t>
                </a:r>
              </a:p>
            </p:txBody>
          </p:sp>
          <p:sp>
            <p:nvSpPr>
              <p:cNvPr id="152" name="Rectangle 61"/>
              <p:cNvSpPr>
                <a:spLocks noChangeArrowheads="1"/>
              </p:cNvSpPr>
              <p:nvPr/>
            </p:nvSpPr>
            <p:spPr bwMode="auto">
              <a:xfrm>
                <a:off x="8807404" y="2571608"/>
                <a:ext cx="699634" cy="155434"/>
              </a:xfrm>
              <a:prstGeom prst="rect">
                <a:avLst/>
              </a:prstGeom>
              <a:noFill/>
              <a:ln w="6350">
                <a:noFill/>
                <a:miter lim="800000"/>
                <a:headEnd/>
                <a:tailEnd/>
              </a:ln>
            </p:spPr>
            <p:txBody>
              <a:bodyPr wrap="none" lIns="0" tIns="0" rIns="0" bIns="0" anchor="ctr"/>
              <a:lstStyle/>
              <a:p>
                <a:pPr defTabSz="914004">
                  <a:spcBef>
                    <a:spcPct val="0"/>
                  </a:spcBef>
                </a:pPr>
                <a:r>
                  <a:rPr lang="en-US" sz="933" b="1" dirty="0">
                    <a:solidFill>
                      <a:srgbClr val="DC3C00">
                        <a:lumMod val="75000"/>
                      </a:srgbClr>
                    </a:solidFill>
                  </a:rPr>
                  <a:t>surname</a:t>
                </a:r>
              </a:p>
            </p:txBody>
          </p:sp>
          <p:sp>
            <p:nvSpPr>
              <p:cNvPr id="153" name="Rectangle 62"/>
              <p:cNvSpPr>
                <a:spLocks noChangeArrowheads="1"/>
              </p:cNvSpPr>
              <p:nvPr/>
            </p:nvSpPr>
            <p:spPr bwMode="auto">
              <a:xfrm>
                <a:off x="8807404" y="2727042"/>
                <a:ext cx="699634" cy="155434"/>
              </a:xfrm>
              <a:prstGeom prst="rect">
                <a:avLst/>
              </a:prstGeom>
              <a:noFill/>
              <a:ln w="6350">
                <a:noFill/>
                <a:miter lim="800000"/>
                <a:headEnd/>
                <a:tailEnd/>
              </a:ln>
            </p:spPr>
            <p:txBody>
              <a:bodyPr wrap="none" lIns="0" tIns="0" rIns="0" bIns="0" anchor="ctr"/>
              <a:lstStyle/>
              <a:p>
                <a:pPr defTabSz="914004">
                  <a:spcBef>
                    <a:spcPct val="0"/>
                  </a:spcBef>
                </a:pPr>
                <a:r>
                  <a:rPr lang="en-US" sz="933" b="1" dirty="0">
                    <a:solidFill>
                      <a:srgbClr val="68217A"/>
                    </a:solidFill>
                  </a:rPr>
                  <a:t>title</a:t>
                </a:r>
              </a:p>
            </p:txBody>
          </p:sp>
          <p:sp>
            <p:nvSpPr>
              <p:cNvPr id="154" name="Rectangle 63"/>
              <p:cNvSpPr>
                <a:spLocks noChangeArrowheads="1"/>
              </p:cNvSpPr>
              <p:nvPr/>
            </p:nvSpPr>
            <p:spPr bwMode="auto">
              <a:xfrm>
                <a:off x="8807404" y="2882476"/>
                <a:ext cx="699634" cy="155434"/>
              </a:xfrm>
              <a:prstGeom prst="rect">
                <a:avLst/>
              </a:prstGeom>
              <a:noFill/>
              <a:ln w="6350">
                <a:noFill/>
                <a:miter lim="800000"/>
                <a:headEnd/>
                <a:tailEnd/>
              </a:ln>
            </p:spPr>
            <p:txBody>
              <a:bodyPr wrap="none" lIns="0" tIns="0" rIns="0" bIns="0" anchor="ctr"/>
              <a:lstStyle/>
              <a:p>
                <a:pPr defTabSz="914004">
                  <a:spcBef>
                    <a:spcPct val="0"/>
                  </a:spcBef>
                </a:pPr>
                <a:r>
                  <a:rPr lang="en-US" sz="933" b="1" dirty="0">
                    <a:solidFill>
                      <a:srgbClr val="008272"/>
                    </a:solidFill>
                  </a:rPr>
                  <a:t>E-mail</a:t>
                </a:r>
              </a:p>
            </p:txBody>
          </p:sp>
          <p:sp>
            <p:nvSpPr>
              <p:cNvPr id="155" name="Rectangle 64"/>
              <p:cNvSpPr>
                <a:spLocks noChangeArrowheads="1"/>
              </p:cNvSpPr>
              <p:nvPr/>
            </p:nvSpPr>
            <p:spPr bwMode="auto">
              <a:xfrm>
                <a:off x="8807404" y="3037909"/>
                <a:ext cx="699634" cy="155434"/>
              </a:xfrm>
              <a:prstGeom prst="rect">
                <a:avLst/>
              </a:prstGeom>
              <a:noFill/>
              <a:ln w="6350">
                <a:noFill/>
                <a:miter lim="800000"/>
                <a:headEnd/>
                <a:tailEnd/>
              </a:ln>
            </p:spPr>
            <p:txBody>
              <a:bodyPr wrap="none" lIns="0" tIns="0" rIns="0" bIns="0" anchor="ctr"/>
              <a:lstStyle/>
              <a:p>
                <a:pPr defTabSz="914004">
                  <a:spcBef>
                    <a:spcPct val="0"/>
                  </a:spcBef>
                </a:pPr>
                <a:r>
                  <a:rPr lang="en-US" sz="933" b="1" dirty="0">
                    <a:solidFill>
                      <a:srgbClr val="DC3C00">
                        <a:lumMod val="75000"/>
                      </a:srgbClr>
                    </a:solidFill>
                  </a:rPr>
                  <a:t>employeeID</a:t>
                </a:r>
              </a:p>
            </p:txBody>
          </p:sp>
          <p:sp>
            <p:nvSpPr>
              <p:cNvPr id="156" name="Rectangle 65"/>
              <p:cNvSpPr>
                <a:spLocks noChangeArrowheads="1"/>
              </p:cNvSpPr>
              <p:nvPr/>
            </p:nvSpPr>
            <p:spPr bwMode="auto">
              <a:xfrm>
                <a:off x="8807404" y="3193343"/>
                <a:ext cx="699634" cy="155434"/>
              </a:xfrm>
              <a:prstGeom prst="rect">
                <a:avLst/>
              </a:prstGeom>
              <a:noFill/>
              <a:ln w="6350">
                <a:noFill/>
                <a:miter lim="800000"/>
                <a:headEnd/>
                <a:tailEnd/>
              </a:ln>
            </p:spPr>
            <p:txBody>
              <a:bodyPr wrap="none" lIns="0" tIns="0" rIns="0" bIns="0" anchor="ctr"/>
              <a:lstStyle/>
              <a:p>
                <a:pPr defTabSz="914004">
                  <a:spcBef>
                    <a:spcPct val="0"/>
                  </a:spcBef>
                </a:pPr>
                <a:r>
                  <a:rPr lang="en-US" sz="933" b="1" dirty="0">
                    <a:solidFill>
                      <a:srgbClr val="DC3C00"/>
                    </a:solidFill>
                  </a:rPr>
                  <a:t>telephone</a:t>
                </a:r>
              </a:p>
            </p:txBody>
          </p:sp>
          <p:sp>
            <p:nvSpPr>
              <p:cNvPr id="157" name="Rectangle 66"/>
              <p:cNvSpPr>
                <a:spLocks noChangeArrowheads="1"/>
              </p:cNvSpPr>
              <p:nvPr/>
            </p:nvSpPr>
            <p:spPr bwMode="auto">
              <a:xfrm>
                <a:off x="9507038" y="2416174"/>
                <a:ext cx="1243795" cy="155434"/>
              </a:xfrm>
              <a:prstGeom prst="rect">
                <a:avLst/>
              </a:prstGeom>
              <a:noFill/>
              <a:ln w="6350">
                <a:noFill/>
                <a:miter lim="800000"/>
                <a:headEnd/>
                <a:tailEnd/>
              </a:ln>
            </p:spPr>
            <p:txBody>
              <a:bodyPr wrap="none" lIns="0" tIns="0" rIns="0" bIns="0" anchor="ctr"/>
              <a:lstStyle/>
              <a:p>
                <a:pPr defTabSz="914004">
                  <a:spcBef>
                    <a:spcPct val="0"/>
                  </a:spcBef>
                </a:pPr>
                <a:endParaRPr lang="en-US" sz="933" dirty="0">
                  <a:solidFill>
                    <a:srgbClr val="505050"/>
                  </a:solidFill>
                </a:endParaRPr>
              </a:p>
            </p:txBody>
          </p:sp>
          <p:sp>
            <p:nvSpPr>
              <p:cNvPr id="158" name="Rectangle 67"/>
              <p:cNvSpPr>
                <a:spLocks noChangeArrowheads="1"/>
              </p:cNvSpPr>
              <p:nvPr/>
            </p:nvSpPr>
            <p:spPr bwMode="auto">
              <a:xfrm>
                <a:off x="9507038" y="2571608"/>
                <a:ext cx="1243795" cy="155434"/>
              </a:xfrm>
              <a:prstGeom prst="rect">
                <a:avLst/>
              </a:prstGeom>
              <a:noFill/>
              <a:ln w="6350">
                <a:noFill/>
                <a:miter lim="800000"/>
                <a:headEnd/>
                <a:tailEnd/>
              </a:ln>
            </p:spPr>
            <p:txBody>
              <a:bodyPr wrap="none" lIns="0" tIns="0" rIns="0" bIns="0" anchor="ctr"/>
              <a:lstStyle/>
              <a:p>
                <a:pPr defTabSz="914004">
                  <a:spcBef>
                    <a:spcPct val="0"/>
                  </a:spcBef>
                </a:pPr>
                <a:endParaRPr lang="en-US" sz="933" dirty="0">
                  <a:solidFill>
                    <a:srgbClr val="505050"/>
                  </a:solidFill>
                </a:endParaRPr>
              </a:p>
            </p:txBody>
          </p:sp>
          <p:sp>
            <p:nvSpPr>
              <p:cNvPr id="159" name="Rectangle 68"/>
              <p:cNvSpPr>
                <a:spLocks noChangeArrowheads="1"/>
              </p:cNvSpPr>
              <p:nvPr/>
            </p:nvSpPr>
            <p:spPr bwMode="auto">
              <a:xfrm>
                <a:off x="9507038" y="2727042"/>
                <a:ext cx="1243795" cy="155434"/>
              </a:xfrm>
              <a:prstGeom prst="rect">
                <a:avLst/>
              </a:prstGeom>
              <a:noFill/>
              <a:ln w="6350">
                <a:noFill/>
                <a:miter lim="800000"/>
                <a:headEnd/>
                <a:tailEnd/>
              </a:ln>
            </p:spPr>
            <p:txBody>
              <a:bodyPr wrap="none" lIns="0" tIns="0" rIns="0" bIns="0" anchor="ctr"/>
              <a:lstStyle/>
              <a:p>
                <a:pPr defTabSz="914004">
                  <a:spcBef>
                    <a:spcPct val="0"/>
                  </a:spcBef>
                </a:pPr>
                <a:endParaRPr lang="en-US" sz="933" dirty="0">
                  <a:solidFill>
                    <a:srgbClr val="505050"/>
                  </a:solidFill>
                </a:endParaRPr>
              </a:p>
            </p:txBody>
          </p:sp>
          <p:sp>
            <p:nvSpPr>
              <p:cNvPr id="160" name="Rectangle 69"/>
              <p:cNvSpPr>
                <a:spLocks noChangeArrowheads="1"/>
              </p:cNvSpPr>
              <p:nvPr/>
            </p:nvSpPr>
            <p:spPr bwMode="auto">
              <a:xfrm>
                <a:off x="9507038" y="2882476"/>
                <a:ext cx="1243795" cy="155434"/>
              </a:xfrm>
              <a:prstGeom prst="rect">
                <a:avLst/>
              </a:prstGeom>
              <a:noFill/>
              <a:ln w="6350">
                <a:noFill/>
                <a:miter lim="800000"/>
                <a:headEnd/>
                <a:tailEnd/>
              </a:ln>
            </p:spPr>
            <p:txBody>
              <a:bodyPr wrap="none" lIns="0" tIns="0" rIns="0" bIns="0" anchor="ctr"/>
              <a:lstStyle/>
              <a:p>
                <a:pPr defTabSz="914004">
                  <a:spcBef>
                    <a:spcPct val="0"/>
                  </a:spcBef>
                </a:pPr>
                <a:endParaRPr lang="en-US" sz="933" dirty="0">
                  <a:solidFill>
                    <a:srgbClr val="505050"/>
                  </a:solidFill>
                </a:endParaRPr>
              </a:p>
            </p:txBody>
          </p:sp>
          <p:sp>
            <p:nvSpPr>
              <p:cNvPr id="161" name="Rectangle 70"/>
              <p:cNvSpPr>
                <a:spLocks noChangeArrowheads="1"/>
              </p:cNvSpPr>
              <p:nvPr/>
            </p:nvSpPr>
            <p:spPr bwMode="auto">
              <a:xfrm>
                <a:off x="9507038" y="3037909"/>
                <a:ext cx="1243795" cy="155434"/>
              </a:xfrm>
              <a:prstGeom prst="rect">
                <a:avLst/>
              </a:prstGeom>
              <a:noFill/>
              <a:ln w="6350">
                <a:noFill/>
                <a:miter lim="800000"/>
                <a:headEnd/>
                <a:tailEnd/>
              </a:ln>
            </p:spPr>
            <p:txBody>
              <a:bodyPr wrap="none" lIns="0" tIns="0" rIns="0" bIns="0" anchor="ctr"/>
              <a:lstStyle/>
              <a:p>
                <a:pPr defTabSz="914004">
                  <a:spcBef>
                    <a:spcPct val="0"/>
                  </a:spcBef>
                </a:pPr>
                <a:endParaRPr lang="en-US" sz="933" dirty="0">
                  <a:solidFill>
                    <a:srgbClr val="505050"/>
                  </a:solidFill>
                </a:endParaRPr>
              </a:p>
            </p:txBody>
          </p:sp>
          <p:sp>
            <p:nvSpPr>
              <p:cNvPr id="162" name="Rectangle 71"/>
              <p:cNvSpPr>
                <a:spLocks noChangeArrowheads="1"/>
              </p:cNvSpPr>
              <p:nvPr/>
            </p:nvSpPr>
            <p:spPr bwMode="auto">
              <a:xfrm>
                <a:off x="9507038" y="3193343"/>
                <a:ext cx="1243795" cy="155434"/>
              </a:xfrm>
              <a:prstGeom prst="rect">
                <a:avLst/>
              </a:prstGeom>
              <a:noFill/>
              <a:ln w="6350">
                <a:noFill/>
                <a:miter lim="800000"/>
                <a:headEnd/>
                <a:tailEnd/>
              </a:ln>
            </p:spPr>
            <p:txBody>
              <a:bodyPr wrap="none" lIns="0" tIns="0" rIns="0" bIns="0" anchor="ctr"/>
              <a:lstStyle/>
              <a:p>
                <a:pPr defTabSz="914004">
                  <a:spcBef>
                    <a:spcPct val="0"/>
                  </a:spcBef>
                </a:pPr>
                <a:endParaRPr lang="en-US" sz="933" dirty="0">
                  <a:solidFill>
                    <a:srgbClr val="505050"/>
                  </a:solidFill>
                </a:endParaRPr>
              </a:p>
            </p:txBody>
          </p:sp>
          <p:sp>
            <p:nvSpPr>
              <p:cNvPr id="182" name="Rectangle 92"/>
              <p:cNvSpPr>
                <a:spLocks noChangeArrowheads="1"/>
              </p:cNvSpPr>
              <p:nvPr/>
            </p:nvSpPr>
            <p:spPr bwMode="auto">
              <a:xfrm>
                <a:off x="9507038" y="2882476"/>
                <a:ext cx="1243795" cy="155434"/>
              </a:xfrm>
              <a:prstGeom prst="rect">
                <a:avLst/>
              </a:prstGeom>
              <a:noFill/>
              <a:ln w="6350">
                <a:noFill/>
                <a:miter lim="800000"/>
                <a:headEnd/>
                <a:tailEnd/>
              </a:ln>
            </p:spPr>
            <p:txBody>
              <a:bodyPr wrap="none" lIns="0" tIns="0" rIns="0" bIns="0" anchor="ctr"/>
              <a:lstStyle/>
              <a:p>
                <a:pPr defTabSz="914004">
                  <a:spcBef>
                    <a:spcPct val="0"/>
                  </a:spcBef>
                </a:pPr>
                <a:r>
                  <a:rPr lang="en-US" sz="933" b="1" spc="-20" dirty="0">
                    <a:solidFill>
                      <a:srgbClr val="008272"/>
                    </a:solidFill>
                  </a:rPr>
                  <a:t>samd@contoso.com</a:t>
                </a:r>
              </a:p>
            </p:txBody>
          </p:sp>
          <p:sp>
            <p:nvSpPr>
              <p:cNvPr id="183" name="Rectangle 93"/>
              <p:cNvSpPr>
                <a:spLocks noChangeArrowheads="1"/>
              </p:cNvSpPr>
              <p:nvPr/>
            </p:nvSpPr>
            <p:spPr bwMode="auto">
              <a:xfrm>
                <a:off x="9507038" y="2416174"/>
                <a:ext cx="1243795" cy="155434"/>
              </a:xfrm>
              <a:prstGeom prst="rect">
                <a:avLst/>
              </a:prstGeom>
              <a:noFill/>
              <a:ln w="6350">
                <a:noFill/>
                <a:miter lim="800000"/>
                <a:headEnd/>
                <a:tailEnd/>
              </a:ln>
            </p:spPr>
            <p:txBody>
              <a:bodyPr wrap="none" lIns="0" tIns="0" rIns="0" bIns="0" anchor="ctr"/>
              <a:lstStyle/>
              <a:p>
                <a:pPr defTabSz="914004">
                  <a:spcBef>
                    <a:spcPct val="0"/>
                  </a:spcBef>
                </a:pPr>
                <a:r>
                  <a:rPr lang="en-US" sz="933" b="1" dirty="0">
                    <a:solidFill>
                      <a:srgbClr val="DC3C00">
                        <a:lumMod val="75000"/>
                      </a:srgbClr>
                    </a:solidFill>
                  </a:rPr>
                  <a:t>Samantha</a:t>
                </a:r>
              </a:p>
            </p:txBody>
          </p:sp>
          <p:sp>
            <p:nvSpPr>
              <p:cNvPr id="184" name="Rectangle 94"/>
              <p:cNvSpPr>
                <a:spLocks noChangeArrowheads="1"/>
              </p:cNvSpPr>
              <p:nvPr/>
            </p:nvSpPr>
            <p:spPr bwMode="auto">
              <a:xfrm>
                <a:off x="9507038" y="2571608"/>
                <a:ext cx="1243795" cy="155434"/>
              </a:xfrm>
              <a:prstGeom prst="rect">
                <a:avLst/>
              </a:prstGeom>
              <a:noFill/>
              <a:ln w="6350">
                <a:noFill/>
                <a:miter lim="800000"/>
                <a:headEnd/>
                <a:tailEnd/>
              </a:ln>
            </p:spPr>
            <p:txBody>
              <a:bodyPr wrap="none" lIns="0" tIns="0" rIns="0" bIns="0" anchor="ctr"/>
              <a:lstStyle/>
              <a:p>
                <a:pPr defTabSz="914004">
                  <a:spcBef>
                    <a:spcPct val="0"/>
                  </a:spcBef>
                </a:pPr>
                <a:r>
                  <a:rPr lang="en-US" sz="933" b="1" dirty="0">
                    <a:solidFill>
                      <a:srgbClr val="DC3C00">
                        <a:lumMod val="75000"/>
                      </a:srgbClr>
                    </a:solidFill>
                  </a:rPr>
                  <a:t>Dearing</a:t>
                </a:r>
              </a:p>
            </p:txBody>
          </p:sp>
          <p:sp>
            <p:nvSpPr>
              <p:cNvPr id="185" name="Rectangle 95"/>
              <p:cNvSpPr>
                <a:spLocks noChangeArrowheads="1"/>
              </p:cNvSpPr>
              <p:nvPr/>
            </p:nvSpPr>
            <p:spPr bwMode="auto">
              <a:xfrm>
                <a:off x="9507038" y="3037909"/>
                <a:ext cx="1243795" cy="155434"/>
              </a:xfrm>
              <a:prstGeom prst="rect">
                <a:avLst/>
              </a:prstGeom>
              <a:noFill/>
              <a:ln w="6350">
                <a:noFill/>
                <a:miter lim="800000"/>
                <a:headEnd/>
                <a:tailEnd/>
              </a:ln>
            </p:spPr>
            <p:txBody>
              <a:bodyPr wrap="none" lIns="0" tIns="0" rIns="0" bIns="0" anchor="ctr"/>
              <a:lstStyle/>
              <a:p>
                <a:pPr defTabSz="914004">
                  <a:spcBef>
                    <a:spcPct val="0"/>
                  </a:spcBef>
                </a:pPr>
                <a:r>
                  <a:rPr lang="en-US" sz="933" b="1" dirty="0">
                    <a:solidFill>
                      <a:srgbClr val="DC3C00">
                        <a:lumMod val="75000"/>
                      </a:srgbClr>
                    </a:solidFill>
                  </a:rPr>
                  <a:t>007</a:t>
                </a:r>
              </a:p>
            </p:txBody>
          </p:sp>
          <p:sp>
            <p:nvSpPr>
              <p:cNvPr id="186" name="Rectangle 96"/>
              <p:cNvSpPr>
                <a:spLocks noChangeArrowheads="1"/>
              </p:cNvSpPr>
              <p:nvPr/>
            </p:nvSpPr>
            <p:spPr bwMode="auto">
              <a:xfrm>
                <a:off x="9507038" y="2727042"/>
                <a:ext cx="1243795" cy="155434"/>
              </a:xfrm>
              <a:prstGeom prst="rect">
                <a:avLst/>
              </a:prstGeom>
              <a:noFill/>
              <a:ln w="6350">
                <a:noFill/>
                <a:miter lim="800000"/>
                <a:headEnd/>
                <a:tailEnd/>
              </a:ln>
            </p:spPr>
            <p:txBody>
              <a:bodyPr wrap="none" lIns="0" tIns="0" rIns="0" bIns="0" anchor="ctr"/>
              <a:lstStyle/>
              <a:p>
                <a:pPr defTabSz="914004">
                  <a:spcBef>
                    <a:spcPct val="0"/>
                  </a:spcBef>
                </a:pPr>
                <a:r>
                  <a:rPr lang="en-US" sz="933" b="1" dirty="0">
                    <a:solidFill>
                      <a:srgbClr val="68217A"/>
                    </a:solidFill>
                  </a:rPr>
                  <a:t>Coordinator</a:t>
                </a:r>
              </a:p>
            </p:txBody>
          </p:sp>
          <p:sp>
            <p:nvSpPr>
              <p:cNvPr id="187" name="Rectangle 97"/>
              <p:cNvSpPr>
                <a:spLocks noChangeArrowheads="1"/>
              </p:cNvSpPr>
              <p:nvPr/>
            </p:nvSpPr>
            <p:spPr bwMode="auto">
              <a:xfrm>
                <a:off x="9507038" y="3193343"/>
                <a:ext cx="1243795" cy="155434"/>
              </a:xfrm>
              <a:prstGeom prst="rect">
                <a:avLst/>
              </a:prstGeom>
              <a:noFill/>
              <a:ln w="6350">
                <a:noFill/>
                <a:miter lim="800000"/>
                <a:headEnd/>
                <a:tailEnd/>
              </a:ln>
            </p:spPr>
            <p:txBody>
              <a:bodyPr wrap="none" lIns="0" tIns="0" rIns="0" bIns="0" anchor="ctr"/>
              <a:lstStyle/>
              <a:p>
                <a:pPr defTabSz="914004">
                  <a:spcBef>
                    <a:spcPct val="0"/>
                  </a:spcBef>
                </a:pPr>
                <a:r>
                  <a:rPr lang="en-US" sz="933" b="1" dirty="0">
                    <a:solidFill>
                      <a:srgbClr val="DC3C00"/>
                    </a:solidFill>
                  </a:rPr>
                  <a:t>555-123-4567</a:t>
                </a:r>
              </a:p>
            </p:txBody>
          </p:sp>
        </p:grpSp>
        <p:sp>
          <p:nvSpPr>
            <p:cNvPr id="24" name="Rectangle 23"/>
            <p:cNvSpPr/>
            <p:nvPr/>
          </p:nvSpPr>
          <p:spPr bwMode="auto">
            <a:xfrm>
              <a:off x="5483322" y="2875401"/>
              <a:ext cx="1977255" cy="120364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22" name="Rectangle 121"/>
          <p:cNvSpPr/>
          <p:nvPr/>
        </p:nvSpPr>
        <p:spPr bwMode="auto">
          <a:xfrm>
            <a:off x="1552385" y="5838762"/>
            <a:ext cx="2930390" cy="434093"/>
          </a:xfrm>
          <a:prstGeom prst="rect">
            <a:avLst/>
          </a:prstGeom>
          <a:ln>
            <a:noFill/>
          </a:ln>
        </p:spPr>
        <p:txBody>
          <a:bodyPr vert="horz" wrap="square" lIns="0" tIns="0" rIns="0" bIns="0" rtlCol="0">
            <a:spAutoFit/>
          </a:bodyPr>
          <a:lstStyle/>
          <a:p>
            <a:pPr defTabSz="914004">
              <a:lnSpc>
                <a:spcPct val="90000"/>
              </a:lnSpc>
              <a:spcBef>
                <a:spcPts val="1175"/>
              </a:spcBef>
            </a:pPr>
            <a:r>
              <a:rPr lang="en-US" sz="1567" b="1" spc="-29" dirty="0">
                <a:solidFill>
                  <a:srgbClr val="008272"/>
                </a:solidFill>
              </a:rPr>
              <a:t>Identity attributes </a:t>
            </a:r>
            <a:r>
              <a:rPr lang="en-US" sz="1567" spc="-29" dirty="0">
                <a:solidFill>
                  <a:srgbClr val="505050"/>
                </a:solidFill>
              </a:rPr>
              <a:t>are often located in multiple repositories</a:t>
            </a:r>
          </a:p>
        </p:txBody>
      </p:sp>
      <p:sp>
        <p:nvSpPr>
          <p:cNvPr id="124" name="Rectangle 123"/>
          <p:cNvSpPr/>
          <p:nvPr/>
        </p:nvSpPr>
        <p:spPr bwMode="auto">
          <a:xfrm>
            <a:off x="4604005" y="1504807"/>
            <a:ext cx="3400862" cy="868186"/>
          </a:xfrm>
          <a:prstGeom prst="rect">
            <a:avLst/>
          </a:prstGeom>
          <a:ln>
            <a:noFill/>
          </a:ln>
        </p:spPr>
        <p:txBody>
          <a:bodyPr vert="horz" wrap="square" lIns="0" tIns="0" rIns="0" bIns="0" rtlCol="0">
            <a:spAutoFit/>
          </a:bodyPr>
          <a:lstStyle/>
          <a:p>
            <a:pPr defTabSz="914004">
              <a:lnSpc>
                <a:spcPct val="90000"/>
              </a:lnSpc>
              <a:spcBef>
                <a:spcPts val="1175"/>
              </a:spcBef>
            </a:pPr>
            <a:r>
              <a:rPr lang="en-US" sz="1567" b="1" spc="-29" dirty="0">
                <a:solidFill>
                  <a:srgbClr val="008272"/>
                </a:solidFill>
              </a:rPr>
              <a:t>Forefront Identity Manager </a:t>
            </a:r>
            <a:r>
              <a:rPr lang="en-US" sz="1567" spc="-29" dirty="0">
                <a:solidFill>
                  <a:srgbClr val="505050"/>
                </a:solidFill>
              </a:rPr>
              <a:t>creates a compilation of these attributes with validation and </a:t>
            </a:r>
            <a:r>
              <a:rPr lang="en-US" sz="1567" b="1" spc="-29" dirty="0">
                <a:solidFill>
                  <a:srgbClr val="008272"/>
                </a:solidFill>
              </a:rPr>
              <a:t>keeps this in sync with all identity realms</a:t>
            </a:r>
          </a:p>
        </p:txBody>
      </p:sp>
      <p:grpSp>
        <p:nvGrpSpPr>
          <p:cNvPr id="102" name="Group 26"/>
          <p:cNvGrpSpPr>
            <a:grpSpLocks noChangeAspect="1"/>
          </p:cNvGrpSpPr>
          <p:nvPr/>
        </p:nvGrpSpPr>
        <p:grpSpPr bwMode="auto">
          <a:xfrm>
            <a:off x="224811" y="3858777"/>
            <a:ext cx="641760" cy="739611"/>
            <a:chOff x="2607" y="739"/>
            <a:chExt cx="2466" cy="2842"/>
          </a:xfrm>
        </p:grpSpPr>
        <p:sp>
          <p:nvSpPr>
            <p:cNvPr id="104" name="AutoShape 25"/>
            <p:cNvSpPr>
              <a:spLocks noChangeAspect="1" noChangeArrowheads="1" noTextEdit="1"/>
            </p:cNvSpPr>
            <p:nvPr/>
          </p:nvSpPr>
          <p:spPr bwMode="auto">
            <a:xfrm>
              <a:off x="2607" y="739"/>
              <a:ext cx="2466" cy="2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sp>
          <p:nvSpPr>
            <p:cNvPr id="108" name="Freeform 27"/>
            <p:cNvSpPr>
              <a:spLocks noEditPoints="1"/>
            </p:cNvSpPr>
            <p:nvPr/>
          </p:nvSpPr>
          <p:spPr bwMode="auto">
            <a:xfrm>
              <a:off x="2607" y="1298"/>
              <a:ext cx="888" cy="1523"/>
            </a:xfrm>
            <a:custGeom>
              <a:avLst/>
              <a:gdLst>
                <a:gd name="T0" fmla="*/ 597 w 888"/>
                <a:gd name="T1" fmla="*/ 947 h 1523"/>
                <a:gd name="T2" fmla="*/ 396 w 888"/>
                <a:gd name="T3" fmla="*/ 931 h 1523"/>
                <a:gd name="T4" fmla="*/ 396 w 888"/>
                <a:gd name="T5" fmla="*/ 786 h 1523"/>
                <a:gd name="T6" fmla="*/ 568 w 888"/>
                <a:gd name="T7" fmla="*/ 791 h 1523"/>
                <a:gd name="T8" fmla="*/ 568 w 888"/>
                <a:gd name="T9" fmla="*/ 663 h 1523"/>
                <a:gd name="T10" fmla="*/ 396 w 888"/>
                <a:gd name="T11" fmla="*/ 658 h 1523"/>
                <a:gd name="T12" fmla="*/ 396 w 888"/>
                <a:gd name="T13" fmla="*/ 514 h 1523"/>
                <a:gd name="T14" fmla="*/ 604 w 888"/>
                <a:gd name="T15" fmla="*/ 514 h 1523"/>
                <a:gd name="T16" fmla="*/ 604 w 888"/>
                <a:gd name="T17" fmla="*/ 386 h 1523"/>
                <a:gd name="T18" fmla="*/ 258 w 888"/>
                <a:gd name="T19" fmla="*/ 410 h 1523"/>
                <a:gd name="T20" fmla="*/ 258 w 888"/>
                <a:gd name="T21" fmla="*/ 1044 h 1523"/>
                <a:gd name="T22" fmla="*/ 597 w 888"/>
                <a:gd name="T23" fmla="*/ 1085 h 1523"/>
                <a:gd name="T24" fmla="*/ 597 w 888"/>
                <a:gd name="T25" fmla="*/ 947 h 1523"/>
                <a:gd name="T26" fmla="*/ 888 w 888"/>
                <a:gd name="T27" fmla="*/ 1523 h 1523"/>
                <a:gd name="T28" fmla="*/ 0 w 888"/>
                <a:gd name="T29" fmla="*/ 1364 h 1523"/>
                <a:gd name="T30" fmla="*/ 0 w 888"/>
                <a:gd name="T31" fmla="*/ 159 h 1523"/>
                <a:gd name="T32" fmla="*/ 888 w 888"/>
                <a:gd name="T33" fmla="*/ 0 h 1523"/>
                <a:gd name="T34" fmla="*/ 888 w 888"/>
                <a:gd name="T35" fmla="*/ 1523 h 1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8" h="1523">
                  <a:moveTo>
                    <a:pt x="597" y="947"/>
                  </a:moveTo>
                  <a:lnTo>
                    <a:pt x="396" y="931"/>
                  </a:lnTo>
                  <a:lnTo>
                    <a:pt x="396" y="786"/>
                  </a:lnTo>
                  <a:lnTo>
                    <a:pt x="568" y="791"/>
                  </a:lnTo>
                  <a:lnTo>
                    <a:pt x="568" y="663"/>
                  </a:lnTo>
                  <a:lnTo>
                    <a:pt x="396" y="658"/>
                  </a:lnTo>
                  <a:lnTo>
                    <a:pt x="396" y="514"/>
                  </a:lnTo>
                  <a:lnTo>
                    <a:pt x="604" y="514"/>
                  </a:lnTo>
                  <a:lnTo>
                    <a:pt x="604" y="386"/>
                  </a:lnTo>
                  <a:lnTo>
                    <a:pt x="258" y="410"/>
                  </a:lnTo>
                  <a:lnTo>
                    <a:pt x="258" y="1044"/>
                  </a:lnTo>
                  <a:lnTo>
                    <a:pt x="597" y="1085"/>
                  </a:lnTo>
                  <a:lnTo>
                    <a:pt x="597" y="947"/>
                  </a:lnTo>
                  <a:close/>
                  <a:moveTo>
                    <a:pt x="888" y="1523"/>
                  </a:moveTo>
                  <a:lnTo>
                    <a:pt x="0" y="1364"/>
                  </a:lnTo>
                  <a:lnTo>
                    <a:pt x="0" y="159"/>
                  </a:lnTo>
                  <a:lnTo>
                    <a:pt x="888" y="0"/>
                  </a:lnTo>
                  <a:lnTo>
                    <a:pt x="888" y="152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sp>
          <p:nvSpPr>
            <p:cNvPr id="109" name="Freeform 28"/>
            <p:cNvSpPr>
              <a:spLocks noEditPoints="1"/>
            </p:cNvSpPr>
            <p:nvPr/>
          </p:nvSpPr>
          <p:spPr bwMode="auto">
            <a:xfrm>
              <a:off x="3576" y="1606"/>
              <a:ext cx="616" cy="914"/>
            </a:xfrm>
            <a:custGeom>
              <a:avLst/>
              <a:gdLst>
                <a:gd name="T0" fmla="*/ 208 w 260"/>
                <a:gd name="T1" fmla="*/ 149 h 386"/>
                <a:gd name="T2" fmla="*/ 174 w 260"/>
                <a:gd name="T3" fmla="*/ 180 h 386"/>
                <a:gd name="T4" fmla="*/ 155 w 260"/>
                <a:gd name="T5" fmla="*/ 163 h 386"/>
                <a:gd name="T6" fmla="*/ 172 w 260"/>
                <a:gd name="T7" fmla="*/ 141 h 386"/>
                <a:gd name="T8" fmla="*/ 169 w 260"/>
                <a:gd name="T9" fmla="*/ 89 h 386"/>
                <a:gd name="T10" fmla="*/ 124 w 260"/>
                <a:gd name="T11" fmla="*/ 90 h 386"/>
                <a:gd name="T12" fmla="*/ 42 w 260"/>
                <a:gd name="T13" fmla="*/ 169 h 386"/>
                <a:gd name="T14" fmla="*/ 37 w 260"/>
                <a:gd name="T15" fmla="*/ 163 h 386"/>
                <a:gd name="T16" fmla="*/ 103 w 260"/>
                <a:gd name="T17" fmla="*/ 65 h 386"/>
                <a:gd name="T18" fmla="*/ 203 w 260"/>
                <a:gd name="T19" fmla="*/ 48 h 386"/>
                <a:gd name="T20" fmla="*/ 213 w 260"/>
                <a:gd name="T21" fmla="*/ 139 h 386"/>
                <a:gd name="T22" fmla="*/ 203 w 260"/>
                <a:gd name="T23" fmla="*/ 339 h 386"/>
                <a:gd name="T24" fmla="*/ 112 w 260"/>
                <a:gd name="T25" fmla="*/ 335 h 386"/>
                <a:gd name="T26" fmla="*/ 81 w 260"/>
                <a:gd name="T27" fmla="*/ 300 h 386"/>
                <a:gd name="T28" fmla="*/ 98 w 260"/>
                <a:gd name="T29" fmla="*/ 281 h 386"/>
                <a:gd name="T30" fmla="*/ 120 w 260"/>
                <a:gd name="T31" fmla="*/ 299 h 386"/>
                <a:gd name="T32" fmla="*/ 172 w 260"/>
                <a:gd name="T33" fmla="*/ 295 h 386"/>
                <a:gd name="T34" fmla="*/ 171 w 260"/>
                <a:gd name="T35" fmla="*/ 250 h 386"/>
                <a:gd name="T36" fmla="*/ 91 w 260"/>
                <a:gd name="T37" fmla="*/ 168 h 386"/>
                <a:gd name="T38" fmla="*/ 98 w 260"/>
                <a:gd name="T39" fmla="*/ 163 h 386"/>
                <a:gd name="T40" fmla="*/ 196 w 260"/>
                <a:gd name="T41" fmla="*/ 229 h 386"/>
                <a:gd name="T42" fmla="*/ 213 w 260"/>
                <a:gd name="T43" fmla="*/ 329 h 386"/>
                <a:gd name="T44" fmla="*/ 0 w 260"/>
                <a:gd name="T45" fmla="*/ 0 h 386"/>
                <a:gd name="T46" fmla="*/ 13 w 260"/>
                <a:gd name="T47" fmla="*/ 48 h 386"/>
                <a:gd name="T48" fmla="*/ 54 w 260"/>
                <a:gd name="T49" fmla="*/ 82 h 386"/>
                <a:gd name="T50" fmla="*/ 40 w 260"/>
                <a:gd name="T51" fmla="*/ 106 h 386"/>
                <a:gd name="T52" fmla="*/ 20 w 260"/>
                <a:gd name="T53" fmla="*/ 90 h 386"/>
                <a:gd name="T54" fmla="*/ 0 w 260"/>
                <a:gd name="T55" fmla="*/ 89 h 386"/>
                <a:gd name="T56" fmla="*/ 43 w 260"/>
                <a:gd name="T57" fmla="*/ 216 h 386"/>
                <a:gd name="T58" fmla="*/ 40 w 260"/>
                <a:gd name="T59" fmla="*/ 222 h 386"/>
                <a:gd name="T60" fmla="*/ 13 w 260"/>
                <a:gd name="T61" fmla="*/ 211 h 386"/>
                <a:gd name="T62" fmla="*/ 0 w 260"/>
                <a:gd name="T63" fmla="*/ 299 h 386"/>
                <a:gd name="T64" fmla="*/ 11 w 260"/>
                <a:gd name="T65" fmla="*/ 297 h 386"/>
                <a:gd name="T66" fmla="*/ 93 w 260"/>
                <a:gd name="T67" fmla="*/ 218 h 386"/>
                <a:gd name="T68" fmla="*/ 98 w 260"/>
                <a:gd name="T69" fmla="*/ 224 h 386"/>
                <a:gd name="T70" fmla="*/ 31 w 260"/>
                <a:gd name="T71" fmla="*/ 323 h 386"/>
                <a:gd name="T72" fmla="*/ 0 w 260"/>
                <a:gd name="T73" fmla="*/ 339 h 386"/>
                <a:gd name="T74" fmla="*/ 230 w 260"/>
                <a:gd name="T75" fmla="*/ 386 h 386"/>
                <a:gd name="T76" fmla="*/ 260 w 260"/>
                <a:gd name="T77" fmla="*/ 3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0" h="386">
                  <a:moveTo>
                    <a:pt x="213" y="139"/>
                  </a:moveTo>
                  <a:cubicBezTo>
                    <a:pt x="213" y="144"/>
                    <a:pt x="211" y="146"/>
                    <a:pt x="208" y="149"/>
                  </a:cubicBezTo>
                  <a:cubicBezTo>
                    <a:pt x="206" y="151"/>
                    <a:pt x="179" y="180"/>
                    <a:pt x="179" y="180"/>
                  </a:cubicBezTo>
                  <a:cubicBezTo>
                    <a:pt x="178" y="181"/>
                    <a:pt x="175" y="181"/>
                    <a:pt x="174" y="180"/>
                  </a:cubicBezTo>
                  <a:cubicBezTo>
                    <a:pt x="155" y="167"/>
                    <a:pt x="155" y="167"/>
                    <a:pt x="155" y="167"/>
                  </a:cubicBezTo>
                  <a:cubicBezTo>
                    <a:pt x="154" y="166"/>
                    <a:pt x="154" y="164"/>
                    <a:pt x="155" y="163"/>
                  </a:cubicBezTo>
                  <a:cubicBezTo>
                    <a:pt x="171" y="146"/>
                    <a:pt x="171" y="146"/>
                    <a:pt x="171" y="146"/>
                  </a:cubicBezTo>
                  <a:cubicBezTo>
                    <a:pt x="172" y="145"/>
                    <a:pt x="172" y="142"/>
                    <a:pt x="172" y="141"/>
                  </a:cubicBezTo>
                  <a:cubicBezTo>
                    <a:pt x="172" y="92"/>
                    <a:pt x="172" y="92"/>
                    <a:pt x="172" y="92"/>
                  </a:cubicBezTo>
                  <a:cubicBezTo>
                    <a:pt x="172" y="90"/>
                    <a:pt x="171" y="89"/>
                    <a:pt x="169" y="89"/>
                  </a:cubicBezTo>
                  <a:cubicBezTo>
                    <a:pt x="132" y="89"/>
                    <a:pt x="132" y="89"/>
                    <a:pt x="132" y="89"/>
                  </a:cubicBezTo>
                  <a:cubicBezTo>
                    <a:pt x="130" y="89"/>
                    <a:pt x="125" y="89"/>
                    <a:pt x="124" y="90"/>
                  </a:cubicBezTo>
                  <a:cubicBezTo>
                    <a:pt x="115" y="97"/>
                    <a:pt x="45" y="169"/>
                    <a:pt x="45" y="169"/>
                  </a:cubicBezTo>
                  <a:cubicBezTo>
                    <a:pt x="45" y="170"/>
                    <a:pt x="42" y="170"/>
                    <a:pt x="42" y="169"/>
                  </a:cubicBezTo>
                  <a:cubicBezTo>
                    <a:pt x="38" y="166"/>
                    <a:pt x="38" y="166"/>
                    <a:pt x="38" y="166"/>
                  </a:cubicBezTo>
                  <a:cubicBezTo>
                    <a:pt x="38" y="166"/>
                    <a:pt x="36" y="164"/>
                    <a:pt x="37" y="163"/>
                  </a:cubicBezTo>
                  <a:cubicBezTo>
                    <a:pt x="37" y="161"/>
                    <a:pt x="43" y="150"/>
                    <a:pt x="49" y="139"/>
                  </a:cubicBezTo>
                  <a:cubicBezTo>
                    <a:pt x="63" y="116"/>
                    <a:pt x="87" y="84"/>
                    <a:pt x="103" y="65"/>
                  </a:cubicBezTo>
                  <a:cubicBezTo>
                    <a:pt x="113" y="53"/>
                    <a:pt x="118" y="48"/>
                    <a:pt x="125" y="48"/>
                  </a:cubicBezTo>
                  <a:cubicBezTo>
                    <a:pt x="203" y="48"/>
                    <a:pt x="203" y="48"/>
                    <a:pt x="203" y="48"/>
                  </a:cubicBezTo>
                  <a:cubicBezTo>
                    <a:pt x="209" y="48"/>
                    <a:pt x="213" y="52"/>
                    <a:pt x="213" y="58"/>
                  </a:cubicBezTo>
                  <a:lnTo>
                    <a:pt x="213" y="139"/>
                  </a:lnTo>
                  <a:close/>
                  <a:moveTo>
                    <a:pt x="213" y="329"/>
                  </a:moveTo>
                  <a:cubicBezTo>
                    <a:pt x="213" y="335"/>
                    <a:pt x="209" y="339"/>
                    <a:pt x="203" y="339"/>
                  </a:cubicBezTo>
                  <a:cubicBezTo>
                    <a:pt x="121" y="339"/>
                    <a:pt x="121" y="339"/>
                    <a:pt x="121" y="339"/>
                  </a:cubicBezTo>
                  <a:cubicBezTo>
                    <a:pt x="116" y="339"/>
                    <a:pt x="115" y="337"/>
                    <a:pt x="112" y="335"/>
                  </a:cubicBezTo>
                  <a:cubicBezTo>
                    <a:pt x="110" y="332"/>
                    <a:pt x="81" y="305"/>
                    <a:pt x="81" y="305"/>
                  </a:cubicBezTo>
                  <a:cubicBezTo>
                    <a:pt x="80" y="305"/>
                    <a:pt x="80" y="302"/>
                    <a:pt x="81" y="300"/>
                  </a:cubicBezTo>
                  <a:cubicBezTo>
                    <a:pt x="94" y="281"/>
                    <a:pt x="94" y="281"/>
                    <a:pt x="94" y="281"/>
                  </a:cubicBezTo>
                  <a:cubicBezTo>
                    <a:pt x="95" y="280"/>
                    <a:pt x="96" y="280"/>
                    <a:pt x="98" y="281"/>
                  </a:cubicBezTo>
                  <a:cubicBezTo>
                    <a:pt x="114" y="297"/>
                    <a:pt x="114" y="297"/>
                    <a:pt x="114" y="297"/>
                  </a:cubicBezTo>
                  <a:cubicBezTo>
                    <a:pt x="115" y="298"/>
                    <a:pt x="118" y="299"/>
                    <a:pt x="120" y="299"/>
                  </a:cubicBezTo>
                  <a:cubicBezTo>
                    <a:pt x="169" y="299"/>
                    <a:pt x="169" y="299"/>
                    <a:pt x="169" y="299"/>
                  </a:cubicBezTo>
                  <a:cubicBezTo>
                    <a:pt x="171" y="299"/>
                    <a:pt x="172" y="297"/>
                    <a:pt x="172" y="295"/>
                  </a:cubicBezTo>
                  <a:cubicBezTo>
                    <a:pt x="172" y="258"/>
                    <a:pt x="172" y="258"/>
                    <a:pt x="172" y="258"/>
                  </a:cubicBezTo>
                  <a:cubicBezTo>
                    <a:pt x="172" y="256"/>
                    <a:pt x="172" y="251"/>
                    <a:pt x="171" y="250"/>
                  </a:cubicBezTo>
                  <a:cubicBezTo>
                    <a:pt x="163" y="242"/>
                    <a:pt x="91" y="172"/>
                    <a:pt x="91" y="172"/>
                  </a:cubicBezTo>
                  <a:cubicBezTo>
                    <a:pt x="90" y="171"/>
                    <a:pt x="91" y="169"/>
                    <a:pt x="91" y="168"/>
                  </a:cubicBezTo>
                  <a:cubicBezTo>
                    <a:pt x="94" y="165"/>
                    <a:pt x="94" y="165"/>
                    <a:pt x="94" y="165"/>
                  </a:cubicBezTo>
                  <a:cubicBezTo>
                    <a:pt x="95" y="164"/>
                    <a:pt x="97" y="163"/>
                    <a:pt x="98" y="163"/>
                  </a:cubicBezTo>
                  <a:cubicBezTo>
                    <a:pt x="99" y="163"/>
                    <a:pt x="111" y="169"/>
                    <a:pt x="122" y="176"/>
                  </a:cubicBezTo>
                  <a:cubicBezTo>
                    <a:pt x="145" y="189"/>
                    <a:pt x="177" y="213"/>
                    <a:pt x="196" y="229"/>
                  </a:cubicBezTo>
                  <a:cubicBezTo>
                    <a:pt x="208" y="239"/>
                    <a:pt x="213" y="245"/>
                    <a:pt x="213" y="251"/>
                  </a:cubicBezTo>
                  <a:cubicBezTo>
                    <a:pt x="213" y="329"/>
                    <a:pt x="213" y="329"/>
                    <a:pt x="213" y="329"/>
                  </a:cubicBezTo>
                  <a:close/>
                  <a:moveTo>
                    <a:pt x="230" y="0"/>
                  </a:moveTo>
                  <a:cubicBezTo>
                    <a:pt x="0" y="0"/>
                    <a:pt x="0" y="0"/>
                    <a:pt x="0" y="0"/>
                  </a:cubicBezTo>
                  <a:cubicBezTo>
                    <a:pt x="0" y="48"/>
                    <a:pt x="0" y="48"/>
                    <a:pt x="0" y="48"/>
                  </a:cubicBezTo>
                  <a:cubicBezTo>
                    <a:pt x="13" y="48"/>
                    <a:pt x="13" y="48"/>
                    <a:pt x="13" y="48"/>
                  </a:cubicBezTo>
                  <a:cubicBezTo>
                    <a:pt x="18" y="48"/>
                    <a:pt x="20" y="50"/>
                    <a:pt x="22" y="52"/>
                  </a:cubicBezTo>
                  <a:cubicBezTo>
                    <a:pt x="25" y="55"/>
                    <a:pt x="54" y="82"/>
                    <a:pt x="54" y="82"/>
                  </a:cubicBezTo>
                  <a:cubicBezTo>
                    <a:pt x="54" y="82"/>
                    <a:pt x="55" y="85"/>
                    <a:pt x="54" y="87"/>
                  </a:cubicBezTo>
                  <a:cubicBezTo>
                    <a:pt x="40" y="106"/>
                    <a:pt x="40" y="106"/>
                    <a:pt x="40" y="106"/>
                  </a:cubicBezTo>
                  <a:cubicBezTo>
                    <a:pt x="39" y="107"/>
                    <a:pt x="38" y="107"/>
                    <a:pt x="37" y="106"/>
                  </a:cubicBezTo>
                  <a:cubicBezTo>
                    <a:pt x="20" y="90"/>
                    <a:pt x="20" y="90"/>
                    <a:pt x="20" y="90"/>
                  </a:cubicBezTo>
                  <a:cubicBezTo>
                    <a:pt x="19" y="89"/>
                    <a:pt x="16" y="89"/>
                    <a:pt x="15" y="89"/>
                  </a:cubicBezTo>
                  <a:cubicBezTo>
                    <a:pt x="0" y="89"/>
                    <a:pt x="0" y="89"/>
                    <a:pt x="0" y="89"/>
                  </a:cubicBezTo>
                  <a:cubicBezTo>
                    <a:pt x="0" y="173"/>
                    <a:pt x="0" y="173"/>
                    <a:pt x="0" y="173"/>
                  </a:cubicBezTo>
                  <a:cubicBezTo>
                    <a:pt x="21" y="194"/>
                    <a:pt x="43" y="216"/>
                    <a:pt x="43" y="216"/>
                  </a:cubicBezTo>
                  <a:cubicBezTo>
                    <a:pt x="44" y="216"/>
                    <a:pt x="44" y="219"/>
                    <a:pt x="43" y="219"/>
                  </a:cubicBezTo>
                  <a:cubicBezTo>
                    <a:pt x="40" y="222"/>
                    <a:pt x="40" y="222"/>
                    <a:pt x="40" y="222"/>
                  </a:cubicBezTo>
                  <a:cubicBezTo>
                    <a:pt x="39" y="223"/>
                    <a:pt x="38" y="224"/>
                    <a:pt x="37" y="224"/>
                  </a:cubicBezTo>
                  <a:cubicBezTo>
                    <a:pt x="35" y="224"/>
                    <a:pt x="23" y="218"/>
                    <a:pt x="13" y="211"/>
                  </a:cubicBezTo>
                  <a:cubicBezTo>
                    <a:pt x="9" y="209"/>
                    <a:pt x="4" y="206"/>
                    <a:pt x="0" y="203"/>
                  </a:cubicBezTo>
                  <a:cubicBezTo>
                    <a:pt x="0" y="299"/>
                    <a:pt x="0" y="299"/>
                    <a:pt x="0" y="299"/>
                  </a:cubicBezTo>
                  <a:cubicBezTo>
                    <a:pt x="2" y="299"/>
                    <a:pt x="2" y="299"/>
                    <a:pt x="2" y="299"/>
                  </a:cubicBezTo>
                  <a:cubicBezTo>
                    <a:pt x="4" y="299"/>
                    <a:pt x="9" y="298"/>
                    <a:pt x="11" y="297"/>
                  </a:cubicBezTo>
                  <a:cubicBezTo>
                    <a:pt x="19" y="290"/>
                    <a:pt x="89" y="218"/>
                    <a:pt x="89" y="218"/>
                  </a:cubicBezTo>
                  <a:cubicBezTo>
                    <a:pt x="90" y="217"/>
                    <a:pt x="92" y="217"/>
                    <a:pt x="93" y="218"/>
                  </a:cubicBezTo>
                  <a:cubicBezTo>
                    <a:pt x="96" y="221"/>
                    <a:pt x="96" y="221"/>
                    <a:pt x="96" y="221"/>
                  </a:cubicBezTo>
                  <a:cubicBezTo>
                    <a:pt x="97" y="221"/>
                    <a:pt x="98" y="223"/>
                    <a:pt x="98" y="224"/>
                  </a:cubicBezTo>
                  <a:cubicBezTo>
                    <a:pt x="97" y="226"/>
                    <a:pt x="91" y="237"/>
                    <a:pt x="85" y="248"/>
                  </a:cubicBezTo>
                  <a:cubicBezTo>
                    <a:pt x="71" y="272"/>
                    <a:pt x="47" y="304"/>
                    <a:pt x="31" y="323"/>
                  </a:cubicBezTo>
                  <a:cubicBezTo>
                    <a:pt x="22" y="334"/>
                    <a:pt x="16" y="339"/>
                    <a:pt x="10" y="339"/>
                  </a:cubicBezTo>
                  <a:cubicBezTo>
                    <a:pt x="0" y="339"/>
                    <a:pt x="0" y="339"/>
                    <a:pt x="0" y="339"/>
                  </a:cubicBezTo>
                  <a:cubicBezTo>
                    <a:pt x="0" y="386"/>
                    <a:pt x="0" y="386"/>
                    <a:pt x="0" y="386"/>
                  </a:cubicBezTo>
                  <a:cubicBezTo>
                    <a:pt x="230" y="386"/>
                    <a:pt x="230" y="386"/>
                    <a:pt x="230" y="386"/>
                  </a:cubicBezTo>
                  <a:cubicBezTo>
                    <a:pt x="248" y="386"/>
                    <a:pt x="260" y="373"/>
                    <a:pt x="260" y="356"/>
                  </a:cubicBezTo>
                  <a:cubicBezTo>
                    <a:pt x="260" y="30"/>
                    <a:pt x="260" y="30"/>
                    <a:pt x="260" y="30"/>
                  </a:cubicBezTo>
                  <a:cubicBezTo>
                    <a:pt x="260" y="13"/>
                    <a:pt x="247" y="0"/>
                    <a:pt x="23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sp>
          <p:nvSpPr>
            <p:cNvPr id="114" name="Freeform 29"/>
            <p:cNvSpPr>
              <a:spLocks noEditPoints="1"/>
            </p:cNvSpPr>
            <p:nvPr/>
          </p:nvSpPr>
          <p:spPr bwMode="auto">
            <a:xfrm>
              <a:off x="3732" y="1258"/>
              <a:ext cx="1173" cy="194"/>
            </a:xfrm>
            <a:custGeom>
              <a:avLst/>
              <a:gdLst>
                <a:gd name="T0" fmla="*/ 0 w 495"/>
                <a:gd name="T1" fmla="*/ 76 h 82"/>
                <a:gd name="T2" fmla="*/ 37 w 495"/>
                <a:gd name="T3" fmla="*/ 82 h 82"/>
                <a:gd name="T4" fmla="*/ 495 w 495"/>
                <a:gd name="T5" fmla="*/ 82 h 82"/>
                <a:gd name="T6" fmla="*/ 495 w 495"/>
                <a:gd name="T7" fmla="*/ 0 h 82"/>
                <a:gd name="T8" fmla="*/ 0 w 495"/>
                <a:gd name="T9" fmla="*/ 0 h 82"/>
                <a:gd name="T10" fmla="*/ 0 w 495"/>
                <a:gd name="T11" fmla="*/ 76 h 82"/>
                <a:gd name="T12" fmla="*/ 21 w 495"/>
                <a:gd name="T13" fmla="*/ 21 h 82"/>
                <a:gd name="T14" fmla="*/ 475 w 495"/>
                <a:gd name="T15" fmla="*/ 21 h 82"/>
                <a:gd name="T16" fmla="*/ 475 w 495"/>
                <a:gd name="T17" fmla="*/ 61 h 82"/>
                <a:gd name="T18" fmla="*/ 21 w 495"/>
                <a:gd name="T19" fmla="*/ 61 h 82"/>
                <a:gd name="T20" fmla="*/ 21 w 495"/>
                <a:gd name="T21"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5" h="82">
                  <a:moveTo>
                    <a:pt x="0" y="76"/>
                  </a:moveTo>
                  <a:cubicBezTo>
                    <a:pt x="13" y="77"/>
                    <a:pt x="25" y="79"/>
                    <a:pt x="37" y="82"/>
                  </a:cubicBezTo>
                  <a:cubicBezTo>
                    <a:pt x="495" y="82"/>
                    <a:pt x="495" y="82"/>
                    <a:pt x="495" y="82"/>
                  </a:cubicBezTo>
                  <a:cubicBezTo>
                    <a:pt x="495" y="0"/>
                    <a:pt x="495" y="0"/>
                    <a:pt x="495" y="0"/>
                  </a:cubicBezTo>
                  <a:cubicBezTo>
                    <a:pt x="0" y="0"/>
                    <a:pt x="0" y="0"/>
                    <a:pt x="0" y="0"/>
                  </a:cubicBezTo>
                  <a:lnTo>
                    <a:pt x="0" y="76"/>
                  </a:lnTo>
                  <a:close/>
                  <a:moveTo>
                    <a:pt x="21" y="21"/>
                  </a:moveTo>
                  <a:cubicBezTo>
                    <a:pt x="475" y="21"/>
                    <a:pt x="475" y="21"/>
                    <a:pt x="475" y="21"/>
                  </a:cubicBezTo>
                  <a:cubicBezTo>
                    <a:pt x="475" y="61"/>
                    <a:pt x="475" y="61"/>
                    <a:pt x="475" y="61"/>
                  </a:cubicBezTo>
                  <a:cubicBezTo>
                    <a:pt x="21" y="61"/>
                    <a:pt x="21" y="61"/>
                    <a:pt x="21" y="61"/>
                  </a:cubicBezTo>
                  <a:lnTo>
                    <a:pt x="21" y="21"/>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sp>
          <p:nvSpPr>
            <p:cNvPr id="115" name="Freeform 30"/>
            <p:cNvSpPr>
              <a:spLocks/>
            </p:cNvSpPr>
            <p:nvPr/>
          </p:nvSpPr>
          <p:spPr bwMode="auto">
            <a:xfrm>
              <a:off x="3569" y="737"/>
              <a:ext cx="1502" cy="2846"/>
            </a:xfrm>
            <a:custGeom>
              <a:avLst/>
              <a:gdLst>
                <a:gd name="T0" fmla="*/ 632 w 634"/>
                <a:gd name="T1" fmla="*/ 65 h 1202"/>
                <a:gd name="T2" fmla="*/ 626 w 634"/>
                <a:gd name="T3" fmla="*/ 50 h 1202"/>
                <a:gd name="T4" fmla="*/ 617 w 634"/>
                <a:gd name="T5" fmla="*/ 35 h 1202"/>
                <a:gd name="T6" fmla="*/ 601 w 634"/>
                <a:gd name="T7" fmla="*/ 20 h 1202"/>
                <a:gd name="T8" fmla="*/ 584 w 634"/>
                <a:gd name="T9" fmla="*/ 10 h 1202"/>
                <a:gd name="T10" fmla="*/ 568 w 634"/>
                <a:gd name="T11" fmla="*/ 4 h 1202"/>
                <a:gd name="T12" fmla="*/ 550 w 634"/>
                <a:gd name="T13" fmla="*/ 1 h 1202"/>
                <a:gd name="T14" fmla="*/ 84 w 634"/>
                <a:gd name="T15" fmla="*/ 1 h 1202"/>
                <a:gd name="T16" fmla="*/ 66 w 634"/>
                <a:gd name="T17" fmla="*/ 4 h 1202"/>
                <a:gd name="T18" fmla="*/ 49 w 634"/>
                <a:gd name="T19" fmla="*/ 10 h 1202"/>
                <a:gd name="T20" fmla="*/ 33 w 634"/>
                <a:gd name="T21" fmla="*/ 20 h 1202"/>
                <a:gd name="T22" fmla="*/ 17 w 634"/>
                <a:gd name="T23" fmla="*/ 35 h 1202"/>
                <a:gd name="T24" fmla="*/ 7 w 634"/>
                <a:gd name="T25" fmla="*/ 50 h 1202"/>
                <a:gd name="T26" fmla="*/ 2 w 634"/>
                <a:gd name="T27" fmla="*/ 65 h 1202"/>
                <a:gd name="T28" fmla="*/ 0 w 634"/>
                <a:gd name="T29" fmla="*/ 82 h 1202"/>
                <a:gd name="T30" fmla="*/ 21 w 634"/>
                <a:gd name="T31" fmla="*/ 82 h 1202"/>
                <a:gd name="T32" fmla="*/ 24 w 634"/>
                <a:gd name="T33" fmla="*/ 64 h 1202"/>
                <a:gd name="T34" fmla="*/ 32 w 634"/>
                <a:gd name="T35" fmla="*/ 50 h 1202"/>
                <a:gd name="T36" fmla="*/ 47 w 634"/>
                <a:gd name="T37" fmla="*/ 35 h 1202"/>
                <a:gd name="T38" fmla="*/ 63 w 634"/>
                <a:gd name="T39" fmla="*/ 27 h 1202"/>
                <a:gd name="T40" fmla="*/ 86 w 634"/>
                <a:gd name="T41" fmla="*/ 22 h 1202"/>
                <a:gd name="T42" fmla="*/ 548 w 634"/>
                <a:gd name="T43" fmla="*/ 22 h 1202"/>
                <a:gd name="T44" fmla="*/ 571 w 634"/>
                <a:gd name="T45" fmla="*/ 27 h 1202"/>
                <a:gd name="T46" fmla="*/ 587 w 634"/>
                <a:gd name="T47" fmla="*/ 35 h 1202"/>
                <a:gd name="T48" fmla="*/ 602 w 634"/>
                <a:gd name="T49" fmla="*/ 50 h 1202"/>
                <a:gd name="T50" fmla="*/ 610 w 634"/>
                <a:gd name="T51" fmla="*/ 64 h 1202"/>
                <a:gd name="T52" fmla="*/ 612 w 634"/>
                <a:gd name="T53" fmla="*/ 82 h 1202"/>
                <a:gd name="T54" fmla="*/ 611 w 634"/>
                <a:gd name="T55" fmla="*/ 1133 h 1202"/>
                <a:gd name="T56" fmla="*/ 604 w 634"/>
                <a:gd name="T57" fmla="*/ 1150 h 1202"/>
                <a:gd name="T58" fmla="*/ 592 w 634"/>
                <a:gd name="T59" fmla="*/ 1163 h 1202"/>
                <a:gd name="T60" fmla="*/ 576 w 634"/>
                <a:gd name="T61" fmla="*/ 1173 h 1202"/>
                <a:gd name="T62" fmla="*/ 556 w 634"/>
                <a:gd name="T63" fmla="*/ 1180 h 1202"/>
                <a:gd name="T64" fmla="*/ 92 w 634"/>
                <a:gd name="T65" fmla="*/ 1181 h 1202"/>
                <a:gd name="T66" fmla="*/ 70 w 634"/>
                <a:gd name="T67" fmla="*/ 1178 h 1202"/>
                <a:gd name="T68" fmla="*/ 51 w 634"/>
                <a:gd name="T69" fmla="*/ 1170 h 1202"/>
                <a:gd name="T70" fmla="*/ 37 w 634"/>
                <a:gd name="T71" fmla="*/ 1158 h 1202"/>
                <a:gd name="T72" fmla="*/ 27 w 634"/>
                <a:gd name="T73" fmla="*/ 1144 h 1202"/>
                <a:gd name="T74" fmla="*/ 22 w 634"/>
                <a:gd name="T75" fmla="*/ 1126 h 1202"/>
                <a:gd name="T76" fmla="*/ 0 w 634"/>
                <a:gd name="T77" fmla="*/ 821 h 1202"/>
                <a:gd name="T78" fmla="*/ 1 w 634"/>
                <a:gd name="T79" fmla="*/ 1130 h 1202"/>
                <a:gd name="T80" fmla="*/ 4 w 634"/>
                <a:gd name="T81" fmla="*/ 1146 h 1202"/>
                <a:gd name="T82" fmla="*/ 13 w 634"/>
                <a:gd name="T83" fmla="*/ 1162 h 1202"/>
                <a:gd name="T84" fmla="*/ 27 w 634"/>
                <a:gd name="T85" fmla="*/ 1178 h 1202"/>
                <a:gd name="T86" fmla="*/ 42 w 634"/>
                <a:gd name="T87" fmla="*/ 1189 h 1202"/>
                <a:gd name="T88" fmla="*/ 58 w 634"/>
                <a:gd name="T89" fmla="*/ 1196 h 1202"/>
                <a:gd name="T90" fmla="*/ 82 w 634"/>
                <a:gd name="T91" fmla="*/ 1202 h 1202"/>
                <a:gd name="T92" fmla="*/ 542 w 634"/>
                <a:gd name="T93" fmla="*/ 1202 h 1202"/>
                <a:gd name="T94" fmla="*/ 560 w 634"/>
                <a:gd name="T95" fmla="*/ 1200 h 1202"/>
                <a:gd name="T96" fmla="*/ 578 w 634"/>
                <a:gd name="T97" fmla="*/ 1195 h 1202"/>
                <a:gd name="T98" fmla="*/ 598 w 634"/>
                <a:gd name="T99" fmla="*/ 1185 h 1202"/>
                <a:gd name="T100" fmla="*/ 612 w 634"/>
                <a:gd name="T101" fmla="*/ 1173 h 1202"/>
                <a:gd name="T102" fmla="*/ 623 w 634"/>
                <a:gd name="T103" fmla="*/ 1159 h 1202"/>
                <a:gd name="T104" fmla="*/ 630 w 634"/>
                <a:gd name="T105" fmla="*/ 1144 h 1202"/>
                <a:gd name="T106" fmla="*/ 633 w 634"/>
                <a:gd name="T107" fmla="*/ 1128 h 1202"/>
                <a:gd name="T108" fmla="*/ 633 w 634"/>
                <a:gd name="T109" fmla="*/ 74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4" h="1202">
                  <a:moveTo>
                    <a:pt x="633" y="74"/>
                  </a:moveTo>
                  <a:cubicBezTo>
                    <a:pt x="633" y="72"/>
                    <a:pt x="633" y="72"/>
                    <a:pt x="633" y="72"/>
                  </a:cubicBezTo>
                  <a:cubicBezTo>
                    <a:pt x="632" y="65"/>
                    <a:pt x="632" y="65"/>
                    <a:pt x="632" y="65"/>
                  </a:cubicBezTo>
                  <a:cubicBezTo>
                    <a:pt x="630" y="58"/>
                    <a:pt x="630" y="58"/>
                    <a:pt x="630" y="58"/>
                  </a:cubicBezTo>
                  <a:cubicBezTo>
                    <a:pt x="629" y="56"/>
                    <a:pt x="629" y="56"/>
                    <a:pt x="629" y="56"/>
                  </a:cubicBezTo>
                  <a:cubicBezTo>
                    <a:pt x="626" y="50"/>
                    <a:pt x="626" y="50"/>
                    <a:pt x="626" y="50"/>
                  </a:cubicBezTo>
                  <a:cubicBezTo>
                    <a:pt x="623" y="44"/>
                    <a:pt x="623" y="44"/>
                    <a:pt x="623" y="44"/>
                  </a:cubicBezTo>
                  <a:cubicBezTo>
                    <a:pt x="621" y="40"/>
                    <a:pt x="621" y="40"/>
                    <a:pt x="621" y="40"/>
                  </a:cubicBezTo>
                  <a:cubicBezTo>
                    <a:pt x="617" y="35"/>
                    <a:pt x="617" y="35"/>
                    <a:pt x="617" y="35"/>
                  </a:cubicBezTo>
                  <a:cubicBezTo>
                    <a:pt x="612" y="29"/>
                    <a:pt x="612" y="29"/>
                    <a:pt x="612" y="29"/>
                  </a:cubicBezTo>
                  <a:cubicBezTo>
                    <a:pt x="607" y="24"/>
                    <a:pt x="607" y="24"/>
                    <a:pt x="607" y="24"/>
                  </a:cubicBezTo>
                  <a:cubicBezTo>
                    <a:pt x="601" y="20"/>
                    <a:pt x="601" y="20"/>
                    <a:pt x="601" y="20"/>
                  </a:cubicBezTo>
                  <a:cubicBezTo>
                    <a:pt x="598" y="17"/>
                    <a:pt x="598" y="17"/>
                    <a:pt x="598" y="17"/>
                  </a:cubicBezTo>
                  <a:cubicBezTo>
                    <a:pt x="592" y="13"/>
                    <a:pt x="592" y="13"/>
                    <a:pt x="592" y="13"/>
                  </a:cubicBezTo>
                  <a:cubicBezTo>
                    <a:pt x="584" y="10"/>
                    <a:pt x="584" y="10"/>
                    <a:pt x="584" y="10"/>
                  </a:cubicBezTo>
                  <a:cubicBezTo>
                    <a:pt x="578" y="7"/>
                    <a:pt x="578" y="7"/>
                    <a:pt x="578" y="7"/>
                  </a:cubicBezTo>
                  <a:cubicBezTo>
                    <a:pt x="575" y="6"/>
                    <a:pt x="575" y="6"/>
                    <a:pt x="575" y="6"/>
                  </a:cubicBezTo>
                  <a:cubicBezTo>
                    <a:pt x="568" y="4"/>
                    <a:pt x="568" y="4"/>
                    <a:pt x="568" y="4"/>
                  </a:cubicBezTo>
                  <a:cubicBezTo>
                    <a:pt x="560" y="2"/>
                    <a:pt x="560" y="2"/>
                    <a:pt x="560" y="2"/>
                  </a:cubicBezTo>
                  <a:cubicBezTo>
                    <a:pt x="552" y="1"/>
                    <a:pt x="552" y="1"/>
                    <a:pt x="552" y="1"/>
                  </a:cubicBezTo>
                  <a:cubicBezTo>
                    <a:pt x="550" y="1"/>
                    <a:pt x="550" y="1"/>
                    <a:pt x="550" y="1"/>
                  </a:cubicBezTo>
                  <a:cubicBezTo>
                    <a:pt x="542" y="0"/>
                    <a:pt x="542" y="0"/>
                    <a:pt x="542" y="0"/>
                  </a:cubicBezTo>
                  <a:cubicBezTo>
                    <a:pt x="92" y="0"/>
                    <a:pt x="92" y="0"/>
                    <a:pt x="92" y="0"/>
                  </a:cubicBezTo>
                  <a:cubicBezTo>
                    <a:pt x="84" y="1"/>
                    <a:pt x="84" y="1"/>
                    <a:pt x="84" y="1"/>
                  </a:cubicBezTo>
                  <a:cubicBezTo>
                    <a:pt x="82" y="1"/>
                    <a:pt x="82" y="1"/>
                    <a:pt x="82" y="1"/>
                  </a:cubicBezTo>
                  <a:cubicBezTo>
                    <a:pt x="74" y="2"/>
                    <a:pt x="74" y="2"/>
                    <a:pt x="74" y="2"/>
                  </a:cubicBezTo>
                  <a:cubicBezTo>
                    <a:pt x="66" y="4"/>
                    <a:pt x="66" y="4"/>
                    <a:pt x="66" y="4"/>
                  </a:cubicBezTo>
                  <a:cubicBezTo>
                    <a:pt x="58" y="6"/>
                    <a:pt x="58" y="6"/>
                    <a:pt x="58" y="6"/>
                  </a:cubicBezTo>
                  <a:cubicBezTo>
                    <a:pt x="56" y="7"/>
                    <a:pt x="56" y="7"/>
                    <a:pt x="56" y="7"/>
                  </a:cubicBezTo>
                  <a:cubicBezTo>
                    <a:pt x="49" y="10"/>
                    <a:pt x="49" y="10"/>
                    <a:pt x="49" y="10"/>
                  </a:cubicBezTo>
                  <a:cubicBezTo>
                    <a:pt x="42" y="13"/>
                    <a:pt x="42" y="13"/>
                    <a:pt x="42" y="13"/>
                  </a:cubicBezTo>
                  <a:cubicBezTo>
                    <a:pt x="36" y="17"/>
                    <a:pt x="36" y="17"/>
                    <a:pt x="36" y="17"/>
                  </a:cubicBezTo>
                  <a:cubicBezTo>
                    <a:pt x="33" y="20"/>
                    <a:pt x="33" y="20"/>
                    <a:pt x="33" y="20"/>
                  </a:cubicBezTo>
                  <a:cubicBezTo>
                    <a:pt x="27" y="24"/>
                    <a:pt x="27" y="24"/>
                    <a:pt x="27" y="24"/>
                  </a:cubicBezTo>
                  <a:cubicBezTo>
                    <a:pt x="22" y="29"/>
                    <a:pt x="22" y="29"/>
                    <a:pt x="22" y="29"/>
                  </a:cubicBezTo>
                  <a:cubicBezTo>
                    <a:pt x="17" y="35"/>
                    <a:pt x="17" y="35"/>
                    <a:pt x="17" y="35"/>
                  </a:cubicBezTo>
                  <a:cubicBezTo>
                    <a:pt x="13" y="40"/>
                    <a:pt x="13" y="40"/>
                    <a:pt x="13" y="40"/>
                  </a:cubicBezTo>
                  <a:cubicBezTo>
                    <a:pt x="11" y="44"/>
                    <a:pt x="11" y="44"/>
                    <a:pt x="11" y="44"/>
                  </a:cubicBezTo>
                  <a:cubicBezTo>
                    <a:pt x="7" y="50"/>
                    <a:pt x="7" y="50"/>
                    <a:pt x="7" y="50"/>
                  </a:cubicBezTo>
                  <a:cubicBezTo>
                    <a:pt x="4" y="56"/>
                    <a:pt x="4" y="56"/>
                    <a:pt x="4" y="56"/>
                  </a:cubicBezTo>
                  <a:cubicBezTo>
                    <a:pt x="4" y="58"/>
                    <a:pt x="4" y="58"/>
                    <a:pt x="4" y="58"/>
                  </a:cubicBezTo>
                  <a:cubicBezTo>
                    <a:pt x="2" y="65"/>
                    <a:pt x="2" y="65"/>
                    <a:pt x="2" y="65"/>
                  </a:cubicBezTo>
                  <a:cubicBezTo>
                    <a:pt x="1" y="72"/>
                    <a:pt x="1" y="72"/>
                    <a:pt x="1" y="72"/>
                  </a:cubicBezTo>
                  <a:cubicBezTo>
                    <a:pt x="1" y="74"/>
                    <a:pt x="1" y="74"/>
                    <a:pt x="1" y="74"/>
                  </a:cubicBezTo>
                  <a:cubicBezTo>
                    <a:pt x="0" y="82"/>
                    <a:pt x="0" y="82"/>
                    <a:pt x="0" y="82"/>
                  </a:cubicBezTo>
                  <a:cubicBezTo>
                    <a:pt x="0" y="297"/>
                    <a:pt x="0" y="297"/>
                    <a:pt x="0" y="297"/>
                  </a:cubicBezTo>
                  <a:cubicBezTo>
                    <a:pt x="7" y="296"/>
                    <a:pt x="14" y="295"/>
                    <a:pt x="21" y="295"/>
                  </a:cubicBezTo>
                  <a:cubicBezTo>
                    <a:pt x="21" y="82"/>
                    <a:pt x="21" y="82"/>
                    <a:pt x="21" y="82"/>
                  </a:cubicBezTo>
                  <a:cubicBezTo>
                    <a:pt x="22" y="76"/>
                    <a:pt x="22" y="76"/>
                    <a:pt x="22" y="76"/>
                  </a:cubicBezTo>
                  <a:cubicBezTo>
                    <a:pt x="23" y="70"/>
                    <a:pt x="23" y="70"/>
                    <a:pt x="23" y="70"/>
                  </a:cubicBezTo>
                  <a:cubicBezTo>
                    <a:pt x="24" y="64"/>
                    <a:pt x="24" y="64"/>
                    <a:pt x="24" y="64"/>
                  </a:cubicBezTo>
                  <a:cubicBezTo>
                    <a:pt x="27" y="58"/>
                    <a:pt x="27" y="58"/>
                    <a:pt x="27" y="58"/>
                  </a:cubicBezTo>
                  <a:cubicBezTo>
                    <a:pt x="30" y="53"/>
                    <a:pt x="30" y="53"/>
                    <a:pt x="30" y="53"/>
                  </a:cubicBezTo>
                  <a:cubicBezTo>
                    <a:pt x="32" y="50"/>
                    <a:pt x="32" y="50"/>
                    <a:pt x="32" y="50"/>
                  </a:cubicBezTo>
                  <a:cubicBezTo>
                    <a:pt x="37" y="44"/>
                    <a:pt x="37" y="44"/>
                    <a:pt x="37" y="44"/>
                  </a:cubicBezTo>
                  <a:cubicBezTo>
                    <a:pt x="42" y="39"/>
                    <a:pt x="42" y="39"/>
                    <a:pt x="42" y="39"/>
                  </a:cubicBezTo>
                  <a:cubicBezTo>
                    <a:pt x="47" y="35"/>
                    <a:pt x="47" y="35"/>
                    <a:pt x="47" y="35"/>
                  </a:cubicBezTo>
                  <a:cubicBezTo>
                    <a:pt x="51" y="33"/>
                    <a:pt x="51" y="33"/>
                    <a:pt x="51" y="33"/>
                  </a:cubicBezTo>
                  <a:cubicBezTo>
                    <a:pt x="58" y="29"/>
                    <a:pt x="58" y="29"/>
                    <a:pt x="58" y="29"/>
                  </a:cubicBezTo>
                  <a:cubicBezTo>
                    <a:pt x="63" y="27"/>
                    <a:pt x="63" y="27"/>
                    <a:pt x="63" y="27"/>
                  </a:cubicBezTo>
                  <a:cubicBezTo>
                    <a:pt x="70" y="24"/>
                    <a:pt x="70" y="24"/>
                    <a:pt x="70" y="24"/>
                  </a:cubicBezTo>
                  <a:cubicBezTo>
                    <a:pt x="78" y="22"/>
                    <a:pt x="78" y="22"/>
                    <a:pt x="78" y="22"/>
                  </a:cubicBezTo>
                  <a:cubicBezTo>
                    <a:pt x="86" y="22"/>
                    <a:pt x="86" y="22"/>
                    <a:pt x="86" y="22"/>
                  </a:cubicBezTo>
                  <a:cubicBezTo>
                    <a:pt x="92" y="21"/>
                    <a:pt x="92" y="21"/>
                    <a:pt x="92" y="21"/>
                  </a:cubicBezTo>
                  <a:cubicBezTo>
                    <a:pt x="542" y="21"/>
                    <a:pt x="542" y="21"/>
                    <a:pt x="542" y="21"/>
                  </a:cubicBezTo>
                  <a:cubicBezTo>
                    <a:pt x="548" y="22"/>
                    <a:pt x="548" y="22"/>
                    <a:pt x="548" y="22"/>
                  </a:cubicBezTo>
                  <a:cubicBezTo>
                    <a:pt x="556" y="22"/>
                    <a:pt x="556" y="22"/>
                    <a:pt x="556" y="22"/>
                  </a:cubicBezTo>
                  <a:cubicBezTo>
                    <a:pt x="564" y="24"/>
                    <a:pt x="564" y="24"/>
                    <a:pt x="564" y="24"/>
                  </a:cubicBezTo>
                  <a:cubicBezTo>
                    <a:pt x="571" y="27"/>
                    <a:pt x="571" y="27"/>
                    <a:pt x="571" y="27"/>
                  </a:cubicBezTo>
                  <a:cubicBezTo>
                    <a:pt x="576" y="29"/>
                    <a:pt x="576" y="29"/>
                    <a:pt x="576" y="29"/>
                  </a:cubicBezTo>
                  <a:cubicBezTo>
                    <a:pt x="583" y="33"/>
                    <a:pt x="583" y="33"/>
                    <a:pt x="583" y="33"/>
                  </a:cubicBezTo>
                  <a:cubicBezTo>
                    <a:pt x="587" y="35"/>
                    <a:pt x="587" y="35"/>
                    <a:pt x="587" y="35"/>
                  </a:cubicBezTo>
                  <a:cubicBezTo>
                    <a:pt x="592" y="39"/>
                    <a:pt x="592" y="39"/>
                    <a:pt x="592" y="39"/>
                  </a:cubicBezTo>
                  <a:cubicBezTo>
                    <a:pt x="597" y="44"/>
                    <a:pt x="597" y="44"/>
                    <a:pt x="597" y="44"/>
                  </a:cubicBezTo>
                  <a:cubicBezTo>
                    <a:pt x="602" y="50"/>
                    <a:pt x="602" y="50"/>
                    <a:pt x="602" y="50"/>
                  </a:cubicBezTo>
                  <a:cubicBezTo>
                    <a:pt x="604" y="52"/>
                    <a:pt x="604" y="52"/>
                    <a:pt x="604" y="52"/>
                  </a:cubicBezTo>
                  <a:cubicBezTo>
                    <a:pt x="607" y="58"/>
                    <a:pt x="607" y="58"/>
                    <a:pt x="607" y="58"/>
                  </a:cubicBezTo>
                  <a:cubicBezTo>
                    <a:pt x="610" y="64"/>
                    <a:pt x="610" y="64"/>
                    <a:pt x="610" y="64"/>
                  </a:cubicBezTo>
                  <a:cubicBezTo>
                    <a:pt x="611" y="70"/>
                    <a:pt x="611" y="70"/>
                    <a:pt x="611" y="70"/>
                  </a:cubicBezTo>
                  <a:cubicBezTo>
                    <a:pt x="612" y="76"/>
                    <a:pt x="612" y="76"/>
                    <a:pt x="612" y="76"/>
                  </a:cubicBezTo>
                  <a:cubicBezTo>
                    <a:pt x="612" y="82"/>
                    <a:pt x="612" y="82"/>
                    <a:pt x="612" y="82"/>
                  </a:cubicBezTo>
                  <a:cubicBezTo>
                    <a:pt x="612" y="1121"/>
                    <a:pt x="612" y="1121"/>
                    <a:pt x="612" y="1121"/>
                  </a:cubicBezTo>
                  <a:cubicBezTo>
                    <a:pt x="612" y="1126"/>
                    <a:pt x="612" y="1126"/>
                    <a:pt x="612" y="1126"/>
                  </a:cubicBezTo>
                  <a:cubicBezTo>
                    <a:pt x="611" y="1133"/>
                    <a:pt x="611" y="1133"/>
                    <a:pt x="611" y="1133"/>
                  </a:cubicBezTo>
                  <a:cubicBezTo>
                    <a:pt x="610" y="1138"/>
                    <a:pt x="610" y="1138"/>
                    <a:pt x="610" y="1138"/>
                  </a:cubicBezTo>
                  <a:cubicBezTo>
                    <a:pt x="607" y="1144"/>
                    <a:pt x="607" y="1144"/>
                    <a:pt x="607" y="1144"/>
                  </a:cubicBezTo>
                  <a:cubicBezTo>
                    <a:pt x="604" y="1150"/>
                    <a:pt x="604" y="1150"/>
                    <a:pt x="604" y="1150"/>
                  </a:cubicBezTo>
                  <a:cubicBezTo>
                    <a:pt x="602" y="1153"/>
                    <a:pt x="602" y="1153"/>
                    <a:pt x="602" y="1153"/>
                  </a:cubicBezTo>
                  <a:cubicBezTo>
                    <a:pt x="597" y="1158"/>
                    <a:pt x="597" y="1158"/>
                    <a:pt x="597" y="1158"/>
                  </a:cubicBezTo>
                  <a:cubicBezTo>
                    <a:pt x="592" y="1163"/>
                    <a:pt x="592" y="1163"/>
                    <a:pt x="592" y="1163"/>
                  </a:cubicBezTo>
                  <a:cubicBezTo>
                    <a:pt x="587" y="1167"/>
                    <a:pt x="587" y="1167"/>
                    <a:pt x="587" y="1167"/>
                  </a:cubicBezTo>
                  <a:cubicBezTo>
                    <a:pt x="583" y="1170"/>
                    <a:pt x="583" y="1170"/>
                    <a:pt x="583" y="1170"/>
                  </a:cubicBezTo>
                  <a:cubicBezTo>
                    <a:pt x="576" y="1173"/>
                    <a:pt x="576" y="1173"/>
                    <a:pt x="576" y="1173"/>
                  </a:cubicBezTo>
                  <a:cubicBezTo>
                    <a:pt x="571" y="1176"/>
                    <a:pt x="571" y="1176"/>
                    <a:pt x="571" y="1176"/>
                  </a:cubicBezTo>
                  <a:cubicBezTo>
                    <a:pt x="564" y="1178"/>
                    <a:pt x="564" y="1178"/>
                    <a:pt x="564" y="1178"/>
                  </a:cubicBezTo>
                  <a:cubicBezTo>
                    <a:pt x="556" y="1180"/>
                    <a:pt x="556" y="1180"/>
                    <a:pt x="556" y="1180"/>
                  </a:cubicBezTo>
                  <a:cubicBezTo>
                    <a:pt x="550" y="1180"/>
                    <a:pt x="550" y="1180"/>
                    <a:pt x="550" y="1180"/>
                  </a:cubicBezTo>
                  <a:cubicBezTo>
                    <a:pt x="542" y="1181"/>
                    <a:pt x="542" y="1181"/>
                    <a:pt x="542" y="1181"/>
                  </a:cubicBezTo>
                  <a:cubicBezTo>
                    <a:pt x="92" y="1181"/>
                    <a:pt x="92" y="1181"/>
                    <a:pt x="92" y="1181"/>
                  </a:cubicBezTo>
                  <a:cubicBezTo>
                    <a:pt x="84" y="1180"/>
                    <a:pt x="84" y="1180"/>
                    <a:pt x="84" y="1180"/>
                  </a:cubicBezTo>
                  <a:cubicBezTo>
                    <a:pt x="78" y="1180"/>
                    <a:pt x="78" y="1180"/>
                    <a:pt x="78" y="1180"/>
                  </a:cubicBezTo>
                  <a:cubicBezTo>
                    <a:pt x="70" y="1178"/>
                    <a:pt x="70" y="1178"/>
                    <a:pt x="70" y="1178"/>
                  </a:cubicBezTo>
                  <a:cubicBezTo>
                    <a:pt x="63" y="1176"/>
                    <a:pt x="63" y="1176"/>
                    <a:pt x="63" y="1176"/>
                  </a:cubicBezTo>
                  <a:cubicBezTo>
                    <a:pt x="58" y="1173"/>
                    <a:pt x="58" y="1173"/>
                    <a:pt x="58" y="1173"/>
                  </a:cubicBezTo>
                  <a:cubicBezTo>
                    <a:pt x="51" y="1170"/>
                    <a:pt x="51" y="1170"/>
                    <a:pt x="51" y="1170"/>
                  </a:cubicBezTo>
                  <a:cubicBezTo>
                    <a:pt x="47" y="1167"/>
                    <a:pt x="47" y="1167"/>
                    <a:pt x="47" y="1167"/>
                  </a:cubicBezTo>
                  <a:cubicBezTo>
                    <a:pt x="42" y="1163"/>
                    <a:pt x="42" y="1163"/>
                    <a:pt x="42" y="1163"/>
                  </a:cubicBezTo>
                  <a:cubicBezTo>
                    <a:pt x="37" y="1158"/>
                    <a:pt x="37" y="1158"/>
                    <a:pt x="37" y="1158"/>
                  </a:cubicBezTo>
                  <a:cubicBezTo>
                    <a:pt x="32" y="1153"/>
                    <a:pt x="32" y="1153"/>
                    <a:pt x="32" y="1153"/>
                  </a:cubicBezTo>
                  <a:cubicBezTo>
                    <a:pt x="30" y="1150"/>
                    <a:pt x="30" y="1150"/>
                    <a:pt x="30" y="1150"/>
                  </a:cubicBezTo>
                  <a:cubicBezTo>
                    <a:pt x="27" y="1144"/>
                    <a:pt x="27" y="1144"/>
                    <a:pt x="27" y="1144"/>
                  </a:cubicBezTo>
                  <a:cubicBezTo>
                    <a:pt x="24" y="1138"/>
                    <a:pt x="24" y="1138"/>
                    <a:pt x="24" y="1138"/>
                  </a:cubicBezTo>
                  <a:cubicBezTo>
                    <a:pt x="23" y="1133"/>
                    <a:pt x="23" y="1133"/>
                    <a:pt x="23" y="1133"/>
                  </a:cubicBezTo>
                  <a:cubicBezTo>
                    <a:pt x="22" y="1126"/>
                    <a:pt x="22" y="1126"/>
                    <a:pt x="22" y="1126"/>
                  </a:cubicBezTo>
                  <a:cubicBezTo>
                    <a:pt x="21" y="1121"/>
                    <a:pt x="21" y="1121"/>
                    <a:pt x="21" y="1121"/>
                  </a:cubicBezTo>
                  <a:cubicBezTo>
                    <a:pt x="21" y="823"/>
                    <a:pt x="21" y="823"/>
                    <a:pt x="21" y="823"/>
                  </a:cubicBezTo>
                  <a:cubicBezTo>
                    <a:pt x="14" y="823"/>
                    <a:pt x="7" y="822"/>
                    <a:pt x="0" y="821"/>
                  </a:cubicBezTo>
                  <a:cubicBezTo>
                    <a:pt x="0" y="1121"/>
                    <a:pt x="0" y="1121"/>
                    <a:pt x="0" y="1121"/>
                  </a:cubicBezTo>
                  <a:cubicBezTo>
                    <a:pt x="1" y="1128"/>
                    <a:pt x="1" y="1128"/>
                    <a:pt x="1" y="1128"/>
                  </a:cubicBezTo>
                  <a:cubicBezTo>
                    <a:pt x="1" y="1130"/>
                    <a:pt x="1" y="1130"/>
                    <a:pt x="1" y="1130"/>
                  </a:cubicBezTo>
                  <a:cubicBezTo>
                    <a:pt x="2" y="1137"/>
                    <a:pt x="2" y="1137"/>
                    <a:pt x="2" y="1137"/>
                  </a:cubicBezTo>
                  <a:cubicBezTo>
                    <a:pt x="4" y="1144"/>
                    <a:pt x="4" y="1144"/>
                    <a:pt x="4" y="1144"/>
                  </a:cubicBezTo>
                  <a:cubicBezTo>
                    <a:pt x="4" y="1146"/>
                    <a:pt x="4" y="1146"/>
                    <a:pt x="4" y="1146"/>
                  </a:cubicBezTo>
                  <a:cubicBezTo>
                    <a:pt x="7" y="1152"/>
                    <a:pt x="7" y="1152"/>
                    <a:pt x="7" y="1152"/>
                  </a:cubicBezTo>
                  <a:cubicBezTo>
                    <a:pt x="11" y="1159"/>
                    <a:pt x="11" y="1159"/>
                    <a:pt x="11" y="1159"/>
                  </a:cubicBezTo>
                  <a:cubicBezTo>
                    <a:pt x="13" y="1162"/>
                    <a:pt x="13" y="1162"/>
                    <a:pt x="13" y="1162"/>
                  </a:cubicBezTo>
                  <a:cubicBezTo>
                    <a:pt x="17" y="1168"/>
                    <a:pt x="17" y="1168"/>
                    <a:pt x="17" y="1168"/>
                  </a:cubicBezTo>
                  <a:cubicBezTo>
                    <a:pt x="22" y="1173"/>
                    <a:pt x="22" y="1173"/>
                    <a:pt x="22" y="1173"/>
                  </a:cubicBezTo>
                  <a:cubicBezTo>
                    <a:pt x="27" y="1178"/>
                    <a:pt x="27" y="1178"/>
                    <a:pt x="27" y="1178"/>
                  </a:cubicBezTo>
                  <a:cubicBezTo>
                    <a:pt x="33" y="1182"/>
                    <a:pt x="33" y="1182"/>
                    <a:pt x="33" y="1182"/>
                  </a:cubicBezTo>
                  <a:cubicBezTo>
                    <a:pt x="36" y="1185"/>
                    <a:pt x="36" y="1185"/>
                    <a:pt x="36" y="1185"/>
                  </a:cubicBezTo>
                  <a:cubicBezTo>
                    <a:pt x="42" y="1189"/>
                    <a:pt x="42" y="1189"/>
                    <a:pt x="42" y="1189"/>
                  </a:cubicBezTo>
                  <a:cubicBezTo>
                    <a:pt x="49" y="1193"/>
                    <a:pt x="49" y="1193"/>
                    <a:pt x="49" y="1193"/>
                  </a:cubicBezTo>
                  <a:cubicBezTo>
                    <a:pt x="56" y="1195"/>
                    <a:pt x="56" y="1195"/>
                    <a:pt x="56" y="1195"/>
                  </a:cubicBezTo>
                  <a:cubicBezTo>
                    <a:pt x="58" y="1196"/>
                    <a:pt x="58" y="1196"/>
                    <a:pt x="58" y="1196"/>
                  </a:cubicBezTo>
                  <a:cubicBezTo>
                    <a:pt x="66" y="1199"/>
                    <a:pt x="66" y="1199"/>
                    <a:pt x="66" y="1199"/>
                  </a:cubicBezTo>
                  <a:cubicBezTo>
                    <a:pt x="74" y="1200"/>
                    <a:pt x="74" y="1200"/>
                    <a:pt x="74" y="1200"/>
                  </a:cubicBezTo>
                  <a:cubicBezTo>
                    <a:pt x="82" y="1202"/>
                    <a:pt x="82" y="1202"/>
                    <a:pt x="82" y="1202"/>
                  </a:cubicBezTo>
                  <a:cubicBezTo>
                    <a:pt x="84" y="1202"/>
                    <a:pt x="84" y="1202"/>
                    <a:pt x="84" y="1202"/>
                  </a:cubicBezTo>
                  <a:cubicBezTo>
                    <a:pt x="92" y="1202"/>
                    <a:pt x="92" y="1202"/>
                    <a:pt x="92" y="1202"/>
                  </a:cubicBezTo>
                  <a:cubicBezTo>
                    <a:pt x="542" y="1202"/>
                    <a:pt x="542" y="1202"/>
                    <a:pt x="542" y="1202"/>
                  </a:cubicBezTo>
                  <a:cubicBezTo>
                    <a:pt x="550" y="1202"/>
                    <a:pt x="550" y="1202"/>
                    <a:pt x="550" y="1202"/>
                  </a:cubicBezTo>
                  <a:cubicBezTo>
                    <a:pt x="552" y="1202"/>
                    <a:pt x="552" y="1202"/>
                    <a:pt x="552" y="1202"/>
                  </a:cubicBezTo>
                  <a:cubicBezTo>
                    <a:pt x="560" y="1200"/>
                    <a:pt x="560" y="1200"/>
                    <a:pt x="560" y="1200"/>
                  </a:cubicBezTo>
                  <a:cubicBezTo>
                    <a:pt x="568" y="1199"/>
                    <a:pt x="568" y="1199"/>
                    <a:pt x="568" y="1199"/>
                  </a:cubicBezTo>
                  <a:cubicBezTo>
                    <a:pt x="575" y="1196"/>
                    <a:pt x="575" y="1196"/>
                    <a:pt x="575" y="1196"/>
                  </a:cubicBezTo>
                  <a:cubicBezTo>
                    <a:pt x="578" y="1195"/>
                    <a:pt x="578" y="1195"/>
                    <a:pt x="578" y="1195"/>
                  </a:cubicBezTo>
                  <a:cubicBezTo>
                    <a:pt x="584" y="1193"/>
                    <a:pt x="584" y="1193"/>
                    <a:pt x="584" y="1193"/>
                  </a:cubicBezTo>
                  <a:cubicBezTo>
                    <a:pt x="592" y="1189"/>
                    <a:pt x="592" y="1189"/>
                    <a:pt x="592" y="1189"/>
                  </a:cubicBezTo>
                  <a:cubicBezTo>
                    <a:pt x="598" y="1185"/>
                    <a:pt x="598" y="1185"/>
                    <a:pt x="598" y="1185"/>
                  </a:cubicBezTo>
                  <a:cubicBezTo>
                    <a:pt x="601" y="1182"/>
                    <a:pt x="601" y="1182"/>
                    <a:pt x="601" y="1182"/>
                  </a:cubicBezTo>
                  <a:cubicBezTo>
                    <a:pt x="607" y="1178"/>
                    <a:pt x="607" y="1178"/>
                    <a:pt x="607" y="1178"/>
                  </a:cubicBezTo>
                  <a:cubicBezTo>
                    <a:pt x="612" y="1173"/>
                    <a:pt x="612" y="1173"/>
                    <a:pt x="612" y="1173"/>
                  </a:cubicBezTo>
                  <a:cubicBezTo>
                    <a:pt x="617" y="1168"/>
                    <a:pt x="617" y="1168"/>
                    <a:pt x="617" y="1168"/>
                  </a:cubicBezTo>
                  <a:cubicBezTo>
                    <a:pt x="621" y="1162"/>
                    <a:pt x="621" y="1162"/>
                    <a:pt x="621" y="1162"/>
                  </a:cubicBezTo>
                  <a:cubicBezTo>
                    <a:pt x="623" y="1159"/>
                    <a:pt x="623" y="1159"/>
                    <a:pt x="623" y="1159"/>
                  </a:cubicBezTo>
                  <a:cubicBezTo>
                    <a:pt x="626" y="1152"/>
                    <a:pt x="626" y="1152"/>
                    <a:pt x="626" y="1152"/>
                  </a:cubicBezTo>
                  <a:cubicBezTo>
                    <a:pt x="629" y="1146"/>
                    <a:pt x="629" y="1146"/>
                    <a:pt x="629" y="1146"/>
                  </a:cubicBezTo>
                  <a:cubicBezTo>
                    <a:pt x="630" y="1144"/>
                    <a:pt x="630" y="1144"/>
                    <a:pt x="630" y="1144"/>
                  </a:cubicBezTo>
                  <a:cubicBezTo>
                    <a:pt x="632" y="1137"/>
                    <a:pt x="632" y="1137"/>
                    <a:pt x="632" y="1137"/>
                  </a:cubicBezTo>
                  <a:cubicBezTo>
                    <a:pt x="633" y="1130"/>
                    <a:pt x="633" y="1130"/>
                    <a:pt x="633" y="1130"/>
                  </a:cubicBezTo>
                  <a:cubicBezTo>
                    <a:pt x="633" y="1128"/>
                    <a:pt x="633" y="1128"/>
                    <a:pt x="633" y="1128"/>
                  </a:cubicBezTo>
                  <a:cubicBezTo>
                    <a:pt x="634" y="1121"/>
                    <a:pt x="634" y="1121"/>
                    <a:pt x="634" y="1121"/>
                  </a:cubicBezTo>
                  <a:cubicBezTo>
                    <a:pt x="634" y="81"/>
                    <a:pt x="634" y="81"/>
                    <a:pt x="634" y="81"/>
                  </a:cubicBezTo>
                  <a:lnTo>
                    <a:pt x="633" y="74"/>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sp>
          <p:nvSpPr>
            <p:cNvPr id="116" name="Freeform 31"/>
            <p:cNvSpPr>
              <a:spLocks noEditPoints="1"/>
            </p:cNvSpPr>
            <p:nvPr/>
          </p:nvSpPr>
          <p:spPr bwMode="auto">
            <a:xfrm>
              <a:off x="3732" y="2719"/>
              <a:ext cx="275" cy="149"/>
            </a:xfrm>
            <a:custGeom>
              <a:avLst/>
              <a:gdLst>
                <a:gd name="T0" fmla="*/ 275 w 275"/>
                <a:gd name="T1" fmla="*/ 0 h 149"/>
                <a:gd name="T2" fmla="*/ 0 w 275"/>
                <a:gd name="T3" fmla="*/ 0 h 149"/>
                <a:gd name="T4" fmla="*/ 0 w 275"/>
                <a:gd name="T5" fmla="*/ 149 h 149"/>
                <a:gd name="T6" fmla="*/ 275 w 275"/>
                <a:gd name="T7" fmla="*/ 149 h 149"/>
                <a:gd name="T8" fmla="*/ 275 w 275"/>
                <a:gd name="T9" fmla="*/ 0 h 149"/>
                <a:gd name="T10" fmla="*/ 225 w 275"/>
                <a:gd name="T11" fmla="*/ 99 h 149"/>
                <a:gd name="T12" fmla="*/ 50 w 275"/>
                <a:gd name="T13" fmla="*/ 99 h 149"/>
                <a:gd name="T14" fmla="*/ 50 w 275"/>
                <a:gd name="T15" fmla="*/ 52 h 149"/>
                <a:gd name="T16" fmla="*/ 225 w 275"/>
                <a:gd name="T17" fmla="*/ 52 h 149"/>
                <a:gd name="T18" fmla="*/ 225 w 275"/>
                <a:gd name="T19" fmla="*/ 9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149">
                  <a:moveTo>
                    <a:pt x="275" y="0"/>
                  </a:moveTo>
                  <a:lnTo>
                    <a:pt x="0" y="0"/>
                  </a:lnTo>
                  <a:lnTo>
                    <a:pt x="0" y="149"/>
                  </a:lnTo>
                  <a:lnTo>
                    <a:pt x="275" y="149"/>
                  </a:lnTo>
                  <a:lnTo>
                    <a:pt x="275" y="0"/>
                  </a:lnTo>
                  <a:close/>
                  <a:moveTo>
                    <a:pt x="225" y="99"/>
                  </a:moveTo>
                  <a:lnTo>
                    <a:pt x="50" y="99"/>
                  </a:lnTo>
                  <a:lnTo>
                    <a:pt x="50" y="52"/>
                  </a:lnTo>
                  <a:lnTo>
                    <a:pt x="225" y="52"/>
                  </a:lnTo>
                  <a:lnTo>
                    <a:pt x="225" y="9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sp>
          <p:nvSpPr>
            <p:cNvPr id="117" name="Freeform 32"/>
            <p:cNvSpPr>
              <a:spLocks noEditPoints="1"/>
            </p:cNvSpPr>
            <p:nvPr/>
          </p:nvSpPr>
          <p:spPr bwMode="auto">
            <a:xfrm>
              <a:off x="3732" y="1023"/>
              <a:ext cx="1173" cy="199"/>
            </a:xfrm>
            <a:custGeom>
              <a:avLst/>
              <a:gdLst>
                <a:gd name="T0" fmla="*/ 1173 w 1173"/>
                <a:gd name="T1" fmla="*/ 0 h 199"/>
                <a:gd name="T2" fmla="*/ 0 w 1173"/>
                <a:gd name="T3" fmla="*/ 0 h 199"/>
                <a:gd name="T4" fmla="*/ 0 w 1173"/>
                <a:gd name="T5" fmla="*/ 199 h 199"/>
                <a:gd name="T6" fmla="*/ 1173 w 1173"/>
                <a:gd name="T7" fmla="*/ 199 h 199"/>
                <a:gd name="T8" fmla="*/ 1173 w 1173"/>
                <a:gd name="T9" fmla="*/ 0 h 199"/>
                <a:gd name="T10" fmla="*/ 1125 w 1173"/>
                <a:gd name="T11" fmla="*/ 147 h 199"/>
                <a:gd name="T12" fmla="*/ 50 w 1173"/>
                <a:gd name="T13" fmla="*/ 147 h 199"/>
                <a:gd name="T14" fmla="*/ 50 w 1173"/>
                <a:gd name="T15" fmla="*/ 50 h 199"/>
                <a:gd name="T16" fmla="*/ 1125 w 1173"/>
                <a:gd name="T17" fmla="*/ 50 h 199"/>
                <a:gd name="T18" fmla="*/ 1125 w 1173"/>
                <a:gd name="T19" fmla="*/ 147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3" h="199">
                  <a:moveTo>
                    <a:pt x="1173" y="0"/>
                  </a:moveTo>
                  <a:lnTo>
                    <a:pt x="0" y="0"/>
                  </a:lnTo>
                  <a:lnTo>
                    <a:pt x="0" y="199"/>
                  </a:lnTo>
                  <a:lnTo>
                    <a:pt x="1173" y="199"/>
                  </a:lnTo>
                  <a:lnTo>
                    <a:pt x="1173" y="0"/>
                  </a:lnTo>
                  <a:close/>
                  <a:moveTo>
                    <a:pt x="1125" y="147"/>
                  </a:moveTo>
                  <a:lnTo>
                    <a:pt x="50" y="147"/>
                  </a:lnTo>
                  <a:lnTo>
                    <a:pt x="50" y="50"/>
                  </a:lnTo>
                  <a:lnTo>
                    <a:pt x="1125" y="50"/>
                  </a:lnTo>
                  <a:lnTo>
                    <a:pt x="1125" y="1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sp>
          <p:nvSpPr>
            <p:cNvPr id="118" name="Freeform 33"/>
            <p:cNvSpPr>
              <a:spLocks noEditPoints="1"/>
            </p:cNvSpPr>
            <p:nvPr/>
          </p:nvSpPr>
          <p:spPr bwMode="auto">
            <a:xfrm>
              <a:off x="3732" y="3152"/>
              <a:ext cx="1173" cy="147"/>
            </a:xfrm>
            <a:custGeom>
              <a:avLst/>
              <a:gdLst>
                <a:gd name="T0" fmla="*/ 1173 w 1173"/>
                <a:gd name="T1" fmla="*/ 0 h 147"/>
                <a:gd name="T2" fmla="*/ 0 w 1173"/>
                <a:gd name="T3" fmla="*/ 0 h 147"/>
                <a:gd name="T4" fmla="*/ 0 w 1173"/>
                <a:gd name="T5" fmla="*/ 147 h 147"/>
                <a:gd name="T6" fmla="*/ 1173 w 1173"/>
                <a:gd name="T7" fmla="*/ 147 h 147"/>
                <a:gd name="T8" fmla="*/ 1173 w 1173"/>
                <a:gd name="T9" fmla="*/ 0 h 147"/>
                <a:gd name="T10" fmla="*/ 1125 w 1173"/>
                <a:gd name="T11" fmla="*/ 97 h 147"/>
                <a:gd name="T12" fmla="*/ 50 w 1173"/>
                <a:gd name="T13" fmla="*/ 97 h 147"/>
                <a:gd name="T14" fmla="*/ 50 w 1173"/>
                <a:gd name="T15" fmla="*/ 50 h 147"/>
                <a:gd name="T16" fmla="*/ 1125 w 1173"/>
                <a:gd name="T17" fmla="*/ 50 h 147"/>
                <a:gd name="T18" fmla="*/ 1125 w 1173"/>
                <a:gd name="T19" fmla="*/ 9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3" h="147">
                  <a:moveTo>
                    <a:pt x="1173" y="0"/>
                  </a:moveTo>
                  <a:lnTo>
                    <a:pt x="0" y="0"/>
                  </a:lnTo>
                  <a:lnTo>
                    <a:pt x="0" y="147"/>
                  </a:lnTo>
                  <a:lnTo>
                    <a:pt x="1173" y="147"/>
                  </a:lnTo>
                  <a:lnTo>
                    <a:pt x="1173" y="0"/>
                  </a:lnTo>
                  <a:close/>
                  <a:moveTo>
                    <a:pt x="1125" y="97"/>
                  </a:moveTo>
                  <a:lnTo>
                    <a:pt x="50" y="97"/>
                  </a:lnTo>
                  <a:lnTo>
                    <a:pt x="50" y="50"/>
                  </a:lnTo>
                  <a:lnTo>
                    <a:pt x="1125" y="50"/>
                  </a:lnTo>
                  <a:lnTo>
                    <a:pt x="1125" y="9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sp>
          <p:nvSpPr>
            <p:cNvPr id="121" name="Freeform 34"/>
            <p:cNvSpPr>
              <a:spLocks noEditPoints="1"/>
            </p:cNvSpPr>
            <p:nvPr/>
          </p:nvSpPr>
          <p:spPr bwMode="auto">
            <a:xfrm>
              <a:off x="3732" y="2937"/>
              <a:ext cx="275" cy="147"/>
            </a:xfrm>
            <a:custGeom>
              <a:avLst/>
              <a:gdLst>
                <a:gd name="T0" fmla="*/ 0 w 275"/>
                <a:gd name="T1" fmla="*/ 147 h 147"/>
                <a:gd name="T2" fmla="*/ 275 w 275"/>
                <a:gd name="T3" fmla="*/ 147 h 147"/>
                <a:gd name="T4" fmla="*/ 275 w 275"/>
                <a:gd name="T5" fmla="*/ 0 h 147"/>
                <a:gd name="T6" fmla="*/ 0 w 275"/>
                <a:gd name="T7" fmla="*/ 0 h 147"/>
                <a:gd name="T8" fmla="*/ 0 w 275"/>
                <a:gd name="T9" fmla="*/ 147 h 147"/>
                <a:gd name="T10" fmla="*/ 50 w 275"/>
                <a:gd name="T11" fmla="*/ 50 h 147"/>
                <a:gd name="T12" fmla="*/ 225 w 275"/>
                <a:gd name="T13" fmla="*/ 50 h 147"/>
                <a:gd name="T14" fmla="*/ 225 w 275"/>
                <a:gd name="T15" fmla="*/ 95 h 147"/>
                <a:gd name="T16" fmla="*/ 50 w 275"/>
                <a:gd name="T17" fmla="*/ 95 h 147"/>
                <a:gd name="T18" fmla="*/ 50 w 275"/>
                <a:gd name="T19" fmla="*/ 5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147">
                  <a:moveTo>
                    <a:pt x="0" y="147"/>
                  </a:moveTo>
                  <a:lnTo>
                    <a:pt x="275" y="147"/>
                  </a:lnTo>
                  <a:lnTo>
                    <a:pt x="275" y="0"/>
                  </a:lnTo>
                  <a:lnTo>
                    <a:pt x="0" y="0"/>
                  </a:lnTo>
                  <a:lnTo>
                    <a:pt x="0" y="147"/>
                  </a:lnTo>
                  <a:close/>
                  <a:moveTo>
                    <a:pt x="50" y="50"/>
                  </a:moveTo>
                  <a:lnTo>
                    <a:pt x="225" y="50"/>
                  </a:lnTo>
                  <a:lnTo>
                    <a:pt x="225" y="95"/>
                  </a:lnTo>
                  <a:lnTo>
                    <a:pt x="50" y="95"/>
                  </a:lnTo>
                  <a:lnTo>
                    <a:pt x="50" y="5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4" name="Group 3"/>
          <p:cNvGrpSpPr/>
          <p:nvPr/>
        </p:nvGrpSpPr>
        <p:grpSpPr>
          <a:xfrm>
            <a:off x="9259158" y="3562407"/>
            <a:ext cx="2046310" cy="1044003"/>
            <a:chOff x="9614394" y="2005889"/>
            <a:chExt cx="2088182" cy="1065366"/>
          </a:xfrm>
        </p:grpSpPr>
        <p:grpSp>
          <p:nvGrpSpPr>
            <p:cNvPr id="250" name="Group 249"/>
            <p:cNvGrpSpPr>
              <a:grpSpLocks noChangeAspect="1"/>
            </p:cNvGrpSpPr>
            <p:nvPr/>
          </p:nvGrpSpPr>
          <p:grpSpPr>
            <a:xfrm>
              <a:off x="9614394" y="2005889"/>
              <a:ext cx="2078430" cy="1065366"/>
              <a:chOff x="444697" y="1190818"/>
              <a:chExt cx="3197874" cy="1639173"/>
            </a:xfrm>
          </p:grpSpPr>
          <p:grpSp>
            <p:nvGrpSpPr>
              <p:cNvPr id="251" name="Group 250"/>
              <p:cNvGrpSpPr/>
              <p:nvPr/>
            </p:nvGrpSpPr>
            <p:grpSpPr>
              <a:xfrm>
                <a:off x="444697" y="1190818"/>
                <a:ext cx="3197874" cy="1639173"/>
                <a:chOff x="396894" y="1190818"/>
                <a:chExt cx="3197874" cy="1639173"/>
              </a:xfrm>
            </p:grpSpPr>
            <p:sp>
              <p:nvSpPr>
                <p:cNvPr id="256" name="Freeform 255"/>
                <p:cNvSpPr>
                  <a:spLocks noChangeAspect="1"/>
                </p:cNvSpPr>
                <p:nvPr/>
              </p:nvSpPr>
              <p:spPr bwMode="auto">
                <a:xfrm>
                  <a:off x="396894" y="1190818"/>
                  <a:ext cx="3197874" cy="1639173"/>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1972" tIns="0" rIns="111972" bIns="55985"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19449" fontAlgn="base">
                    <a:spcBef>
                      <a:spcPct val="0"/>
                    </a:spcBef>
                    <a:spcAft>
                      <a:spcPct val="0"/>
                    </a:spcAft>
                    <a:defRPr/>
                  </a:pPr>
                  <a:endParaRPr lang="en-US" sz="1899" b="1" kern="0" dirty="0">
                    <a:solidFill>
                      <a:srgbClr val="505050"/>
                    </a:solidFill>
                  </a:endParaRPr>
                </a:p>
              </p:txBody>
            </p:sp>
            <p:sp>
              <p:nvSpPr>
                <p:cNvPr id="259" name="AutoShape 9"/>
                <p:cNvSpPr>
                  <a:spLocks noChangeAspect="1" noChangeArrowheads="1" noTextEdit="1"/>
                </p:cNvSpPr>
                <p:nvPr/>
              </p:nvSpPr>
              <p:spPr bwMode="auto">
                <a:xfrm>
                  <a:off x="605681" y="2075794"/>
                  <a:ext cx="932185" cy="614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pPr defTabSz="914004"/>
                  <a:endParaRPr lang="en-GB" sz="1764">
                    <a:solidFill>
                      <a:srgbClr val="505050"/>
                    </a:solidFill>
                  </a:endParaRPr>
                </a:p>
              </p:txBody>
            </p:sp>
          </p:grpSp>
          <p:grpSp>
            <p:nvGrpSpPr>
              <p:cNvPr id="252" name="Group 4"/>
              <p:cNvGrpSpPr>
                <a:grpSpLocks noChangeAspect="1"/>
              </p:cNvGrpSpPr>
              <p:nvPr/>
            </p:nvGrpSpPr>
            <p:grpSpPr bwMode="auto">
              <a:xfrm>
                <a:off x="704996" y="1995790"/>
                <a:ext cx="687381" cy="683048"/>
                <a:chOff x="3125" y="1415"/>
                <a:chExt cx="1586" cy="1576"/>
              </a:xfrm>
              <a:solidFill>
                <a:schemeClr val="tx2"/>
              </a:solidFill>
            </p:grpSpPr>
            <p:sp>
              <p:nvSpPr>
                <p:cNvPr id="253"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sp>
              <p:nvSpPr>
                <p:cNvPr id="254"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sp>
              <p:nvSpPr>
                <p:cNvPr id="255"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sp>
          <p:nvSpPr>
            <p:cNvPr id="136" name="Rectangle 135"/>
            <p:cNvSpPr/>
            <p:nvPr/>
          </p:nvSpPr>
          <p:spPr>
            <a:xfrm>
              <a:off x="10340154" y="2614028"/>
              <a:ext cx="1258719" cy="215272"/>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96069" fontAlgn="base">
                <a:spcAft>
                  <a:spcPct val="0"/>
                </a:spcAft>
              </a:pPr>
              <a:r>
                <a:rPr lang="en-US" sz="1371" dirty="0">
                  <a:ln>
                    <a:solidFill>
                      <a:srgbClr val="FFFFFF">
                        <a:alpha val="0"/>
                      </a:srgbClr>
                    </a:solidFill>
                  </a:ln>
                  <a:solidFill>
                    <a:srgbClr val="FFFFFF"/>
                  </a:solidFill>
                </a:rPr>
                <a:t>Active Directory</a:t>
              </a:r>
            </a:p>
          </p:txBody>
        </p:sp>
        <p:pic>
          <p:nvPicPr>
            <p:cNvPr id="137" name="Picture 13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100928" y="2331685"/>
              <a:ext cx="1601648" cy="371356"/>
            </a:xfrm>
            <a:prstGeom prst="rect">
              <a:avLst/>
            </a:prstGeom>
          </p:spPr>
        </p:pic>
      </p:grpSp>
      <p:grpSp>
        <p:nvGrpSpPr>
          <p:cNvPr id="133" name="Group 132"/>
          <p:cNvGrpSpPr/>
          <p:nvPr/>
        </p:nvGrpSpPr>
        <p:grpSpPr>
          <a:xfrm>
            <a:off x="545690" y="6319528"/>
            <a:ext cx="4241810" cy="424505"/>
            <a:chOff x="-142843" y="2855512"/>
            <a:chExt cx="4328608" cy="433191"/>
          </a:xfrm>
        </p:grpSpPr>
        <p:sp>
          <p:nvSpPr>
            <p:cNvPr id="134" name="Rectangle 133"/>
            <p:cNvSpPr>
              <a:spLocks noChangeAspect="1"/>
            </p:cNvSpPr>
            <p:nvPr>
              <p:custDataLst>
                <p:tags r:id="rId1"/>
              </p:custDataLst>
            </p:nvPr>
          </p:nvSpPr>
          <p:spPr bwMode="auto">
            <a:xfrm>
              <a:off x="2388694" y="3067215"/>
              <a:ext cx="1419536" cy="221488"/>
            </a:xfrm>
            <a:prstGeom prst="rect">
              <a:avLst/>
            </a:prstGeom>
            <a:ln>
              <a:noFill/>
            </a:ln>
          </p:spPr>
          <p:txBody>
            <a:bodyPr vert="horz" wrap="square" lIns="0" tIns="0" rIns="0" bIns="0" rtlCol="0">
              <a:spAutoFit/>
            </a:bodyPr>
            <a:lstStyle/>
            <a:p>
              <a:pPr algn="ctr" defTabSz="914004">
                <a:lnSpc>
                  <a:spcPct val="90000"/>
                </a:lnSpc>
                <a:spcBef>
                  <a:spcPts val="1175"/>
                </a:spcBef>
              </a:pPr>
              <a:r>
                <a:rPr lang="en-US" sz="1567" spc="-29" dirty="0">
                  <a:solidFill>
                    <a:srgbClr val="FFFFFF">
                      <a:lumMod val="25000"/>
                    </a:srgbClr>
                  </a:solidFill>
                  <a:latin typeface="Verdana" panose="020B0604030504040204" pitchFamily="34" charset="0"/>
                  <a:ea typeface="Verdana" panose="020B0604030504040204" pitchFamily="34" charset="0"/>
                  <a:cs typeface="Verdana" panose="020B0604030504040204" pitchFamily="34" charset="0"/>
                </a:rPr>
                <a:t>LDAP v3</a:t>
              </a:r>
            </a:p>
          </p:txBody>
        </p:sp>
        <p:sp>
          <p:nvSpPr>
            <p:cNvPr id="135" name="Rectangle 134"/>
            <p:cNvSpPr>
              <a:spLocks noChangeAspect="1"/>
            </p:cNvSpPr>
            <p:nvPr>
              <p:custDataLst>
                <p:tags r:id="rId2"/>
              </p:custDataLst>
            </p:nvPr>
          </p:nvSpPr>
          <p:spPr bwMode="auto">
            <a:xfrm>
              <a:off x="2263436" y="2855512"/>
              <a:ext cx="1922329" cy="221488"/>
            </a:xfrm>
            <a:prstGeom prst="rect">
              <a:avLst/>
            </a:prstGeom>
            <a:ln>
              <a:noFill/>
            </a:ln>
          </p:spPr>
          <p:txBody>
            <a:bodyPr vert="horz" wrap="square" lIns="0" tIns="0" rIns="0" bIns="0" rtlCol="0">
              <a:spAutoFit/>
            </a:bodyPr>
            <a:lstStyle/>
            <a:p>
              <a:pPr algn="ctr" defTabSz="914004">
                <a:lnSpc>
                  <a:spcPct val="90000"/>
                </a:lnSpc>
                <a:spcBef>
                  <a:spcPts val="1175"/>
                </a:spcBef>
              </a:pPr>
              <a:r>
                <a:rPr lang="en-US" sz="1567" spc="-29" dirty="0">
                  <a:solidFill>
                    <a:srgbClr val="FFFFFF">
                      <a:lumMod val="25000"/>
                    </a:srgbClr>
                  </a:solidFill>
                  <a:latin typeface="Verdana" panose="020B0604030504040204" pitchFamily="34" charset="0"/>
                  <a:ea typeface="Verdana" panose="020B0604030504040204" pitchFamily="34" charset="0"/>
                  <a:cs typeface="Verdana" panose="020B0604030504040204" pitchFamily="34" charset="0"/>
                </a:rPr>
                <a:t>PowerShell</a:t>
              </a:r>
            </a:p>
          </p:txBody>
        </p:sp>
        <p:grpSp>
          <p:nvGrpSpPr>
            <p:cNvPr id="138" name="Group 137"/>
            <p:cNvGrpSpPr/>
            <p:nvPr/>
          </p:nvGrpSpPr>
          <p:grpSpPr>
            <a:xfrm>
              <a:off x="-142843" y="2898442"/>
              <a:ext cx="1974053" cy="357250"/>
              <a:chOff x="751803" y="5244570"/>
              <a:chExt cx="1974053" cy="357250"/>
            </a:xfrm>
          </p:grpSpPr>
          <p:sp>
            <p:nvSpPr>
              <p:cNvPr id="142" name="Rectangle 141"/>
              <p:cNvSpPr>
                <a:spLocks noChangeAspect="1"/>
              </p:cNvSpPr>
              <p:nvPr>
                <p:custDataLst>
                  <p:tags r:id="rId5"/>
                </p:custDataLst>
              </p:nvPr>
            </p:nvSpPr>
            <p:spPr bwMode="auto">
              <a:xfrm>
                <a:off x="751803" y="5244570"/>
                <a:ext cx="1974053" cy="221488"/>
              </a:xfrm>
              <a:prstGeom prst="rect">
                <a:avLst/>
              </a:prstGeom>
              <a:ln>
                <a:noFill/>
              </a:ln>
            </p:spPr>
            <p:txBody>
              <a:bodyPr vert="horz" wrap="square" lIns="0" tIns="0" rIns="0" bIns="0" rtlCol="0">
                <a:spAutoFit/>
              </a:bodyPr>
              <a:lstStyle/>
              <a:p>
                <a:pPr algn="ctr" defTabSz="914004">
                  <a:lnSpc>
                    <a:spcPct val="90000"/>
                  </a:lnSpc>
                  <a:spcBef>
                    <a:spcPts val="1175"/>
                  </a:spcBef>
                </a:pPr>
                <a:r>
                  <a:rPr lang="en-US" sz="1567" spc="-29" dirty="0">
                    <a:solidFill>
                      <a:srgbClr val="FFFFFF">
                        <a:lumMod val="25000"/>
                      </a:srgbClr>
                    </a:solidFill>
                    <a:latin typeface="Verdana" panose="020B0604030504040204" pitchFamily="34" charset="0"/>
                    <a:ea typeface="Verdana" panose="020B0604030504040204" pitchFamily="34" charset="0"/>
                    <a:cs typeface="Verdana" panose="020B0604030504040204" pitchFamily="34" charset="0"/>
                  </a:rPr>
                  <a:t>SQL</a:t>
                </a:r>
                <a:endParaRPr lang="en-US" sz="882" spc="-29" dirty="0">
                  <a:solidFill>
                    <a:srgbClr val="FFFFFF">
                      <a:lumMod val="2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143" name="Rectangle 142"/>
              <p:cNvSpPr>
                <a:spLocks noChangeAspect="1"/>
              </p:cNvSpPr>
              <p:nvPr>
                <p:custDataLst>
                  <p:tags r:id="rId6"/>
                </p:custDataLst>
              </p:nvPr>
            </p:nvSpPr>
            <p:spPr bwMode="auto">
              <a:xfrm>
                <a:off x="1129933" y="5449559"/>
                <a:ext cx="1217791" cy="152261"/>
              </a:xfrm>
              <a:prstGeom prst="rect">
                <a:avLst/>
              </a:prstGeom>
              <a:ln>
                <a:noFill/>
              </a:ln>
            </p:spPr>
            <p:txBody>
              <a:bodyPr vert="horz" wrap="square" lIns="0" tIns="0" rIns="0" bIns="0" rtlCol="0">
                <a:spAutoFit/>
              </a:bodyPr>
              <a:lstStyle/>
              <a:p>
                <a:pPr algn="ctr" defTabSz="914004">
                  <a:lnSpc>
                    <a:spcPct val="90000"/>
                  </a:lnSpc>
                  <a:spcBef>
                    <a:spcPts val="1175"/>
                  </a:spcBef>
                </a:pPr>
                <a:r>
                  <a:rPr lang="en-US" sz="1077" spc="-29" dirty="0">
                    <a:solidFill>
                      <a:srgbClr val="FFFFFF">
                        <a:lumMod val="25000"/>
                      </a:srgbClr>
                    </a:solidFill>
                    <a:latin typeface="Verdana" panose="020B0604030504040204" pitchFamily="34" charset="0"/>
                    <a:ea typeface="Verdana" panose="020B0604030504040204" pitchFamily="34" charset="0"/>
                    <a:cs typeface="Verdana" panose="020B0604030504040204" pitchFamily="34" charset="0"/>
                  </a:rPr>
                  <a:t>(ODBC)</a:t>
                </a:r>
                <a:endParaRPr lang="en-US" sz="882" spc="-29" dirty="0">
                  <a:solidFill>
                    <a:srgbClr val="FFFFFF">
                      <a:lumMod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39" name="Group 138"/>
            <p:cNvGrpSpPr/>
            <p:nvPr/>
          </p:nvGrpSpPr>
          <p:grpSpPr>
            <a:xfrm>
              <a:off x="671138" y="2899122"/>
              <a:ext cx="2396340" cy="359927"/>
              <a:chOff x="2607449" y="5884227"/>
              <a:chExt cx="2396340" cy="359927"/>
            </a:xfrm>
          </p:grpSpPr>
          <p:sp>
            <p:nvSpPr>
              <p:cNvPr id="140" name="Rectangle 139"/>
              <p:cNvSpPr>
                <a:spLocks noChangeAspect="1"/>
              </p:cNvSpPr>
              <p:nvPr>
                <p:custDataLst>
                  <p:tags r:id="rId3"/>
                </p:custDataLst>
              </p:nvPr>
            </p:nvSpPr>
            <p:spPr bwMode="auto">
              <a:xfrm>
                <a:off x="2607449" y="5884227"/>
                <a:ext cx="2396340" cy="221488"/>
              </a:xfrm>
              <a:prstGeom prst="rect">
                <a:avLst/>
              </a:prstGeom>
              <a:ln>
                <a:noFill/>
              </a:ln>
            </p:spPr>
            <p:txBody>
              <a:bodyPr vert="horz" wrap="square" lIns="0" tIns="0" rIns="0" bIns="0" rtlCol="0">
                <a:spAutoFit/>
              </a:bodyPr>
              <a:lstStyle/>
              <a:p>
                <a:pPr algn="ctr" defTabSz="914004">
                  <a:lnSpc>
                    <a:spcPct val="90000"/>
                  </a:lnSpc>
                  <a:spcBef>
                    <a:spcPts val="1175"/>
                  </a:spcBef>
                </a:pPr>
                <a:r>
                  <a:rPr lang="en-US" sz="1567" spc="-29" dirty="0">
                    <a:solidFill>
                      <a:srgbClr val="FFFFFF">
                        <a:lumMod val="25000"/>
                      </a:srgbClr>
                    </a:solidFill>
                    <a:latin typeface="Verdana" panose="020B0604030504040204" pitchFamily="34" charset="0"/>
                    <a:ea typeface="Verdana" panose="020B0604030504040204" pitchFamily="34" charset="0"/>
                    <a:cs typeface="Verdana" panose="020B0604030504040204" pitchFamily="34" charset="0"/>
                  </a:rPr>
                  <a:t>Web Services</a:t>
                </a:r>
              </a:p>
            </p:txBody>
          </p:sp>
          <p:sp>
            <p:nvSpPr>
              <p:cNvPr id="141" name="Rectangle 140"/>
              <p:cNvSpPr>
                <a:spLocks noChangeAspect="1"/>
              </p:cNvSpPr>
              <p:nvPr>
                <p:custDataLst>
                  <p:tags r:id="rId4"/>
                </p:custDataLst>
              </p:nvPr>
            </p:nvSpPr>
            <p:spPr bwMode="auto">
              <a:xfrm>
                <a:off x="2812654" y="6091893"/>
                <a:ext cx="2012592" cy="152261"/>
              </a:xfrm>
              <a:prstGeom prst="rect">
                <a:avLst/>
              </a:prstGeom>
              <a:ln>
                <a:noFill/>
              </a:ln>
            </p:spPr>
            <p:txBody>
              <a:bodyPr vert="horz" wrap="square" lIns="0" tIns="0" rIns="0" bIns="0" rtlCol="0">
                <a:spAutoFit/>
              </a:bodyPr>
              <a:lstStyle/>
              <a:p>
                <a:pPr algn="ctr" defTabSz="914004">
                  <a:lnSpc>
                    <a:spcPct val="90000"/>
                  </a:lnSpc>
                  <a:spcBef>
                    <a:spcPts val="1175"/>
                  </a:spcBef>
                </a:pPr>
                <a:r>
                  <a:rPr lang="en-US" sz="1077" spc="-29" dirty="0">
                    <a:solidFill>
                      <a:srgbClr val="FFFFFF">
                        <a:lumMod val="25000"/>
                      </a:srgbClr>
                    </a:solidFill>
                    <a:latin typeface="Verdana" panose="020B0604030504040204" pitchFamily="34" charset="0"/>
                    <a:ea typeface="Verdana" panose="020B0604030504040204" pitchFamily="34" charset="0"/>
                    <a:cs typeface="Verdana" panose="020B0604030504040204" pitchFamily="34" charset="0"/>
                  </a:rPr>
                  <a:t>(SOAP, JAVA, REST)</a:t>
                </a:r>
              </a:p>
            </p:txBody>
          </p:sp>
        </p:grpSp>
      </p:grpSp>
      <p:cxnSp>
        <p:nvCxnSpPr>
          <p:cNvPr id="144" name="Straight Arrow Connector 143"/>
          <p:cNvCxnSpPr/>
          <p:nvPr/>
        </p:nvCxnSpPr>
        <p:spPr>
          <a:xfrm flipV="1">
            <a:off x="7601396" y="3004804"/>
            <a:ext cx="1339437" cy="302255"/>
          </a:xfrm>
          <a:prstGeom prst="straightConnector1">
            <a:avLst/>
          </a:prstGeom>
          <a:ln w="25400" cap="rnd" cmpd="sng">
            <a:solidFill>
              <a:srgbClr val="0070C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p:nvPr/>
        </p:nvCxnSpPr>
        <p:spPr>
          <a:xfrm>
            <a:off x="7577457" y="3509018"/>
            <a:ext cx="1363375" cy="652535"/>
          </a:xfrm>
          <a:prstGeom prst="straightConnector1">
            <a:avLst/>
          </a:prstGeom>
          <a:ln w="25400" cap="rnd" cmpd="sng">
            <a:solidFill>
              <a:srgbClr val="0070C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6942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par>
                          <p:cTn id="11" fill="hold">
                            <p:stCondLst>
                              <p:cond delay="0"/>
                            </p:stCondLst>
                            <p:childTnLst>
                              <p:par>
                                <p:cTn id="12" presetID="10" presetClass="entr" presetSubtype="0" fill="hold" grpId="0" nodeType="afterEffect">
                                  <p:stCondLst>
                                    <p:cond delay="0"/>
                                  </p:stCondLst>
                                  <p:childTnLst>
                                    <p:set>
                                      <p:cBhvr>
                                        <p:cTn id="13" dur="1" fill="hold">
                                          <p:stCondLst>
                                            <p:cond delay="0"/>
                                          </p:stCondLst>
                                        </p:cTn>
                                        <p:tgtEl>
                                          <p:spTgt spid="107"/>
                                        </p:tgtEl>
                                        <p:attrNameLst>
                                          <p:attrName>style.visibility</p:attrName>
                                        </p:attrNameLst>
                                      </p:cBhvr>
                                      <p:to>
                                        <p:strVal val="visible"/>
                                      </p:to>
                                    </p:set>
                                    <p:animEffect transition="in" filter="fade">
                                      <p:cBhvr>
                                        <p:cTn id="14" dur="500"/>
                                        <p:tgtEl>
                                          <p:spTgt spid="107"/>
                                        </p:tgtEl>
                                      </p:cBhvr>
                                    </p:animEffect>
                                  </p:childTnLst>
                                </p:cTn>
                              </p:par>
                              <p:par>
                                <p:cTn id="15" presetID="10"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10" presetClass="entr" presetSubtype="0" fill="hold"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06"/>
                                        </p:tgtEl>
                                        <p:attrNameLst>
                                          <p:attrName>style.visibility</p:attrName>
                                        </p:attrNameLst>
                                      </p:cBhvr>
                                      <p:to>
                                        <p:strVal val="visible"/>
                                      </p:to>
                                    </p:set>
                                    <p:animEffect transition="in" filter="fade">
                                      <p:cBhvr>
                                        <p:cTn id="24" dur="500"/>
                                        <p:tgtEl>
                                          <p:spTgt spid="106"/>
                                        </p:tgtEl>
                                      </p:cBhvr>
                                    </p:animEffect>
                                  </p:childTnLst>
                                </p:cTn>
                              </p:par>
                              <p:par>
                                <p:cTn id="25" presetID="10"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10" presetClass="entr" presetSubtype="0" fill="hold" nodeType="withEffect">
                                  <p:stCondLst>
                                    <p:cond delay="0"/>
                                  </p:stCondLst>
                                  <p:childTnLst>
                                    <p:set>
                                      <p:cBhvr>
                                        <p:cTn id="29" dur="1" fill="hold">
                                          <p:stCondLst>
                                            <p:cond delay="0"/>
                                          </p:stCondLst>
                                        </p:cTn>
                                        <p:tgtEl>
                                          <p:spTgt spid="102"/>
                                        </p:tgtEl>
                                        <p:attrNameLst>
                                          <p:attrName>style.visibility</p:attrName>
                                        </p:attrNameLst>
                                      </p:cBhvr>
                                      <p:to>
                                        <p:strVal val="visible"/>
                                      </p:to>
                                    </p:set>
                                    <p:animEffect transition="in" filter="fade">
                                      <p:cBhvr>
                                        <p:cTn id="30" dur="500"/>
                                        <p:tgtEl>
                                          <p:spTgt spid="102"/>
                                        </p:tgtEl>
                                      </p:cBhvr>
                                    </p:animEffect>
                                  </p:childTnLst>
                                </p:cTn>
                              </p:par>
                            </p:childTnLst>
                          </p:cTn>
                        </p:par>
                        <p:par>
                          <p:cTn id="31" fill="hold">
                            <p:stCondLst>
                              <p:cond delay="1000"/>
                            </p:stCondLst>
                            <p:childTnLst>
                              <p:par>
                                <p:cTn id="32" presetID="10" presetClass="entr" presetSubtype="0" fill="hold" grpId="0" nodeType="afterEffect">
                                  <p:stCondLst>
                                    <p:cond delay="0"/>
                                  </p:stCondLst>
                                  <p:childTnLst>
                                    <p:set>
                                      <p:cBhvr>
                                        <p:cTn id="33" dur="1" fill="hold">
                                          <p:stCondLst>
                                            <p:cond delay="0"/>
                                          </p:stCondLst>
                                        </p:cTn>
                                        <p:tgtEl>
                                          <p:spTgt spid="105"/>
                                        </p:tgtEl>
                                        <p:attrNameLst>
                                          <p:attrName>style.visibility</p:attrName>
                                        </p:attrNameLst>
                                      </p:cBhvr>
                                      <p:to>
                                        <p:strVal val="visible"/>
                                      </p:to>
                                    </p:set>
                                    <p:animEffect transition="in" filter="fade">
                                      <p:cBhvr>
                                        <p:cTn id="34" dur="500"/>
                                        <p:tgtEl>
                                          <p:spTgt spid="105"/>
                                        </p:tgtEl>
                                      </p:cBhvr>
                                    </p:animEffect>
                                  </p:childTnLst>
                                </p:cTn>
                              </p:par>
                              <p:par>
                                <p:cTn id="35" presetID="10" presetClass="entr" presetSubtype="0"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10" presetClass="entr" presetSubtype="0" fill="hold" nodeType="with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500"/>
                                        <p:tgtEl>
                                          <p:spTgt spid="3"/>
                                        </p:tgtEl>
                                      </p:cBhvr>
                                    </p:animEffect>
                                  </p:childTnLst>
                                </p:cTn>
                              </p:par>
                            </p:childTnLst>
                          </p:cTn>
                        </p:par>
                        <p:par>
                          <p:cTn id="41" fill="hold">
                            <p:stCondLst>
                              <p:cond delay="1500"/>
                            </p:stCondLst>
                            <p:childTnLst>
                              <p:par>
                                <p:cTn id="42" presetID="10" presetClass="entr" presetSubtype="0" fill="hold" grpId="0" nodeType="afterEffect">
                                  <p:stCondLst>
                                    <p:cond delay="0"/>
                                  </p:stCondLst>
                                  <p:childTnLst>
                                    <p:set>
                                      <p:cBhvr>
                                        <p:cTn id="43" dur="1" fill="hold">
                                          <p:stCondLst>
                                            <p:cond delay="0"/>
                                          </p:stCondLst>
                                        </p:cTn>
                                        <p:tgtEl>
                                          <p:spTgt spid="122"/>
                                        </p:tgtEl>
                                        <p:attrNameLst>
                                          <p:attrName>style.visibility</p:attrName>
                                        </p:attrNameLst>
                                      </p:cBhvr>
                                      <p:to>
                                        <p:strVal val="visible"/>
                                      </p:to>
                                    </p:set>
                                    <p:animEffect transition="in" filter="fade">
                                      <p:cBhvr>
                                        <p:cTn id="44" dur="500"/>
                                        <p:tgtEl>
                                          <p:spTgt spid="122"/>
                                        </p:tgtEl>
                                      </p:cBhvr>
                                    </p:animEffect>
                                  </p:childTnLst>
                                </p:cTn>
                              </p:par>
                              <p:par>
                                <p:cTn id="45" presetID="10" presetClass="entr" presetSubtype="0" fill="hold" nodeType="withEffect">
                                  <p:stCondLst>
                                    <p:cond delay="0"/>
                                  </p:stCondLst>
                                  <p:childTnLst>
                                    <p:set>
                                      <p:cBhvr>
                                        <p:cTn id="46" dur="1" fill="hold">
                                          <p:stCondLst>
                                            <p:cond delay="0"/>
                                          </p:stCondLst>
                                        </p:cTn>
                                        <p:tgtEl>
                                          <p:spTgt spid="133"/>
                                        </p:tgtEl>
                                        <p:attrNameLst>
                                          <p:attrName>style.visibility</p:attrName>
                                        </p:attrNameLst>
                                      </p:cBhvr>
                                      <p:to>
                                        <p:strVal val="visible"/>
                                      </p:to>
                                    </p:set>
                                    <p:animEffect transition="in" filter="fade">
                                      <p:cBhvr>
                                        <p:cTn id="47" dur="500"/>
                                        <p:tgtEl>
                                          <p:spTgt spid="133"/>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234"/>
                                        </p:tgtEl>
                                        <p:attrNameLst>
                                          <p:attrName>style.visibility</p:attrName>
                                        </p:attrNameLst>
                                      </p:cBhvr>
                                      <p:to>
                                        <p:strVal val="visible"/>
                                      </p:to>
                                    </p:set>
                                    <p:animEffect transition="in" filter="wipe(left)">
                                      <p:cBhvr>
                                        <p:cTn id="52" dur="500"/>
                                        <p:tgtEl>
                                          <p:spTgt spid="234"/>
                                        </p:tgtEl>
                                      </p:cBhvr>
                                    </p:animEffect>
                                  </p:childTnLst>
                                </p:cTn>
                              </p:par>
                            </p:childTnLst>
                          </p:cTn>
                        </p:par>
                        <p:par>
                          <p:cTn id="53" fill="hold">
                            <p:stCondLst>
                              <p:cond delay="500"/>
                            </p:stCondLst>
                            <p:childTnLst>
                              <p:par>
                                <p:cTn id="54" presetID="22" presetClass="entr" presetSubtype="8" fill="hold" nodeType="afterEffect">
                                  <p:stCondLst>
                                    <p:cond delay="0"/>
                                  </p:stCondLst>
                                  <p:childTnLst>
                                    <p:set>
                                      <p:cBhvr>
                                        <p:cTn id="55" dur="1" fill="hold">
                                          <p:stCondLst>
                                            <p:cond delay="0"/>
                                          </p:stCondLst>
                                        </p:cTn>
                                        <p:tgtEl>
                                          <p:spTgt spid="235"/>
                                        </p:tgtEl>
                                        <p:attrNameLst>
                                          <p:attrName>style.visibility</p:attrName>
                                        </p:attrNameLst>
                                      </p:cBhvr>
                                      <p:to>
                                        <p:strVal val="visible"/>
                                      </p:to>
                                    </p:set>
                                    <p:animEffect transition="in" filter="wipe(left)">
                                      <p:cBhvr>
                                        <p:cTn id="56" dur="500"/>
                                        <p:tgtEl>
                                          <p:spTgt spid="235"/>
                                        </p:tgtEl>
                                      </p:cBhvr>
                                    </p:animEffect>
                                  </p:childTnLst>
                                </p:cTn>
                              </p:par>
                            </p:childTnLst>
                          </p:cTn>
                        </p:par>
                        <p:par>
                          <p:cTn id="57" fill="hold">
                            <p:stCondLst>
                              <p:cond delay="1000"/>
                            </p:stCondLst>
                            <p:childTnLst>
                              <p:par>
                                <p:cTn id="58" presetID="22" presetClass="entr" presetSubtype="8" fill="hold" nodeType="afterEffect">
                                  <p:stCondLst>
                                    <p:cond delay="0"/>
                                  </p:stCondLst>
                                  <p:childTnLst>
                                    <p:set>
                                      <p:cBhvr>
                                        <p:cTn id="59" dur="1" fill="hold">
                                          <p:stCondLst>
                                            <p:cond delay="0"/>
                                          </p:stCondLst>
                                        </p:cTn>
                                        <p:tgtEl>
                                          <p:spTgt spid="236"/>
                                        </p:tgtEl>
                                        <p:attrNameLst>
                                          <p:attrName>style.visibility</p:attrName>
                                        </p:attrNameLst>
                                      </p:cBhvr>
                                      <p:to>
                                        <p:strVal val="visible"/>
                                      </p:to>
                                    </p:set>
                                    <p:animEffect transition="in" filter="wipe(left)">
                                      <p:cBhvr>
                                        <p:cTn id="60" dur="500"/>
                                        <p:tgtEl>
                                          <p:spTgt spid="236"/>
                                        </p:tgtEl>
                                      </p:cBhvr>
                                    </p:animEffect>
                                  </p:childTnLst>
                                </p:cTn>
                              </p:par>
                            </p:childTnLst>
                          </p:cTn>
                        </p:par>
                        <p:par>
                          <p:cTn id="61" fill="hold">
                            <p:stCondLst>
                              <p:cond delay="1500"/>
                            </p:stCondLst>
                            <p:childTnLst>
                              <p:par>
                                <p:cTn id="62" presetID="22" presetClass="entr" presetSubtype="8" fill="hold" nodeType="afterEffect">
                                  <p:stCondLst>
                                    <p:cond delay="0"/>
                                  </p:stCondLst>
                                  <p:childTnLst>
                                    <p:set>
                                      <p:cBhvr>
                                        <p:cTn id="63" dur="1" fill="hold">
                                          <p:stCondLst>
                                            <p:cond delay="0"/>
                                          </p:stCondLst>
                                        </p:cTn>
                                        <p:tgtEl>
                                          <p:spTgt spid="237"/>
                                        </p:tgtEl>
                                        <p:attrNameLst>
                                          <p:attrName>style.visibility</p:attrName>
                                        </p:attrNameLst>
                                      </p:cBhvr>
                                      <p:to>
                                        <p:strVal val="visible"/>
                                      </p:to>
                                    </p:set>
                                    <p:animEffect transition="in" filter="wipe(left)">
                                      <p:cBhvr>
                                        <p:cTn id="64" dur="500"/>
                                        <p:tgtEl>
                                          <p:spTgt spid="237"/>
                                        </p:tgtEl>
                                      </p:cBhvr>
                                    </p:animEffect>
                                  </p:childTnLst>
                                </p:cTn>
                              </p:par>
                            </p:childTnLst>
                          </p:cTn>
                        </p:par>
                        <p:par>
                          <p:cTn id="65" fill="hold">
                            <p:stCondLst>
                              <p:cond delay="2000"/>
                            </p:stCondLst>
                            <p:childTnLst>
                              <p:par>
                                <p:cTn id="66" presetID="10" presetClass="entr" presetSubtype="0" fill="hold" nodeType="afterEffect">
                                  <p:stCondLst>
                                    <p:cond delay="0"/>
                                  </p:stCondLst>
                                  <p:childTnLst>
                                    <p:set>
                                      <p:cBhvr>
                                        <p:cTn id="67" dur="1" fill="hold">
                                          <p:stCondLst>
                                            <p:cond delay="0"/>
                                          </p:stCondLst>
                                        </p:cTn>
                                        <p:tgtEl>
                                          <p:spTgt spid="25"/>
                                        </p:tgtEl>
                                        <p:attrNameLst>
                                          <p:attrName>style.visibility</p:attrName>
                                        </p:attrNameLst>
                                      </p:cBhvr>
                                      <p:to>
                                        <p:strVal val="visible"/>
                                      </p:to>
                                    </p:set>
                                    <p:animEffect transition="in" filter="fade">
                                      <p:cBhvr>
                                        <p:cTn id="68" dur="500"/>
                                        <p:tgtEl>
                                          <p:spTgt spid="25"/>
                                        </p:tgtEl>
                                      </p:cBhvr>
                                    </p:animEffect>
                                  </p:childTnLst>
                                </p:cTn>
                              </p:par>
                            </p:childTnLst>
                          </p:cTn>
                        </p:par>
                        <p:par>
                          <p:cTn id="69" fill="hold">
                            <p:stCondLst>
                              <p:cond delay="2500"/>
                            </p:stCondLst>
                            <p:childTnLst>
                              <p:par>
                                <p:cTn id="70" presetID="10" presetClass="entr" presetSubtype="0" fill="hold" grpId="0" nodeType="afterEffect">
                                  <p:stCondLst>
                                    <p:cond delay="0"/>
                                  </p:stCondLst>
                                  <p:childTnLst>
                                    <p:set>
                                      <p:cBhvr>
                                        <p:cTn id="71" dur="1" fill="hold">
                                          <p:stCondLst>
                                            <p:cond delay="0"/>
                                          </p:stCondLst>
                                        </p:cTn>
                                        <p:tgtEl>
                                          <p:spTgt spid="124"/>
                                        </p:tgtEl>
                                        <p:attrNameLst>
                                          <p:attrName>style.visibility</p:attrName>
                                        </p:attrNameLst>
                                      </p:cBhvr>
                                      <p:to>
                                        <p:strVal val="visible"/>
                                      </p:to>
                                    </p:set>
                                    <p:animEffect transition="in" filter="fade">
                                      <p:cBhvr>
                                        <p:cTn id="72" dur="500"/>
                                        <p:tgtEl>
                                          <p:spTgt spid="124"/>
                                        </p:tgtEl>
                                      </p:cBhvr>
                                    </p:animEffect>
                                  </p:childTnLst>
                                </p:cTn>
                              </p:par>
                            </p:childTnLst>
                          </p:cTn>
                        </p:par>
                        <p:par>
                          <p:cTn id="73" fill="hold">
                            <p:stCondLst>
                              <p:cond delay="3000"/>
                            </p:stCondLst>
                            <p:childTnLst>
                              <p:par>
                                <p:cTn id="74" presetID="22" presetClass="entr" presetSubtype="4" fill="hold" nodeType="afterEffect">
                                  <p:stCondLst>
                                    <p:cond delay="0"/>
                                  </p:stCondLst>
                                  <p:childTnLst>
                                    <p:set>
                                      <p:cBhvr>
                                        <p:cTn id="75" dur="1" fill="hold">
                                          <p:stCondLst>
                                            <p:cond delay="0"/>
                                          </p:stCondLst>
                                        </p:cTn>
                                        <p:tgtEl>
                                          <p:spTgt spid="144"/>
                                        </p:tgtEl>
                                        <p:attrNameLst>
                                          <p:attrName>style.visibility</p:attrName>
                                        </p:attrNameLst>
                                      </p:cBhvr>
                                      <p:to>
                                        <p:strVal val="visible"/>
                                      </p:to>
                                    </p:set>
                                    <p:animEffect transition="in" filter="wipe(down)">
                                      <p:cBhvr>
                                        <p:cTn id="76" dur="500"/>
                                        <p:tgtEl>
                                          <p:spTgt spid="144"/>
                                        </p:tgtEl>
                                      </p:cBhvr>
                                    </p:animEffect>
                                  </p:childTnLst>
                                </p:cTn>
                              </p:par>
                              <p:par>
                                <p:cTn id="77" presetID="22" presetClass="entr" presetSubtype="8" fill="hold" nodeType="withEffect">
                                  <p:stCondLst>
                                    <p:cond delay="0"/>
                                  </p:stCondLst>
                                  <p:childTnLst>
                                    <p:set>
                                      <p:cBhvr>
                                        <p:cTn id="78" dur="1" fill="hold">
                                          <p:stCondLst>
                                            <p:cond delay="0"/>
                                          </p:stCondLst>
                                        </p:cTn>
                                        <p:tgtEl>
                                          <p:spTgt spid="145"/>
                                        </p:tgtEl>
                                        <p:attrNameLst>
                                          <p:attrName>style.visibility</p:attrName>
                                        </p:attrNameLst>
                                      </p:cBhvr>
                                      <p:to>
                                        <p:strVal val="visible"/>
                                      </p:to>
                                    </p:set>
                                    <p:animEffect transition="in" filter="wipe(left)">
                                      <p:cBhvr>
                                        <p:cTn id="79" dur="500"/>
                                        <p:tgtEl>
                                          <p:spTgt spid="145"/>
                                        </p:tgtEl>
                                      </p:cBhvr>
                                    </p:animEffect>
                                  </p:childTnLst>
                                </p:cTn>
                              </p:par>
                            </p:childTnLst>
                          </p:cTn>
                        </p:par>
                        <p:par>
                          <p:cTn id="80" fill="hold">
                            <p:stCondLst>
                              <p:cond delay="3500"/>
                            </p:stCondLst>
                            <p:childTnLst>
                              <p:par>
                                <p:cTn id="81" presetID="10" presetClass="entr" presetSubtype="0" fill="hold" nodeType="afterEffect">
                                  <p:stCondLst>
                                    <p:cond delay="0"/>
                                  </p:stCondLst>
                                  <p:childTnLst>
                                    <p:set>
                                      <p:cBhvr>
                                        <p:cTn id="82" dur="1" fill="hold">
                                          <p:stCondLst>
                                            <p:cond delay="0"/>
                                          </p:stCondLst>
                                        </p:cTn>
                                        <p:tgtEl>
                                          <p:spTgt spid="240"/>
                                        </p:tgtEl>
                                        <p:attrNameLst>
                                          <p:attrName>style.visibility</p:attrName>
                                        </p:attrNameLst>
                                      </p:cBhvr>
                                      <p:to>
                                        <p:strVal val="visible"/>
                                      </p:to>
                                    </p:set>
                                    <p:animEffect transition="in" filter="fade">
                                      <p:cBhvr>
                                        <p:cTn id="83" dur="500"/>
                                        <p:tgtEl>
                                          <p:spTgt spid="240"/>
                                        </p:tgtEl>
                                      </p:cBhvr>
                                    </p:animEffect>
                                  </p:childTnLst>
                                </p:cTn>
                              </p:par>
                              <p:par>
                                <p:cTn id="84" presetID="10" presetClass="entr" presetSubtype="0" fill="hold" nodeType="withEffect">
                                  <p:stCondLst>
                                    <p:cond delay="0"/>
                                  </p:stCondLst>
                                  <p:childTnLst>
                                    <p:set>
                                      <p:cBhvr>
                                        <p:cTn id="85" dur="1" fill="hold">
                                          <p:stCondLst>
                                            <p:cond delay="0"/>
                                          </p:stCondLst>
                                        </p:cTn>
                                        <p:tgtEl>
                                          <p:spTgt spid="4"/>
                                        </p:tgtEl>
                                        <p:attrNameLst>
                                          <p:attrName>style.visibility</p:attrName>
                                        </p:attrNameLst>
                                      </p:cBhvr>
                                      <p:to>
                                        <p:strVal val="visible"/>
                                      </p:to>
                                    </p:set>
                                    <p:animEffect transition="in" filter="fade">
                                      <p:cBhvr>
                                        <p:cTn id="86" dur="500"/>
                                        <p:tgtEl>
                                          <p:spTgt spid="4"/>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11"/>
                                        </p:tgtEl>
                                        <p:attrNameLst>
                                          <p:attrName>style.visibility</p:attrName>
                                        </p:attrNameLst>
                                      </p:cBhvr>
                                      <p:to>
                                        <p:strVal val="visible"/>
                                      </p:to>
                                    </p:set>
                                    <p:animEffect transition="in" filter="fade">
                                      <p:cBhvr>
                                        <p:cTn id="91" dur="50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P spid="103" grpId="0"/>
      <p:bldP spid="105" grpId="0"/>
      <p:bldP spid="106" grpId="0"/>
      <p:bldP spid="107" grpId="0"/>
      <p:bldP spid="122" grpId="0"/>
      <p:bldP spid="12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4593154" y="5491351"/>
            <a:ext cx="2644933" cy="932754"/>
            <a:chOff x="666836" y="5143164"/>
            <a:chExt cx="3539743" cy="1248316"/>
          </a:xfrm>
        </p:grpSpPr>
        <p:sp>
          <p:nvSpPr>
            <p:cNvPr id="21" name="Freeform 133"/>
            <p:cNvSpPr>
              <a:spLocks noEditPoints="1"/>
            </p:cNvSpPr>
            <p:nvPr/>
          </p:nvSpPr>
          <p:spPr bwMode="black">
            <a:xfrm>
              <a:off x="1716214" y="5539517"/>
              <a:ext cx="559156" cy="559953"/>
            </a:xfrm>
            <a:custGeom>
              <a:avLst/>
              <a:gdLst>
                <a:gd name="T0" fmla="*/ 902 w 1099"/>
                <a:gd name="T1" fmla="*/ 0 h 1099"/>
                <a:gd name="T2" fmla="*/ 197 w 1099"/>
                <a:gd name="T3" fmla="*/ 0 h 1099"/>
                <a:gd name="T4" fmla="*/ 0 w 1099"/>
                <a:gd name="T5" fmla="*/ 197 h 1099"/>
                <a:gd name="T6" fmla="*/ 0 w 1099"/>
                <a:gd name="T7" fmla="*/ 902 h 1099"/>
                <a:gd name="T8" fmla="*/ 197 w 1099"/>
                <a:gd name="T9" fmla="*/ 1099 h 1099"/>
                <a:gd name="T10" fmla="*/ 902 w 1099"/>
                <a:gd name="T11" fmla="*/ 1099 h 1099"/>
                <a:gd name="T12" fmla="*/ 1099 w 1099"/>
                <a:gd name="T13" fmla="*/ 902 h 1099"/>
                <a:gd name="T14" fmla="*/ 1099 w 1099"/>
                <a:gd name="T15" fmla="*/ 197 h 1099"/>
                <a:gd name="T16" fmla="*/ 902 w 1099"/>
                <a:gd name="T17" fmla="*/ 0 h 1099"/>
                <a:gd name="T18" fmla="*/ 932 w 1099"/>
                <a:gd name="T19" fmla="*/ 285 h 1099"/>
                <a:gd name="T20" fmla="*/ 859 w 1099"/>
                <a:gd name="T21" fmla="*/ 285 h 1099"/>
                <a:gd name="T22" fmla="*/ 793 w 1099"/>
                <a:gd name="T23" fmla="*/ 351 h 1099"/>
                <a:gd name="T24" fmla="*/ 793 w 1099"/>
                <a:gd name="T25" fmla="*/ 400 h 1099"/>
                <a:gd name="T26" fmla="*/ 932 w 1099"/>
                <a:gd name="T27" fmla="*/ 400 h 1099"/>
                <a:gd name="T28" fmla="*/ 932 w 1099"/>
                <a:gd name="T29" fmla="*/ 550 h 1099"/>
                <a:gd name="T30" fmla="*/ 793 w 1099"/>
                <a:gd name="T31" fmla="*/ 550 h 1099"/>
                <a:gd name="T32" fmla="*/ 793 w 1099"/>
                <a:gd name="T33" fmla="*/ 1010 h 1099"/>
                <a:gd name="T34" fmla="*/ 596 w 1099"/>
                <a:gd name="T35" fmla="*/ 1010 h 1099"/>
                <a:gd name="T36" fmla="*/ 596 w 1099"/>
                <a:gd name="T37" fmla="*/ 550 h 1099"/>
                <a:gd name="T38" fmla="*/ 470 w 1099"/>
                <a:gd name="T39" fmla="*/ 550 h 1099"/>
                <a:gd name="T40" fmla="*/ 470 w 1099"/>
                <a:gd name="T41" fmla="*/ 400 h 1099"/>
                <a:gd name="T42" fmla="*/ 596 w 1099"/>
                <a:gd name="T43" fmla="*/ 400 h 1099"/>
                <a:gd name="T44" fmla="*/ 596 w 1099"/>
                <a:gd name="T45" fmla="*/ 311 h 1099"/>
                <a:gd name="T46" fmla="*/ 772 w 1099"/>
                <a:gd name="T47" fmla="*/ 135 h 1099"/>
                <a:gd name="T48" fmla="*/ 932 w 1099"/>
                <a:gd name="T49" fmla="*/ 135 h 1099"/>
                <a:gd name="T50" fmla="*/ 932 w 1099"/>
                <a:gd name="T51" fmla="*/ 285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9" h="1099">
                  <a:moveTo>
                    <a:pt x="902" y="0"/>
                  </a:moveTo>
                  <a:cubicBezTo>
                    <a:pt x="197" y="0"/>
                    <a:pt x="197" y="0"/>
                    <a:pt x="197" y="0"/>
                  </a:cubicBezTo>
                  <a:cubicBezTo>
                    <a:pt x="88" y="0"/>
                    <a:pt x="0" y="88"/>
                    <a:pt x="0" y="197"/>
                  </a:cubicBezTo>
                  <a:cubicBezTo>
                    <a:pt x="0" y="902"/>
                    <a:pt x="0" y="902"/>
                    <a:pt x="0" y="902"/>
                  </a:cubicBezTo>
                  <a:cubicBezTo>
                    <a:pt x="0" y="1010"/>
                    <a:pt x="88" y="1099"/>
                    <a:pt x="197" y="1099"/>
                  </a:cubicBezTo>
                  <a:cubicBezTo>
                    <a:pt x="902" y="1099"/>
                    <a:pt x="902" y="1099"/>
                    <a:pt x="902" y="1099"/>
                  </a:cubicBezTo>
                  <a:cubicBezTo>
                    <a:pt x="1010" y="1099"/>
                    <a:pt x="1099" y="1010"/>
                    <a:pt x="1099" y="902"/>
                  </a:cubicBezTo>
                  <a:cubicBezTo>
                    <a:pt x="1099" y="197"/>
                    <a:pt x="1099" y="197"/>
                    <a:pt x="1099" y="197"/>
                  </a:cubicBezTo>
                  <a:cubicBezTo>
                    <a:pt x="1099" y="88"/>
                    <a:pt x="1010" y="0"/>
                    <a:pt x="902" y="0"/>
                  </a:cubicBezTo>
                  <a:close/>
                  <a:moveTo>
                    <a:pt x="932" y="285"/>
                  </a:moveTo>
                  <a:cubicBezTo>
                    <a:pt x="932" y="285"/>
                    <a:pt x="932" y="285"/>
                    <a:pt x="859" y="285"/>
                  </a:cubicBezTo>
                  <a:cubicBezTo>
                    <a:pt x="822" y="285"/>
                    <a:pt x="793" y="314"/>
                    <a:pt x="793" y="351"/>
                  </a:cubicBezTo>
                  <a:cubicBezTo>
                    <a:pt x="793" y="351"/>
                    <a:pt x="793" y="351"/>
                    <a:pt x="793" y="400"/>
                  </a:cubicBezTo>
                  <a:cubicBezTo>
                    <a:pt x="793" y="400"/>
                    <a:pt x="793" y="400"/>
                    <a:pt x="932" y="400"/>
                  </a:cubicBezTo>
                  <a:cubicBezTo>
                    <a:pt x="932" y="400"/>
                    <a:pt x="932" y="400"/>
                    <a:pt x="932" y="550"/>
                  </a:cubicBezTo>
                  <a:cubicBezTo>
                    <a:pt x="932" y="550"/>
                    <a:pt x="932" y="550"/>
                    <a:pt x="793" y="550"/>
                  </a:cubicBezTo>
                  <a:cubicBezTo>
                    <a:pt x="793" y="550"/>
                    <a:pt x="793" y="550"/>
                    <a:pt x="793" y="1010"/>
                  </a:cubicBezTo>
                  <a:cubicBezTo>
                    <a:pt x="793" y="1010"/>
                    <a:pt x="793" y="1010"/>
                    <a:pt x="596" y="1010"/>
                  </a:cubicBezTo>
                  <a:cubicBezTo>
                    <a:pt x="596" y="1010"/>
                    <a:pt x="596" y="1010"/>
                    <a:pt x="596" y="550"/>
                  </a:cubicBezTo>
                  <a:cubicBezTo>
                    <a:pt x="596" y="550"/>
                    <a:pt x="596" y="550"/>
                    <a:pt x="470" y="550"/>
                  </a:cubicBezTo>
                  <a:cubicBezTo>
                    <a:pt x="470" y="550"/>
                    <a:pt x="470" y="550"/>
                    <a:pt x="470" y="400"/>
                  </a:cubicBezTo>
                  <a:cubicBezTo>
                    <a:pt x="470" y="400"/>
                    <a:pt x="470" y="400"/>
                    <a:pt x="596" y="400"/>
                  </a:cubicBezTo>
                  <a:cubicBezTo>
                    <a:pt x="596" y="400"/>
                    <a:pt x="596" y="400"/>
                    <a:pt x="596" y="311"/>
                  </a:cubicBezTo>
                  <a:cubicBezTo>
                    <a:pt x="596" y="214"/>
                    <a:pt x="675" y="135"/>
                    <a:pt x="772" y="135"/>
                  </a:cubicBezTo>
                  <a:cubicBezTo>
                    <a:pt x="772" y="135"/>
                    <a:pt x="772" y="135"/>
                    <a:pt x="932" y="135"/>
                  </a:cubicBezTo>
                  <a:cubicBezTo>
                    <a:pt x="932" y="135"/>
                    <a:pt x="932" y="135"/>
                    <a:pt x="932" y="285"/>
                  </a:cubicBezTo>
                  <a:close/>
                </a:path>
              </a:pathLst>
            </a:custGeom>
            <a:solidFill>
              <a:srgbClr val="FFFFFF"/>
            </a:solidFill>
            <a:ln>
              <a:noFill/>
            </a:ln>
            <a:extLst/>
          </p:spPr>
          <p:txBody>
            <a:bodyPr vert="horz" wrap="square" lIns="89606" tIns="44804" rIns="89606" bIns="44804" numCol="1" anchor="t" anchorCtr="0" compatLnSpc="1">
              <a:prstTxWarp prst="textNoShape">
                <a:avLst/>
              </a:prstTxWarp>
            </a:bodyPr>
            <a:lstStyle/>
            <a:p>
              <a:pPr defTabSz="913915"/>
              <a:endParaRPr lang="en-US" sz="1764" dirty="0">
                <a:solidFill>
                  <a:srgbClr val="292929"/>
                </a:solidFill>
              </a:endParaRPr>
            </a:p>
          </p:txBody>
        </p:sp>
        <p:pic>
          <p:nvPicPr>
            <p:cNvPr id="22" name="Picture 17" descr="C:\Users\Justin\Desktop\_Work_in_Progress\_MS\1463\yaho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48731" y="5566724"/>
              <a:ext cx="689234" cy="430598"/>
            </a:xfrm>
            <a:prstGeom prst="rect">
              <a:avLst/>
            </a:prstGeom>
            <a:ln>
              <a:noFill/>
            </a:ln>
            <a:effectLst/>
            <a:extLst/>
          </p:spPr>
        </p:pic>
        <p:pic>
          <p:nvPicPr>
            <p:cNvPr id="23" name="Picture 18" descr="C:\Users\Justin\Desktop\_Work_in_Progress\_MS\1463\google (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87337" y="5516697"/>
              <a:ext cx="539241" cy="530651"/>
            </a:xfrm>
            <a:prstGeom prst="rect">
              <a:avLst/>
            </a:prstGeom>
            <a:ln>
              <a:noFill/>
            </a:ln>
            <a:effectLst/>
            <a:extLst/>
          </p:spPr>
        </p:pic>
        <p:sp>
          <p:nvSpPr>
            <p:cNvPr id="24" name="Freeform 6"/>
            <p:cNvSpPr>
              <a:spLocks noEditPoints="1"/>
            </p:cNvSpPr>
            <p:nvPr/>
          </p:nvSpPr>
          <p:spPr bwMode="auto">
            <a:xfrm>
              <a:off x="987971" y="5539517"/>
              <a:ext cx="545365" cy="559953"/>
            </a:xfrm>
            <a:custGeom>
              <a:avLst/>
              <a:gdLst>
                <a:gd name="T0" fmla="*/ 2014 w 2229"/>
                <a:gd name="T1" fmla="*/ 21 h 2289"/>
                <a:gd name="T2" fmla="*/ 638 w 2229"/>
                <a:gd name="T3" fmla="*/ 21 h 2289"/>
                <a:gd name="T4" fmla="*/ 1062 w 2229"/>
                <a:gd name="T5" fmla="*/ 177 h 2289"/>
                <a:gd name="T6" fmla="*/ 1842 w 2229"/>
                <a:gd name="T7" fmla="*/ 177 h 2289"/>
                <a:gd name="T8" fmla="*/ 1982 w 2229"/>
                <a:gd name="T9" fmla="*/ 301 h 2289"/>
                <a:gd name="T10" fmla="*/ 1642 w 2229"/>
                <a:gd name="T11" fmla="*/ 1561 h 2289"/>
                <a:gd name="T12" fmla="*/ 1514 w 2229"/>
                <a:gd name="T13" fmla="*/ 1693 h 2289"/>
                <a:gd name="T14" fmla="*/ 1446 w 2229"/>
                <a:gd name="T15" fmla="*/ 1693 h 2289"/>
                <a:gd name="T16" fmla="*/ 1394 w 2229"/>
                <a:gd name="T17" fmla="*/ 1901 h 2289"/>
                <a:gd name="T18" fmla="*/ 1522 w 2229"/>
                <a:gd name="T19" fmla="*/ 1901 h 2289"/>
                <a:gd name="T20" fmla="*/ 1830 w 2229"/>
                <a:gd name="T21" fmla="*/ 1601 h 2289"/>
                <a:gd name="T22" fmla="*/ 2154 w 2229"/>
                <a:gd name="T23" fmla="*/ 313 h 2289"/>
                <a:gd name="T24" fmla="*/ 2014 w 2229"/>
                <a:gd name="T25" fmla="*/ 21 h 2289"/>
                <a:gd name="T26" fmla="*/ 1607 w 2229"/>
                <a:gd name="T27" fmla="*/ 426 h 2289"/>
                <a:gd name="T28" fmla="*/ 535 w 2229"/>
                <a:gd name="T29" fmla="*/ 13 h 2289"/>
                <a:gd name="T30" fmla="*/ 482 w 2229"/>
                <a:gd name="T31" fmla="*/ 37 h 2289"/>
                <a:gd name="T32" fmla="*/ 260 w 2229"/>
                <a:gd name="T33" fmla="*/ 856 h 2289"/>
                <a:gd name="T34" fmla="*/ 778 w 2229"/>
                <a:gd name="T35" fmla="*/ 856 h 2289"/>
                <a:gd name="T36" fmla="*/ 778 w 2229"/>
                <a:gd name="T37" fmla="*/ 447 h 2289"/>
                <a:gd name="T38" fmla="*/ 1442 w 2229"/>
                <a:gd name="T39" fmla="*/ 1111 h 2289"/>
                <a:gd name="T40" fmla="*/ 778 w 2229"/>
                <a:gd name="T41" fmla="*/ 1775 h 2289"/>
                <a:gd name="T42" fmla="*/ 778 w 2229"/>
                <a:gd name="T43" fmla="*/ 1336 h 2289"/>
                <a:gd name="T44" fmla="*/ 130 w 2229"/>
                <a:gd name="T45" fmla="*/ 1336 h 2289"/>
                <a:gd name="T46" fmla="*/ 18 w 2229"/>
                <a:gd name="T47" fmla="*/ 1746 h 2289"/>
                <a:gd name="T48" fmla="*/ 34 w 2229"/>
                <a:gd name="T49" fmla="*/ 1809 h 2289"/>
                <a:gd name="T50" fmla="*/ 1117 w 2229"/>
                <a:gd name="T51" fmla="*/ 2234 h 2289"/>
                <a:gd name="T52" fmla="*/ 1269 w 2229"/>
                <a:gd name="T53" fmla="*/ 2186 h 2289"/>
                <a:gd name="T54" fmla="*/ 1695 w 2229"/>
                <a:gd name="T55" fmla="*/ 661 h 2289"/>
                <a:gd name="T56" fmla="*/ 1607 w 2229"/>
                <a:gd name="T57" fmla="*/ 426 h 2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29" h="2289">
                  <a:moveTo>
                    <a:pt x="2014" y="21"/>
                  </a:moveTo>
                  <a:cubicBezTo>
                    <a:pt x="638" y="21"/>
                    <a:pt x="638" y="21"/>
                    <a:pt x="638" y="21"/>
                  </a:cubicBezTo>
                  <a:cubicBezTo>
                    <a:pt x="1062" y="177"/>
                    <a:pt x="1062" y="177"/>
                    <a:pt x="1062" y="177"/>
                  </a:cubicBezTo>
                  <a:cubicBezTo>
                    <a:pt x="1842" y="177"/>
                    <a:pt x="1842" y="177"/>
                    <a:pt x="1842" y="177"/>
                  </a:cubicBezTo>
                  <a:cubicBezTo>
                    <a:pt x="2026" y="177"/>
                    <a:pt x="1982" y="301"/>
                    <a:pt x="1982" y="301"/>
                  </a:cubicBezTo>
                  <a:cubicBezTo>
                    <a:pt x="1642" y="1561"/>
                    <a:pt x="1642" y="1561"/>
                    <a:pt x="1642" y="1561"/>
                  </a:cubicBezTo>
                  <a:cubicBezTo>
                    <a:pt x="1600" y="1696"/>
                    <a:pt x="1514" y="1693"/>
                    <a:pt x="1514" y="1693"/>
                  </a:cubicBezTo>
                  <a:cubicBezTo>
                    <a:pt x="1446" y="1693"/>
                    <a:pt x="1446" y="1693"/>
                    <a:pt x="1446" y="1693"/>
                  </a:cubicBezTo>
                  <a:cubicBezTo>
                    <a:pt x="1394" y="1901"/>
                    <a:pt x="1394" y="1901"/>
                    <a:pt x="1394" y="1901"/>
                  </a:cubicBezTo>
                  <a:cubicBezTo>
                    <a:pt x="1522" y="1901"/>
                    <a:pt x="1522" y="1901"/>
                    <a:pt x="1522" y="1901"/>
                  </a:cubicBezTo>
                  <a:cubicBezTo>
                    <a:pt x="1764" y="1900"/>
                    <a:pt x="1830" y="1601"/>
                    <a:pt x="1830" y="1601"/>
                  </a:cubicBezTo>
                  <a:cubicBezTo>
                    <a:pt x="2154" y="313"/>
                    <a:pt x="2154" y="313"/>
                    <a:pt x="2154" y="313"/>
                  </a:cubicBezTo>
                  <a:cubicBezTo>
                    <a:pt x="2229" y="15"/>
                    <a:pt x="2014" y="21"/>
                    <a:pt x="2014" y="21"/>
                  </a:cubicBezTo>
                  <a:close/>
                  <a:moveTo>
                    <a:pt x="1607" y="426"/>
                  </a:moveTo>
                  <a:cubicBezTo>
                    <a:pt x="535" y="13"/>
                    <a:pt x="535" y="13"/>
                    <a:pt x="535" y="13"/>
                  </a:cubicBezTo>
                  <a:cubicBezTo>
                    <a:pt x="493" y="0"/>
                    <a:pt x="482" y="37"/>
                    <a:pt x="482" y="37"/>
                  </a:cubicBezTo>
                  <a:cubicBezTo>
                    <a:pt x="260" y="856"/>
                    <a:pt x="260" y="856"/>
                    <a:pt x="260" y="856"/>
                  </a:cubicBezTo>
                  <a:cubicBezTo>
                    <a:pt x="778" y="856"/>
                    <a:pt x="778" y="856"/>
                    <a:pt x="778" y="856"/>
                  </a:cubicBezTo>
                  <a:cubicBezTo>
                    <a:pt x="778" y="447"/>
                    <a:pt x="778" y="447"/>
                    <a:pt x="778" y="447"/>
                  </a:cubicBezTo>
                  <a:cubicBezTo>
                    <a:pt x="1442" y="1111"/>
                    <a:pt x="1442" y="1111"/>
                    <a:pt x="1442" y="1111"/>
                  </a:cubicBezTo>
                  <a:cubicBezTo>
                    <a:pt x="778" y="1775"/>
                    <a:pt x="778" y="1775"/>
                    <a:pt x="778" y="1775"/>
                  </a:cubicBezTo>
                  <a:cubicBezTo>
                    <a:pt x="778" y="1336"/>
                    <a:pt x="778" y="1336"/>
                    <a:pt x="778" y="1336"/>
                  </a:cubicBezTo>
                  <a:cubicBezTo>
                    <a:pt x="130" y="1336"/>
                    <a:pt x="130" y="1336"/>
                    <a:pt x="130" y="1336"/>
                  </a:cubicBezTo>
                  <a:cubicBezTo>
                    <a:pt x="18" y="1746"/>
                    <a:pt x="18" y="1746"/>
                    <a:pt x="18" y="1746"/>
                  </a:cubicBezTo>
                  <a:cubicBezTo>
                    <a:pt x="0" y="1798"/>
                    <a:pt x="34" y="1809"/>
                    <a:pt x="34" y="1809"/>
                  </a:cubicBezTo>
                  <a:cubicBezTo>
                    <a:pt x="1117" y="2234"/>
                    <a:pt x="1117" y="2234"/>
                    <a:pt x="1117" y="2234"/>
                  </a:cubicBezTo>
                  <a:cubicBezTo>
                    <a:pt x="1245" y="2289"/>
                    <a:pt x="1269" y="2186"/>
                    <a:pt x="1269" y="2186"/>
                  </a:cubicBezTo>
                  <a:cubicBezTo>
                    <a:pt x="1695" y="661"/>
                    <a:pt x="1695" y="661"/>
                    <a:pt x="1695" y="661"/>
                  </a:cubicBezTo>
                  <a:cubicBezTo>
                    <a:pt x="1754" y="450"/>
                    <a:pt x="1607" y="426"/>
                    <a:pt x="1607" y="426"/>
                  </a:cubicBezTo>
                  <a:close/>
                </a:path>
              </a:pathLst>
            </a:custGeom>
            <a:solidFill>
              <a:srgbClr val="FFFFFF"/>
            </a:solidFill>
            <a:ln>
              <a:noFill/>
            </a:ln>
          </p:spPr>
          <p:txBody>
            <a:bodyPr vert="horz" wrap="square" lIns="89606" tIns="44804" rIns="89606" bIns="44804" numCol="1" anchor="t" anchorCtr="0" compatLnSpc="1">
              <a:prstTxWarp prst="textNoShape">
                <a:avLst/>
              </a:prstTxWarp>
            </a:bodyPr>
            <a:lstStyle/>
            <a:p>
              <a:pPr defTabSz="913915"/>
              <a:endParaRPr lang="en-US" sz="1764" dirty="0">
                <a:solidFill>
                  <a:srgbClr val="292929"/>
                </a:solidFill>
              </a:endParaRPr>
            </a:p>
          </p:txBody>
        </p:sp>
        <p:sp>
          <p:nvSpPr>
            <p:cNvPr id="4" name="Rectangle 3"/>
            <p:cNvSpPr/>
            <p:nvPr/>
          </p:nvSpPr>
          <p:spPr bwMode="auto">
            <a:xfrm>
              <a:off x="666836" y="5143164"/>
              <a:ext cx="3539743" cy="1248316"/>
            </a:xfrm>
            <a:prstGeom prst="rect">
              <a:avLst/>
            </a:prstGeom>
            <a:noFill/>
            <a:ln w="76200">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51430" y="5333948"/>
            <a:ext cx="1858409" cy="1247558"/>
          </a:xfrm>
          <a:prstGeom prst="rect">
            <a:avLst/>
          </a:prstGeom>
        </p:spPr>
      </p:pic>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49683" y="5316334"/>
            <a:ext cx="809566" cy="1323320"/>
          </a:xfrm>
          <a:prstGeom prst="rect">
            <a:avLst/>
          </a:prstGeom>
        </p:spPr>
      </p:pic>
      <p:pic>
        <p:nvPicPr>
          <p:cNvPr id="35" name="Picture 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4557" y="5462678"/>
            <a:ext cx="990097" cy="990097"/>
          </a:xfrm>
          <a:prstGeom prst="rect">
            <a:avLst/>
          </a:prstGeom>
        </p:spPr>
      </p:pic>
      <p:pic>
        <p:nvPicPr>
          <p:cNvPr id="36" name="Picture 35"/>
          <p:cNvPicPr>
            <a:picLocks noChangeAspect="1"/>
          </p:cNvPicPr>
          <p:nvPr/>
        </p:nvPicPr>
        <p:blipFill rotWithShape="1">
          <a:blip r:embed="rId8" cstate="print">
            <a:extLst>
              <a:ext uri="{28A0092B-C50C-407E-A947-70E740481C1C}">
                <a14:useLocalDpi xmlns:a14="http://schemas.microsoft.com/office/drawing/2010/main" val="0"/>
              </a:ext>
            </a:extLst>
          </a:blip>
          <a:srcRect l="19038" r="18880"/>
          <a:stretch/>
        </p:blipFill>
        <p:spPr>
          <a:xfrm>
            <a:off x="9935275" y="5372586"/>
            <a:ext cx="726538" cy="1170282"/>
          </a:xfrm>
          <a:prstGeom prst="rect">
            <a:avLst/>
          </a:prstGeom>
        </p:spPr>
      </p:pic>
      <p:pic>
        <p:nvPicPr>
          <p:cNvPr id="38" name="Picture 3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86503" y="5187258"/>
            <a:ext cx="2073013" cy="1540938"/>
          </a:xfrm>
          <a:prstGeom prst="rect">
            <a:avLst/>
          </a:prstGeom>
        </p:spPr>
      </p:pic>
      <p:pic>
        <p:nvPicPr>
          <p:cNvPr id="39" name="Picture 3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97708" y="5440019"/>
            <a:ext cx="634922" cy="1035413"/>
          </a:xfrm>
          <a:prstGeom prst="rect">
            <a:avLst/>
          </a:prstGeom>
        </p:spPr>
      </p:pic>
      <p:sp>
        <p:nvSpPr>
          <p:cNvPr id="10" name="Rectangle 9"/>
          <p:cNvSpPr/>
          <p:nvPr/>
        </p:nvSpPr>
        <p:spPr bwMode="auto">
          <a:xfrm>
            <a:off x="2454" y="1865"/>
            <a:ext cx="12187096" cy="5124834"/>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4098" name="Rectangle 2"/>
          <p:cNvSpPr>
            <a:spLocks noChangeArrowheads="1"/>
          </p:cNvSpPr>
          <p:nvPr/>
        </p:nvSpPr>
        <p:spPr bwMode="auto">
          <a:xfrm>
            <a:off x="510248" y="1039527"/>
            <a:ext cx="219789" cy="479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799" tIns="54400" rIns="108799" bIns="54400">
            <a:spAutoFit/>
          </a:bodyPr>
          <a:lstStyle/>
          <a:p>
            <a:pPr defTabSz="913771"/>
            <a:endParaRPr lang="en-US" sz="2352">
              <a:solidFill>
                <a:srgbClr val="C31A21"/>
              </a:solidFill>
            </a:endParaRPr>
          </a:p>
        </p:txBody>
      </p:sp>
      <p:sp>
        <p:nvSpPr>
          <p:cNvPr id="2" name="Title 1"/>
          <p:cNvSpPr>
            <a:spLocks noGrp="1"/>
          </p:cNvSpPr>
          <p:nvPr>
            <p:ph type="title"/>
          </p:nvPr>
        </p:nvSpPr>
        <p:spPr/>
        <p:txBody>
          <a:bodyPr/>
          <a:lstStyle/>
          <a:p>
            <a:r>
              <a:rPr lang="en-US" sz="4800" dirty="0">
                <a:gradFill>
                  <a:gsLst>
                    <a:gs pos="6195">
                      <a:srgbClr val="505050"/>
                    </a:gs>
                    <a:gs pos="26000">
                      <a:srgbClr val="505050"/>
                    </a:gs>
                  </a:gsLst>
                  <a:lin ang="5400000" scaled="0"/>
                </a:gradFill>
              </a:rPr>
              <a:t>Users need </a:t>
            </a:r>
            <a:r>
              <a:rPr lang="en-US" sz="4800" dirty="0">
                <a:gradFill>
                  <a:gsLst>
                    <a:gs pos="6195">
                      <a:srgbClr val="505050"/>
                    </a:gs>
                    <a:gs pos="26000">
                      <a:srgbClr val="505050"/>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common</a:t>
            </a:r>
            <a:r>
              <a:rPr lang="en-US" sz="4800" dirty="0">
                <a:gradFill>
                  <a:gsLst>
                    <a:gs pos="6195">
                      <a:srgbClr val="505050"/>
                    </a:gs>
                    <a:gs pos="26000">
                      <a:srgbClr val="505050"/>
                    </a:gs>
                  </a:gsLst>
                  <a:lin ang="5400000" scaled="0"/>
                </a:gradFill>
              </a:rPr>
              <a:t> on-premises </a:t>
            </a:r>
            <a:r>
              <a:rPr lang="en-US" sz="4800" dirty="0">
                <a:gradFill>
                  <a:gsLst>
                    <a:gs pos="6195">
                      <a:srgbClr val="505050"/>
                    </a:gs>
                    <a:gs pos="26000">
                      <a:srgbClr val="505050"/>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and</a:t>
            </a:r>
            <a:r>
              <a:rPr lang="en-US" sz="4800" dirty="0">
                <a:gradFill>
                  <a:gsLst>
                    <a:gs pos="6195">
                      <a:srgbClr val="505050"/>
                    </a:gs>
                    <a:gs pos="26000">
                      <a:srgbClr val="505050"/>
                    </a:gs>
                  </a:gsLst>
                  <a:lin ang="5400000" scaled="0"/>
                </a:gradFill>
              </a:rPr>
              <a:t> cloud identity</a:t>
            </a:r>
            <a:endParaRPr lang="en-US" sz="4400" dirty="0">
              <a:gradFill>
                <a:gsLst>
                  <a:gs pos="1250">
                    <a:schemeClr val="bg1"/>
                  </a:gs>
                  <a:gs pos="100000">
                    <a:schemeClr val="bg1"/>
                  </a:gs>
                </a:gsLst>
                <a:lin ang="5400000" scaled="0"/>
              </a:gradFill>
            </a:endParaRPr>
          </a:p>
        </p:txBody>
      </p:sp>
      <p:grpSp>
        <p:nvGrpSpPr>
          <p:cNvPr id="11" name="Group 10"/>
          <p:cNvGrpSpPr/>
          <p:nvPr/>
        </p:nvGrpSpPr>
        <p:grpSpPr>
          <a:xfrm>
            <a:off x="8610712" y="2149454"/>
            <a:ext cx="2964080" cy="1790078"/>
            <a:chOff x="1411369" y="3975421"/>
            <a:chExt cx="1714604" cy="1035908"/>
          </a:xfrm>
          <a:solidFill>
            <a:srgbClr val="FFFFFF"/>
          </a:solidFill>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89606" tIns="44804" rIns="89606" bIns="44804" numCol="1" anchor="t" anchorCtr="0" compatLnSpc="1">
              <a:prstTxWarp prst="textNoShape">
                <a:avLst/>
              </a:prstTxWarp>
            </a:bodyPr>
            <a:lstStyle/>
            <a:p>
              <a:pPr defTabSz="914314"/>
              <a:endParaRPr lang="en-US" sz="1764">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89606" tIns="44804" rIns="89606" bIns="44804" numCol="1" anchor="t" anchorCtr="0" compatLnSpc="1">
              <a:prstTxWarp prst="textNoShape">
                <a:avLst/>
              </a:prstTxWarp>
            </a:bodyPr>
            <a:lstStyle/>
            <a:p>
              <a:pPr defTabSz="914314"/>
              <a:endParaRPr lang="en-US" sz="1764">
                <a:solidFill>
                  <a:srgbClr val="292929"/>
                </a:solidFill>
              </a:endParaRPr>
            </a:p>
          </p:txBody>
        </p:sp>
      </p:grpSp>
      <p:sp>
        <p:nvSpPr>
          <p:cNvPr id="9" name="Right Arrow 8"/>
          <p:cNvSpPr/>
          <p:nvPr/>
        </p:nvSpPr>
        <p:spPr bwMode="auto">
          <a:xfrm>
            <a:off x="7526332" y="2713931"/>
            <a:ext cx="596046" cy="806449"/>
          </a:xfrm>
          <a:prstGeom prst="right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Right Arrow 15"/>
          <p:cNvSpPr/>
          <p:nvPr/>
        </p:nvSpPr>
        <p:spPr bwMode="auto">
          <a:xfrm rot="10800000">
            <a:off x="4151935" y="2713930"/>
            <a:ext cx="596046" cy="806449"/>
          </a:xfrm>
          <a:prstGeom prst="right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rot="5400000">
            <a:off x="5797978" y="4425453"/>
            <a:ext cx="596046" cy="806449"/>
          </a:xfrm>
          <a:prstGeom prst="right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13"/>
          <p:cNvGrpSpPr/>
          <p:nvPr/>
        </p:nvGrpSpPr>
        <p:grpSpPr>
          <a:xfrm>
            <a:off x="4698580" y="1719734"/>
            <a:ext cx="2794843" cy="2794843"/>
            <a:chOff x="4115140" y="2098199"/>
            <a:chExt cx="3657560" cy="3657560"/>
          </a:xfrm>
        </p:grpSpPr>
        <p:sp>
          <p:nvSpPr>
            <p:cNvPr id="8" name="Oval 7"/>
            <p:cNvSpPr/>
            <p:nvPr/>
          </p:nvSpPr>
          <p:spPr bwMode="auto">
            <a:xfrm>
              <a:off x="4115140" y="2098199"/>
              <a:ext cx="3657560" cy="3657560"/>
            </a:xfrm>
            <a:prstGeom prst="ellipse">
              <a:avLst/>
            </a:prstGeom>
            <a:solidFill>
              <a:schemeClr val="tx2"/>
            </a:solidFill>
            <a:ln w="107950">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5303847" y="2306783"/>
              <a:ext cx="1303554" cy="3309975"/>
              <a:chOff x="7558088" y="1685925"/>
              <a:chExt cx="1322387" cy="3359150"/>
            </a:xfrm>
            <a:solidFill>
              <a:srgbClr val="FFFFFF"/>
            </a:solidFill>
          </p:grpSpPr>
          <p:sp>
            <p:nvSpPr>
              <p:cNvPr id="6"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314"/>
                <a:endParaRPr lang="en-US" sz="1764">
                  <a:solidFill>
                    <a:srgbClr val="292929"/>
                  </a:solidFill>
                </a:endParaRPr>
              </a:p>
            </p:txBody>
          </p:sp>
          <p:sp>
            <p:nvSpPr>
              <p:cNvPr id="7" name="Freeform 6"/>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314"/>
                <a:endParaRPr lang="en-US" sz="1764">
                  <a:solidFill>
                    <a:srgbClr val="292929"/>
                  </a:solidFill>
                </a:endParaRPr>
              </a:p>
            </p:txBody>
          </p:sp>
        </p:grpSp>
        <p:grpSp>
          <p:nvGrpSpPr>
            <p:cNvPr id="26" name="Group 25"/>
            <p:cNvGrpSpPr/>
            <p:nvPr/>
          </p:nvGrpSpPr>
          <p:grpSpPr>
            <a:xfrm>
              <a:off x="4400867" y="2919973"/>
              <a:ext cx="841346" cy="2136340"/>
              <a:chOff x="7558088" y="1685925"/>
              <a:chExt cx="1322387" cy="3359150"/>
            </a:xfrm>
            <a:solidFill>
              <a:srgbClr val="FFFFFF"/>
            </a:solidFill>
          </p:grpSpPr>
          <p:sp>
            <p:nvSpPr>
              <p:cNvPr id="27"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314"/>
                <a:endParaRPr lang="en-US" sz="1764">
                  <a:solidFill>
                    <a:srgbClr val="292929"/>
                  </a:solidFill>
                </a:endParaRPr>
              </a:p>
            </p:txBody>
          </p:sp>
          <p:sp>
            <p:nvSpPr>
              <p:cNvPr id="28" name="Freeform 27"/>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314"/>
                <a:endParaRPr lang="en-US" sz="1764">
                  <a:solidFill>
                    <a:srgbClr val="292929"/>
                  </a:solidFill>
                </a:endParaRPr>
              </a:p>
            </p:txBody>
          </p:sp>
        </p:grpSp>
        <p:grpSp>
          <p:nvGrpSpPr>
            <p:cNvPr id="29" name="Group 28"/>
            <p:cNvGrpSpPr/>
            <p:nvPr/>
          </p:nvGrpSpPr>
          <p:grpSpPr>
            <a:xfrm>
              <a:off x="6675432" y="2915385"/>
              <a:ext cx="841346" cy="2136340"/>
              <a:chOff x="7558088" y="1685925"/>
              <a:chExt cx="1322387" cy="3359150"/>
            </a:xfrm>
            <a:solidFill>
              <a:srgbClr val="FFFFFF"/>
            </a:solidFill>
          </p:grpSpPr>
          <p:sp>
            <p:nvSpPr>
              <p:cNvPr id="30"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314"/>
                <a:endParaRPr lang="en-US" sz="1764">
                  <a:solidFill>
                    <a:srgbClr val="292929"/>
                  </a:solidFill>
                </a:endParaRPr>
              </a:p>
            </p:txBody>
          </p:sp>
          <p:sp>
            <p:nvSpPr>
              <p:cNvPr id="31" name="Freeform 30"/>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314"/>
                <a:endParaRPr lang="en-US" sz="1764">
                  <a:solidFill>
                    <a:srgbClr val="292929"/>
                  </a:solidFill>
                </a:endParaRPr>
              </a:p>
            </p:txBody>
          </p:sp>
        </p:grpSp>
      </p:grpSp>
      <p:sp>
        <p:nvSpPr>
          <p:cNvPr id="43" name="Freeform 5"/>
          <p:cNvSpPr>
            <a:spLocks noEditPoints="1"/>
          </p:cNvSpPr>
          <p:nvPr/>
        </p:nvSpPr>
        <p:spPr bwMode="auto">
          <a:xfrm>
            <a:off x="1355472" y="1687385"/>
            <a:ext cx="1613060" cy="2481301"/>
          </a:xfrm>
          <a:custGeom>
            <a:avLst/>
            <a:gdLst>
              <a:gd name="T0" fmla="*/ 785 w 1503"/>
              <a:gd name="T1" fmla="*/ 824 h 2312"/>
              <a:gd name="T2" fmla="*/ 998 w 1503"/>
              <a:gd name="T3" fmla="*/ 824 h 2312"/>
              <a:gd name="T4" fmla="*/ 998 w 1503"/>
              <a:gd name="T5" fmla="*/ 2312 h 2312"/>
              <a:gd name="T6" fmla="*/ 592 w 1503"/>
              <a:gd name="T7" fmla="*/ 0 h 2312"/>
              <a:gd name="T8" fmla="*/ 998 w 1503"/>
              <a:gd name="T9" fmla="*/ 664 h 2312"/>
              <a:gd name="T10" fmla="*/ 998 w 1503"/>
              <a:gd name="T11" fmla="*/ 452 h 2312"/>
              <a:gd name="T12" fmla="*/ 998 w 1503"/>
              <a:gd name="T13" fmla="*/ 664 h 2312"/>
              <a:gd name="T14" fmla="*/ 785 w 1503"/>
              <a:gd name="T15" fmla="*/ 153 h 2312"/>
              <a:gd name="T16" fmla="*/ 998 w 1503"/>
              <a:gd name="T17" fmla="*/ 365 h 2312"/>
              <a:gd name="T18" fmla="*/ 1104 w 1503"/>
              <a:gd name="T19" fmla="*/ 1861 h 2312"/>
              <a:gd name="T20" fmla="*/ 1310 w 1503"/>
              <a:gd name="T21" fmla="*/ 1861 h 2312"/>
              <a:gd name="T22" fmla="*/ 1310 w 1503"/>
              <a:gd name="T23" fmla="*/ 1562 h 2312"/>
              <a:gd name="T24" fmla="*/ 1310 w 1503"/>
              <a:gd name="T25" fmla="*/ 1355 h 2312"/>
              <a:gd name="T26" fmla="*/ 1310 w 1503"/>
              <a:gd name="T27" fmla="*/ 1562 h 2312"/>
              <a:gd name="T28" fmla="*/ 1104 w 1503"/>
              <a:gd name="T29" fmla="*/ 1050 h 2312"/>
              <a:gd name="T30" fmla="*/ 1310 w 1503"/>
              <a:gd name="T31" fmla="*/ 1262 h 2312"/>
              <a:gd name="T32" fmla="*/ 1104 w 1503"/>
              <a:gd name="T33" fmla="*/ 963 h 2312"/>
              <a:gd name="T34" fmla="*/ 1310 w 1503"/>
              <a:gd name="T35" fmla="*/ 963 h 2312"/>
              <a:gd name="T36" fmla="*/ 1310 w 1503"/>
              <a:gd name="T37" fmla="*/ 664 h 2312"/>
              <a:gd name="T38" fmla="*/ 1310 w 1503"/>
              <a:gd name="T39" fmla="*/ 452 h 2312"/>
              <a:gd name="T40" fmla="*/ 1310 w 1503"/>
              <a:gd name="T41" fmla="*/ 664 h 2312"/>
              <a:gd name="T42" fmla="*/ 1104 w 1503"/>
              <a:gd name="T43" fmla="*/ 153 h 2312"/>
              <a:gd name="T44" fmla="*/ 1310 w 1503"/>
              <a:gd name="T45" fmla="*/ 365 h 2312"/>
              <a:gd name="T46" fmla="*/ 0 w 1503"/>
              <a:gd name="T47" fmla="*/ 2312 h 2312"/>
              <a:gd name="T48" fmla="*/ 0 w 1503"/>
              <a:gd name="T49" fmla="*/ 911 h 2312"/>
              <a:gd name="T50" fmla="*/ 399 w 1503"/>
              <a:gd name="T51" fmla="*/ 2166 h 2312"/>
              <a:gd name="T52" fmla="*/ 399 w 1503"/>
              <a:gd name="T53" fmla="*/ 1954 h 2312"/>
              <a:gd name="T54" fmla="*/ 399 w 1503"/>
              <a:gd name="T55" fmla="*/ 2166 h 2312"/>
              <a:gd name="T56" fmla="*/ 193 w 1503"/>
              <a:gd name="T57" fmla="*/ 1654 h 2312"/>
              <a:gd name="T58" fmla="*/ 399 w 1503"/>
              <a:gd name="T59" fmla="*/ 1861 h 2312"/>
              <a:gd name="T60" fmla="*/ 193 w 1503"/>
              <a:gd name="T61" fmla="*/ 1562 h 2312"/>
              <a:gd name="T62" fmla="*/ 399 w 1503"/>
              <a:gd name="T63" fmla="*/ 1562 h 2312"/>
              <a:gd name="T64" fmla="*/ 399 w 1503"/>
              <a:gd name="T65" fmla="*/ 1262 h 2312"/>
              <a:gd name="T66" fmla="*/ 399 w 1503"/>
              <a:gd name="T67" fmla="*/ 1050 h 2312"/>
              <a:gd name="T68" fmla="*/ 399 w 1503"/>
              <a:gd name="T69" fmla="*/ 1262 h 2312"/>
              <a:gd name="T70" fmla="*/ 506 w 1503"/>
              <a:gd name="T71" fmla="*/ 1954 h 2312"/>
              <a:gd name="T72" fmla="*/ 718 w 1503"/>
              <a:gd name="T73" fmla="*/ 2166 h 2312"/>
              <a:gd name="T74" fmla="*/ 506 w 1503"/>
              <a:gd name="T75" fmla="*/ 1861 h 2312"/>
              <a:gd name="T76" fmla="*/ 718 w 1503"/>
              <a:gd name="T77" fmla="*/ 1861 h 2312"/>
              <a:gd name="T78" fmla="*/ 718 w 1503"/>
              <a:gd name="T79" fmla="*/ 1562 h 2312"/>
              <a:gd name="T80" fmla="*/ 718 w 1503"/>
              <a:gd name="T81" fmla="*/ 1355 h 2312"/>
              <a:gd name="T82" fmla="*/ 718 w 1503"/>
              <a:gd name="T83" fmla="*/ 1562 h 2312"/>
              <a:gd name="T84" fmla="*/ 506 w 1503"/>
              <a:gd name="T85" fmla="*/ 1050 h 2312"/>
              <a:gd name="T86" fmla="*/ 718 w 1503"/>
              <a:gd name="T87" fmla="*/ 1262 h 2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03" h="2312">
                <a:moveTo>
                  <a:pt x="592" y="0"/>
                </a:moveTo>
                <a:lnTo>
                  <a:pt x="592" y="824"/>
                </a:lnTo>
                <a:lnTo>
                  <a:pt x="785" y="824"/>
                </a:lnTo>
                <a:lnTo>
                  <a:pt x="785" y="751"/>
                </a:lnTo>
                <a:lnTo>
                  <a:pt x="998" y="751"/>
                </a:lnTo>
                <a:lnTo>
                  <a:pt x="998" y="824"/>
                </a:lnTo>
                <a:lnTo>
                  <a:pt x="998" y="911"/>
                </a:lnTo>
                <a:lnTo>
                  <a:pt x="998" y="963"/>
                </a:lnTo>
                <a:lnTo>
                  <a:pt x="998" y="2312"/>
                </a:lnTo>
                <a:lnTo>
                  <a:pt x="1503" y="2312"/>
                </a:lnTo>
                <a:lnTo>
                  <a:pt x="1503" y="0"/>
                </a:lnTo>
                <a:lnTo>
                  <a:pt x="592" y="0"/>
                </a:lnTo>
                <a:lnTo>
                  <a:pt x="592" y="0"/>
                </a:lnTo>
                <a:lnTo>
                  <a:pt x="592" y="0"/>
                </a:lnTo>
                <a:close/>
                <a:moveTo>
                  <a:pt x="998" y="664"/>
                </a:moveTo>
                <a:lnTo>
                  <a:pt x="785" y="664"/>
                </a:lnTo>
                <a:lnTo>
                  <a:pt x="785" y="452"/>
                </a:lnTo>
                <a:lnTo>
                  <a:pt x="998" y="452"/>
                </a:lnTo>
                <a:lnTo>
                  <a:pt x="998" y="664"/>
                </a:lnTo>
                <a:lnTo>
                  <a:pt x="998" y="664"/>
                </a:lnTo>
                <a:lnTo>
                  <a:pt x="998" y="664"/>
                </a:lnTo>
                <a:close/>
                <a:moveTo>
                  <a:pt x="998" y="365"/>
                </a:moveTo>
                <a:lnTo>
                  <a:pt x="785" y="365"/>
                </a:lnTo>
                <a:lnTo>
                  <a:pt x="785" y="153"/>
                </a:lnTo>
                <a:lnTo>
                  <a:pt x="998" y="153"/>
                </a:lnTo>
                <a:lnTo>
                  <a:pt x="998" y="365"/>
                </a:lnTo>
                <a:lnTo>
                  <a:pt x="998" y="365"/>
                </a:lnTo>
                <a:lnTo>
                  <a:pt x="998" y="365"/>
                </a:lnTo>
                <a:close/>
                <a:moveTo>
                  <a:pt x="1310" y="1861"/>
                </a:moveTo>
                <a:lnTo>
                  <a:pt x="1104" y="1861"/>
                </a:lnTo>
                <a:lnTo>
                  <a:pt x="1104" y="1654"/>
                </a:lnTo>
                <a:lnTo>
                  <a:pt x="1310" y="1654"/>
                </a:lnTo>
                <a:lnTo>
                  <a:pt x="1310" y="1861"/>
                </a:lnTo>
                <a:lnTo>
                  <a:pt x="1310" y="1861"/>
                </a:lnTo>
                <a:lnTo>
                  <a:pt x="1310" y="1861"/>
                </a:lnTo>
                <a:close/>
                <a:moveTo>
                  <a:pt x="1310" y="1562"/>
                </a:moveTo>
                <a:lnTo>
                  <a:pt x="1104" y="1562"/>
                </a:lnTo>
                <a:lnTo>
                  <a:pt x="1104" y="1355"/>
                </a:lnTo>
                <a:lnTo>
                  <a:pt x="1310" y="1355"/>
                </a:lnTo>
                <a:lnTo>
                  <a:pt x="1310" y="1562"/>
                </a:lnTo>
                <a:lnTo>
                  <a:pt x="1310" y="1562"/>
                </a:lnTo>
                <a:lnTo>
                  <a:pt x="1310" y="1562"/>
                </a:lnTo>
                <a:close/>
                <a:moveTo>
                  <a:pt x="1310" y="1262"/>
                </a:moveTo>
                <a:lnTo>
                  <a:pt x="1104" y="1262"/>
                </a:lnTo>
                <a:lnTo>
                  <a:pt x="1104" y="1050"/>
                </a:lnTo>
                <a:lnTo>
                  <a:pt x="1310" y="1050"/>
                </a:lnTo>
                <a:lnTo>
                  <a:pt x="1310" y="1262"/>
                </a:lnTo>
                <a:lnTo>
                  <a:pt x="1310" y="1262"/>
                </a:lnTo>
                <a:lnTo>
                  <a:pt x="1310" y="1262"/>
                </a:lnTo>
                <a:close/>
                <a:moveTo>
                  <a:pt x="1310" y="963"/>
                </a:moveTo>
                <a:lnTo>
                  <a:pt x="1104" y="963"/>
                </a:lnTo>
                <a:lnTo>
                  <a:pt x="1104" y="751"/>
                </a:lnTo>
                <a:lnTo>
                  <a:pt x="1310" y="751"/>
                </a:lnTo>
                <a:lnTo>
                  <a:pt x="1310" y="963"/>
                </a:lnTo>
                <a:lnTo>
                  <a:pt x="1310" y="963"/>
                </a:lnTo>
                <a:lnTo>
                  <a:pt x="1310" y="963"/>
                </a:lnTo>
                <a:close/>
                <a:moveTo>
                  <a:pt x="1310" y="664"/>
                </a:moveTo>
                <a:lnTo>
                  <a:pt x="1104" y="664"/>
                </a:lnTo>
                <a:lnTo>
                  <a:pt x="1104" y="452"/>
                </a:lnTo>
                <a:lnTo>
                  <a:pt x="1310" y="452"/>
                </a:lnTo>
                <a:lnTo>
                  <a:pt x="1310" y="664"/>
                </a:lnTo>
                <a:lnTo>
                  <a:pt x="1310" y="664"/>
                </a:lnTo>
                <a:lnTo>
                  <a:pt x="1310" y="664"/>
                </a:lnTo>
                <a:close/>
                <a:moveTo>
                  <a:pt x="1310" y="365"/>
                </a:moveTo>
                <a:lnTo>
                  <a:pt x="1104" y="365"/>
                </a:lnTo>
                <a:lnTo>
                  <a:pt x="1104" y="153"/>
                </a:lnTo>
                <a:lnTo>
                  <a:pt x="1310" y="153"/>
                </a:lnTo>
                <a:lnTo>
                  <a:pt x="1310" y="365"/>
                </a:lnTo>
                <a:lnTo>
                  <a:pt x="1310" y="365"/>
                </a:lnTo>
                <a:lnTo>
                  <a:pt x="1310" y="365"/>
                </a:lnTo>
                <a:close/>
                <a:moveTo>
                  <a:pt x="0" y="911"/>
                </a:moveTo>
                <a:lnTo>
                  <a:pt x="0" y="2312"/>
                </a:lnTo>
                <a:lnTo>
                  <a:pt x="911" y="2312"/>
                </a:lnTo>
                <a:lnTo>
                  <a:pt x="911" y="911"/>
                </a:lnTo>
                <a:lnTo>
                  <a:pt x="0" y="911"/>
                </a:lnTo>
                <a:lnTo>
                  <a:pt x="0" y="911"/>
                </a:lnTo>
                <a:lnTo>
                  <a:pt x="0" y="911"/>
                </a:lnTo>
                <a:close/>
                <a:moveTo>
                  <a:pt x="399" y="2166"/>
                </a:moveTo>
                <a:lnTo>
                  <a:pt x="193" y="2166"/>
                </a:lnTo>
                <a:lnTo>
                  <a:pt x="193" y="1954"/>
                </a:lnTo>
                <a:lnTo>
                  <a:pt x="399" y="1954"/>
                </a:lnTo>
                <a:lnTo>
                  <a:pt x="399" y="2166"/>
                </a:lnTo>
                <a:lnTo>
                  <a:pt x="399" y="2166"/>
                </a:lnTo>
                <a:lnTo>
                  <a:pt x="399" y="2166"/>
                </a:lnTo>
                <a:close/>
                <a:moveTo>
                  <a:pt x="399" y="1861"/>
                </a:moveTo>
                <a:lnTo>
                  <a:pt x="193" y="1861"/>
                </a:lnTo>
                <a:lnTo>
                  <a:pt x="193" y="1654"/>
                </a:lnTo>
                <a:lnTo>
                  <a:pt x="399" y="1654"/>
                </a:lnTo>
                <a:lnTo>
                  <a:pt x="399" y="1861"/>
                </a:lnTo>
                <a:lnTo>
                  <a:pt x="399" y="1861"/>
                </a:lnTo>
                <a:lnTo>
                  <a:pt x="399" y="1861"/>
                </a:lnTo>
                <a:close/>
                <a:moveTo>
                  <a:pt x="399" y="1562"/>
                </a:moveTo>
                <a:lnTo>
                  <a:pt x="193" y="1562"/>
                </a:lnTo>
                <a:lnTo>
                  <a:pt x="193" y="1355"/>
                </a:lnTo>
                <a:lnTo>
                  <a:pt x="399" y="1355"/>
                </a:lnTo>
                <a:lnTo>
                  <a:pt x="399" y="1562"/>
                </a:lnTo>
                <a:lnTo>
                  <a:pt x="399" y="1562"/>
                </a:lnTo>
                <a:lnTo>
                  <a:pt x="399" y="1562"/>
                </a:lnTo>
                <a:close/>
                <a:moveTo>
                  <a:pt x="399" y="1262"/>
                </a:moveTo>
                <a:lnTo>
                  <a:pt x="193" y="1262"/>
                </a:lnTo>
                <a:lnTo>
                  <a:pt x="193" y="1050"/>
                </a:lnTo>
                <a:lnTo>
                  <a:pt x="399" y="1050"/>
                </a:lnTo>
                <a:lnTo>
                  <a:pt x="399" y="1262"/>
                </a:lnTo>
                <a:lnTo>
                  <a:pt x="399" y="1262"/>
                </a:lnTo>
                <a:lnTo>
                  <a:pt x="399" y="1262"/>
                </a:lnTo>
                <a:close/>
                <a:moveTo>
                  <a:pt x="718" y="2166"/>
                </a:moveTo>
                <a:lnTo>
                  <a:pt x="506" y="2166"/>
                </a:lnTo>
                <a:lnTo>
                  <a:pt x="506" y="1954"/>
                </a:lnTo>
                <a:lnTo>
                  <a:pt x="718" y="1954"/>
                </a:lnTo>
                <a:lnTo>
                  <a:pt x="718" y="2166"/>
                </a:lnTo>
                <a:lnTo>
                  <a:pt x="718" y="2166"/>
                </a:lnTo>
                <a:lnTo>
                  <a:pt x="718" y="2166"/>
                </a:lnTo>
                <a:close/>
                <a:moveTo>
                  <a:pt x="718" y="1861"/>
                </a:moveTo>
                <a:lnTo>
                  <a:pt x="506" y="1861"/>
                </a:lnTo>
                <a:lnTo>
                  <a:pt x="506" y="1654"/>
                </a:lnTo>
                <a:lnTo>
                  <a:pt x="718" y="1654"/>
                </a:lnTo>
                <a:lnTo>
                  <a:pt x="718" y="1861"/>
                </a:lnTo>
                <a:lnTo>
                  <a:pt x="718" y="1861"/>
                </a:lnTo>
                <a:lnTo>
                  <a:pt x="718" y="1861"/>
                </a:lnTo>
                <a:close/>
                <a:moveTo>
                  <a:pt x="718" y="1562"/>
                </a:moveTo>
                <a:lnTo>
                  <a:pt x="506" y="1562"/>
                </a:lnTo>
                <a:lnTo>
                  <a:pt x="506" y="1355"/>
                </a:lnTo>
                <a:lnTo>
                  <a:pt x="718" y="1355"/>
                </a:lnTo>
                <a:lnTo>
                  <a:pt x="718" y="1562"/>
                </a:lnTo>
                <a:lnTo>
                  <a:pt x="718" y="1562"/>
                </a:lnTo>
                <a:lnTo>
                  <a:pt x="718" y="1562"/>
                </a:lnTo>
                <a:close/>
                <a:moveTo>
                  <a:pt x="718" y="1262"/>
                </a:moveTo>
                <a:lnTo>
                  <a:pt x="506" y="1262"/>
                </a:lnTo>
                <a:lnTo>
                  <a:pt x="506" y="1050"/>
                </a:lnTo>
                <a:lnTo>
                  <a:pt x="718" y="1050"/>
                </a:lnTo>
                <a:lnTo>
                  <a:pt x="718" y="1262"/>
                </a:lnTo>
                <a:lnTo>
                  <a:pt x="718" y="1262"/>
                </a:lnTo>
                <a:lnTo>
                  <a:pt x="718" y="1262"/>
                </a:lnTo>
                <a:close/>
              </a:path>
            </a:pathLst>
          </a:custGeom>
          <a:solidFill>
            <a:srgbClr val="FFFFFF"/>
          </a:solidFill>
          <a:ln>
            <a:noFill/>
          </a:ln>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sp>
        <p:nvSpPr>
          <p:cNvPr id="37" name="Rectangle 36"/>
          <p:cNvSpPr/>
          <p:nvPr/>
        </p:nvSpPr>
        <p:spPr bwMode="auto">
          <a:xfrm>
            <a:off x="11637348" y="1188841"/>
            <a:ext cx="552200" cy="349112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3558013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250" fill="hold"/>
                                        <p:tgtEl>
                                          <p:spTgt spid="14"/>
                                        </p:tgtEl>
                                        <p:attrNameLst>
                                          <p:attrName>ppt_w</p:attrName>
                                        </p:attrNameLst>
                                      </p:cBhvr>
                                      <p:tavLst>
                                        <p:tav tm="0">
                                          <p:val>
                                            <p:fltVal val="0"/>
                                          </p:val>
                                        </p:tav>
                                        <p:tav tm="100000">
                                          <p:val>
                                            <p:strVal val="#ppt_w"/>
                                          </p:val>
                                        </p:tav>
                                      </p:tavLst>
                                    </p:anim>
                                    <p:anim calcmode="lin" valueType="num">
                                      <p:cBhvr>
                                        <p:cTn id="8" dur="250" fill="hold"/>
                                        <p:tgtEl>
                                          <p:spTgt spid="14"/>
                                        </p:tgtEl>
                                        <p:attrNameLst>
                                          <p:attrName>ppt_h</p:attrName>
                                        </p:attrNameLst>
                                      </p:cBhvr>
                                      <p:tavLst>
                                        <p:tav tm="0">
                                          <p:val>
                                            <p:fltVal val="0"/>
                                          </p:val>
                                        </p:tav>
                                        <p:tav tm="100000">
                                          <p:val>
                                            <p:strVal val="#ppt_h"/>
                                          </p:val>
                                        </p:tav>
                                      </p:tavLst>
                                    </p:anim>
                                    <p:animEffect transition="in" filter="fade">
                                      <p:cBhvr>
                                        <p:cTn id="9" dur="250"/>
                                        <p:tgtEl>
                                          <p:spTgt spid="14"/>
                                        </p:tgtEl>
                                      </p:cBhvr>
                                    </p:animEffect>
                                  </p:childTnLst>
                                </p:cTn>
                              </p:par>
                              <p:par>
                                <p:cTn id="10" presetID="6" presetClass="emph" presetSubtype="0" decel="100000" fill="hold" nodeType="withEffect">
                                  <p:stCondLst>
                                    <p:cond delay="200"/>
                                  </p:stCondLst>
                                  <p:childTnLst>
                                    <p:animScale>
                                      <p:cBhvr>
                                        <p:cTn id="11" dur="250" fill="hold"/>
                                        <p:tgtEl>
                                          <p:spTgt spid="14"/>
                                        </p:tgtEl>
                                      </p:cBhvr>
                                      <p:by x="110000" y="110000"/>
                                    </p:animScale>
                                  </p:childTnLst>
                                </p:cTn>
                              </p:par>
                              <p:par>
                                <p:cTn id="12" presetID="6" presetClass="emph" presetSubtype="0" decel="100000" fill="hold" nodeType="withEffect">
                                  <p:stCondLst>
                                    <p:cond delay="300"/>
                                  </p:stCondLst>
                                  <p:childTnLst>
                                    <p:animScale>
                                      <p:cBhvr>
                                        <p:cTn id="13" dur="250" fill="hold"/>
                                        <p:tgtEl>
                                          <p:spTgt spid="14"/>
                                        </p:tgtEl>
                                      </p:cBhvr>
                                      <p:by x="91000" y="91000"/>
                                    </p:animScale>
                                  </p:childTnLst>
                                </p:cTn>
                              </p:par>
                            </p:childTnLst>
                          </p:cTn>
                        </p:par>
                        <p:par>
                          <p:cTn id="14" fill="hold">
                            <p:stCondLst>
                              <p:cond delay="550"/>
                            </p:stCondLst>
                            <p:childTnLst>
                              <p:par>
                                <p:cTn id="15" presetID="10" presetClass="entr" presetSubtype="0" fill="hold" grpId="0" nodeType="afterEffect">
                                  <p:stCondLst>
                                    <p:cond delay="25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250"/>
                                        <p:tgtEl>
                                          <p:spTgt spid="16"/>
                                        </p:tgtEl>
                                      </p:cBhvr>
                                    </p:animEffect>
                                  </p:childTnLst>
                                </p:cTn>
                              </p:par>
                              <p:par>
                                <p:cTn id="18" presetID="10" presetClass="entr" presetSubtype="0" fill="hold" grpId="0" nodeType="withEffect">
                                  <p:stCondLst>
                                    <p:cond delay="25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250"/>
                                        <p:tgtEl>
                                          <p:spTgt spid="9"/>
                                        </p:tgtEl>
                                      </p:cBhvr>
                                    </p:animEffect>
                                  </p:childTnLst>
                                </p:cTn>
                              </p:par>
                              <p:par>
                                <p:cTn id="21" presetID="63" presetClass="path" presetSubtype="0" decel="100000" fill="hold" grpId="1" nodeType="withEffect">
                                  <p:stCondLst>
                                    <p:cond delay="0"/>
                                  </p:stCondLst>
                                  <p:childTnLst>
                                    <p:animMotion origin="layout" path="M -1.53178E-8 -3.90377E-7 L 0.13518 -3.90377E-7 " pathEditMode="relative" rAng="0" ptsTypes="AA">
                                      <p:cBhvr>
                                        <p:cTn id="22" dur="750" spd="-100000" fill="hold"/>
                                        <p:tgtEl>
                                          <p:spTgt spid="16"/>
                                        </p:tgtEl>
                                        <p:attrNameLst>
                                          <p:attrName>ppt_x</p:attrName>
                                          <p:attrName>ppt_y</p:attrName>
                                        </p:attrNameLst>
                                      </p:cBhvr>
                                      <p:rCtr x="6753" y="0"/>
                                    </p:animMotion>
                                  </p:childTnLst>
                                </p:cTn>
                              </p:par>
                              <p:par>
                                <p:cTn id="23" presetID="35" presetClass="path" presetSubtype="0" decel="100000" fill="hold" grpId="1" nodeType="withEffect">
                                  <p:stCondLst>
                                    <p:cond delay="0"/>
                                  </p:stCondLst>
                                  <p:childTnLst>
                                    <p:animMotion origin="layout" path="M 2.28236E-6 -3.90377E-7 L -0.14118 -3.90377E-7 " pathEditMode="relative" rAng="0" ptsTypes="AA">
                                      <p:cBhvr>
                                        <p:cTn id="24" dur="750" spd="-100000" fill="hold"/>
                                        <p:tgtEl>
                                          <p:spTgt spid="9"/>
                                        </p:tgtEl>
                                        <p:attrNameLst>
                                          <p:attrName>ppt_x</p:attrName>
                                          <p:attrName>ppt_y</p:attrName>
                                        </p:attrNameLst>
                                      </p:cBhvr>
                                      <p:rCtr x="-7059" y="0"/>
                                    </p:animMotion>
                                  </p:childTnLst>
                                </p:cTn>
                              </p:par>
                              <p:par>
                                <p:cTn id="25" presetID="10" presetClass="entr" presetSubtype="0" fill="hold" grpId="0" nodeType="withEffect">
                                  <p:stCondLst>
                                    <p:cond delay="25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250"/>
                                        <p:tgtEl>
                                          <p:spTgt spid="17"/>
                                        </p:tgtEl>
                                      </p:cBhvr>
                                    </p:animEffect>
                                  </p:childTnLst>
                                </p:cTn>
                              </p:par>
                              <p:par>
                                <p:cTn id="28" presetID="64" presetClass="path" presetSubtype="0" decel="100000" fill="hold" grpId="1" nodeType="withEffect">
                                  <p:stCondLst>
                                    <p:cond delay="0"/>
                                  </p:stCondLst>
                                  <p:childTnLst>
                                    <p:animMotion origin="layout" path="M 0 3.09124E-6 L 0 -0.24966 " pathEditMode="relative" rAng="0" ptsTypes="AA">
                                      <p:cBhvr>
                                        <p:cTn id="29" dur="750" spd="-100000" fill="hold"/>
                                        <p:tgtEl>
                                          <p:spTgt spid="17"/>
                                        </p:tgtEl>
                                        <p:attrNameLst>
                                          <p:attrName>ppt_x</p:attrName>
                                          <p:attrName>ppt_y</p:attrName>
                                        </p:attrNameLst>
                                      </p:cBhvr>
                                      <p:rCtr x="0" y="-12483"/>
                                    </p:animMotion>
                                  </p:childTnLst>
                                </p:cTn>
                              </p:par>
                            </p:childTnLst>
                          </p:cTn>
                        </p:par>
                        <p:par>
                          <p:cTn id="30" fill="hold">
                            <p:stCondLst>
                              <p:cond delay="1300"/>
                            </p:stCondLst>
                            <p:childTnLst>
                              <p:par>
                                <p:cTn id="31" presetID="2" presetClass="entr" presetSubtype="2" decel="100000" fill="hold" nodeType="afterEffect">
                                  <p:stCondLst>
                                    <p:cond delay="0"/>
                                  </p:stCondLst>
                                  <p:childTnLst>
                                    <p:set>
                                      <p:cBhvr>
                                        <p:cTn id="32" dur="1" fill="hold">
                                          <p:stCondLst>
                                            <p:cond delay="0"/>
                                          </p:stCondLst>
                                        </p:cTn>
                                        <p:tgtEl>
                                          <p:spTgt spid="11"/>
                                        </p:tgtEl>
                                        <p:attrNameLst>
                                          <p:attrName>style.visibility</p:attrName>
                                        </p:attrNameLst>
                                      </p:cBhvr>
                                      <p:to>
                                        <p:strVal val="visible"/>
                                      </p:to>
                                    </p:set>
                                    <p:anim calcmode="lin" valueType="num">
                                      <p:cBhvr additive="base">
                                        <p:cTn id="33" dur="700" fill="hold"/>
                                        <p:tgtEl>
                                          <p:spTgt spid="11"/>
                                        </p:tgtEl>
                                        <p:attrNameLst>
                                          <p:attrName>ppt_x</p:attrName>
                                        </p:attrNameLst>
                                      </p:cBhvr>
                                      <p:tavLst>
                                        <p:tav tm="0">
                                          <p:val>
                                            <p:strVal val="1+#ppt_w/2"/>
                                          </p:val>
                                        </p:tav>
                                        <p:tav tm="100000">
                                          <p:val>
                                            <p:strVal val="#ppt_x"/>
                                          </p:val>
                                        </p:tav>
                                      </p:tavLst>
                                    </p:anim>
                                    <p:anim calcmode="lin" valueType="num">
                                      <p:cBhvr additive="base">
                                        <p:cTn id="34" dur="700" fill="hold"/>
                                        <p:tgtEl>
                                          <p:spTgt spid="11"/>
                                        </p:tgtEl>
                                        <p:attrNameLst>
                                          <p:attrName>ppt_y</p:attrName>
                                        </p:attrNameLst>
                                      </p:cBhvr>
                                      <p:tavLst>
                                        <p:tav tm="0">
                                          <p:val>
                                            <p:strVal val="#ppt_y"/>
                                          </p:val>
                                        </p:tav>
                                        <p:tav tm="100000">
                                          <p:val>
                                            <p:strVal val="#ppt_y"/>
                                          </p:val>
                                        </p:tav>
                                      </p:tavLst>
                                    </p:anim>
                                  </p:childTnLst>
                                </p:cTn>
                              </p:par>
                              <p:par>
                                <p:cTn id="35" presetID="2" presetClass="entr" presetSubtype="8" decel="100000" fill="hold" grpId="0" nodeType="withEffect">
                                  <p:stCondLst>
                                    <p:cond delay="0"/>
                                  </p:stCondLst>
                                  <p:childTnLst>
                                    <p:set>
                                      <p:cBhvr>
                                        <p:cTn id="36" dur="1" fill="hold">
                                          <p:stCondLst>
                                            <p:cond delay="0"/>
                                          </p:stCondLst>
                                        </p:cTn>
                                        <p:tgtEl>
                                          <p:spTgt spid="43"/>
                                        </p:tgtEl>
                                        <p:attrNameLst>
                                          <p:attrName>style.visibility</p:attrName>
                                        </p:attrNameLst>
                                      </p:cBhvr>
                                      <p:to>
                                        <p:strVal val="visible"/>
                                      </p:to>
                                    </p:set>
                                    <p:anim calcmode="lin" valueType="num">
                                      <p:cBhvr additive="base">
                                        <p:cTn id="37" dur="700" fill="hold"/>
                                        <p:tgtEl>
                                          <p:spTgt spid="43"/>
                                        </p:tgtEl>
                                        <p:attrNameLst>
                                          <p:attrName>ppt_x</p:attrName>
                                        </p:attrNameLst>
                                      </p:cBhvr>
                                      <p:tavLst>
                                        <p:tav tm="0">
                                          <p:val>
                                            <p:strVal val="0-#ppt_w/2"/>
                                          </p:val>
                                        </p:tav>
                                        <p:tav tm="100000">
                                          <p:val>
                                            <p:strVal val="#ppt_x"/>
                                          </p:val>
                                        </p:tav>
                                      </p:tavLst>
                                    </p:anim>
                                    <p:anim calcmode="lin" valueType="num">
                                      <p:cBhvr additive="base">
                                        <p:cTn id="38" dur="700" fill="hold"/>
                                        <p:tgtEl>
                                          <p:spTgt spid="43"/>
                                        </p:tgtEl>
                                        <p:attrNameLst>
                                          <p:attrName>ppt_y</p:attrName>
                                        </p:attrNameLst>
                                      </p:cBhvr>
                                      <p:tavLst>
                                        <p:tav tm="0">
                                          <p:val>
                                            <p:strVal val="#ppt_y"/>
                                          </p:val>
                                        </p:tav>
                                        <p:tav tm="100000">
                                          <p:val>
                                            <p:strVal val="#ppt_y"/>
                                          </p:val>
                                        </p:tav>
                                      </p:tavLst>
                                    </p:anim>
                                  </p:childTnLst>
                                </p:cTn>
                              </p:par>
                            </p:childTnLst>
                          </p:cTn>
                        </p:par>
                        <p:par>
                          <p:cTn id="39" fill="hold">
                            <p:stCondLst>
                              <p:cond delay="2000"/>
                            </p:stCondLst>
                            <p:childTnLst>
                              <p:par>
                                <p:cTn id="40" presetID="2" presetClass="entr" presetSubtype="1" decel="100000" fill="hold" nodeType="afterEffect">
                                  <p:stCondLst>
                                    <p:cond delay="0"/>
                                  </p:stCondLst>
                                  <p:childTnLst>
                                    <p:set>
                                      <p:cBhvr>
                                        <p:cTn id="41" dur="1" fill="hold">
                                          <p:stCondLst>
                                            <p:cond delay="0"/>
                                          </p:stCondLst>
                                        </p:cTn>
                                        <p:tgtEl>
                                          <p:spTgt spid="35"/>
                                        </p:tgtEl>
                                        <p:attrNameLst>
                                          <p:attrName>style.visibility</p:attrName>
                                        </p:attrNameLst>
                                      </p:cBhvr>
                                      <p:to>
                                        <p:strVal val="visible"/>
                                      </p:to>
                                    </p:set>
                                    <p:anim calcmode="lin" valueType="num">
                                      <p:cBhvr additive="base">
                                        <p:cTn id="42" dur="700" fill="hold"/>
                                        <p:tgtEl>
                                          <p:spTgt spid="35"/>
                                        </p:tgtEl>
                                        <p:attrNameLst>
                                          <p:attrName>ppt_x</p:attrName>
                                        </p:attrNameLst>
                                      </p:cBhvr>
                                      <p:tavLst>
                                        <p:tav tm="0">
                                          <p:val>
                                            <p:strVal val="#ppt_x"/>
                                          </p:val>
                                        </p:tav>
                                        <p:tav tm="100000">
                                          <p:val>
                                            <p:strVal val="#ppt_x"/>
                                          </p:val>
                                        </p:tav>
                                      </p:tavLst>
                                    </p:anim>
                                    <p:anim calcmode="lin" valueType="num">
                                      <p:cBhvr additive="base">
                                        <p:cTn id="43" dur="700" fill="hold"/>
                                        <p:tgtEl>
                                          <p:spTgt spid="35"/>
                                        </p:tgtEl>
                                        <p:attrNameLst>
                                          <p:attrName>ppt_y</p:attrName>
                                        </p:attrNameLst>
                                      </p:cBhvr>
                                      <p:tavLst>
                                        <p:tav tm="0">
                                          <p:val>
                                            <p:strVal val="0-#ppt_h/2"/>
                                          </p:val>
                                        </p:tav>
                                        <p:tav tm="100000">
                                          <p:val>
                                            <p:strVal val="#ppt_y"/>
                                          </p:val>
                                        </p:tav>
                                      </p:tavLst>
                                    </p:anim>
                                  </p:childTnLst>
                                </p:cTn>
                              </p:par>
                              <p:par>
                                <p:cTn id="44" presetID="2" presetClass="entr" presetSubtype="1" decel="100000" fill="hold" nodeType="withEffect">
                                  <p:stCondLst>
                                    <p:cond delay="100"/>
                                  </p:stCondLst>
                                  <p:childTnLst>
                                    <p:set>
                                      <p:cBhvr>
                                        <p:cTn id="45" dur="1" fill="hold">
                                          <p:stCondLst>
                                            <p:cond delay="0"/>
                                          </p:stCondLst>
                                        </p:cTn>
                                        <p:tgtEl>
                                          <p:spTgt spid="25"/>
                                        </p:tgtEl>
                                        <p:attrNameLst>
                                          <p:attrName>style.visibility</p:attrName>
                                        </p:attrNameLst>
                                      </p:cBhvr>
                                      <p:to>
                                        <p:strVal val="visible"/>
                                      </p:to>
                                    </p:set>
                                    <p:anim calcmode="lin" valueType="num">
                                      <p:cBhvr additive="base">
                                        <p:cTn id="46" dur="700" fill="hold"/>
                                        <p:tgtEl>
                                          <p:spTgt spid="25"/>
                                        </p:tgtEl>
                                        <p:attrNameLst>
                                          <p:attrName>ppt_x</p:attrName>
                                        </p:attrNameLst>
                                      </p:cBhvr>
                                      <p:tavLst>
                                        <p:tav tm="0">
                                          <p:val>
                                            <p:strVal val="#ppt_x"/>
                                          </p:val>
                                        </p:tav>
                                        <p:tav tm="100000">
                                          <p:val>
                                            <p:strVal val="#ppt_x"/>
                                          </p:val>
                                        </p:tav>
                                      </p:tavLst>
                                    </p:anim>
                                    <p:anim calcmode="lin" valueType="num">
                                      <p:cBhvr additive="base">
                                        <p:cTn id="47" dur="700" fill="hold"/>
                                        <p:tgtEl>
                                          <p:spTgt spid="25"/>
                                        </p:tgtEl>
                                        <p:attrNameLst>
                                          <p:attrName>ppt_y</p:attrName>
                                        </p:attrNameLst>
                                      </p:cBhvr>
                                      <p:tavLst>
                                        <p:tav tm="0">
                                          <p:val>
                                            <p:strVal val="0-#ppt_h/2"/>
                                          </p:val>
                                        </p:tav>
                                        <p:tav tm="100000">
                                          <p:val>
                                            <p:strVal val="#ppt_y"/>
                                          </p:val>
                                        </p:tav>
                                      </p:tavLst>
                                    </p:anim>
                                  </p:childTnLst>
                                </p:cTn>
                              </p:par>
                              <p:par>
                                <p:cTn id="48" presetID="2" presetClass="entr" presetSubtype="1" decel="100000" fill="hold" nodeType="withEffect">
                                  <p:stCondLst>
                                    <p:cond delay="200"/>
                                  </p:stCondLst>
                                  <p:childTnLst>
                                    <p:set>
                                      <p:cBhvr>
                                        <p:cTn id="49" dur="1" fill="hold">
                                          <p:stCondLst>
                                            <p:cond delay="0"/>
                                          </p:stCondLst>
                                        </p:cTn>
                                        <p:tgtEl>
                                          <p:spTgt spid="39"/>
                                        </p:tgtEl>
                                        <p:attrNameLst>
                                          <p:attrName>style.visibility</p:attrName>
                                        </p:attrNameLst>
                                      </p:cBhvr>
                                      <p:to>
                                        <p:strVal val="visible"/>
                                      </p:to>
                                    </p:set>
                                    <p:anim calcmode="lin" valueType="num">
                                      <p:cBhvr additive="base">
                                        <p:cTn id="50" dur="700" fill="hold"/>
                                        <p:tgtEl>
                                          <p:spTgt spid="39"/>
                                        </p:tgtEl>
                                        <p:attrNameLst>
                                          <p:attrName>ppt_x</p:attrName>
                                        </p:attrNameLst>
                                      </p:cBhvr>
                                      <p:tavLst>
                                        <p:tav tm="0">
                                          <p:val>
                                            <p:strVal val="#ppt_x"/>
                                          </p:val>
                                        </p:tav>
                                        <p:tav tm="100000">
                                          <p:val>
                                            <p:strVal val="#ppt_x"/>
                                          </p:val>
                                        </p:tav>
                                      </p:tavLst>
                                    </p:anim>
                                    <p:anim calcmode="lin" valueType="num">
                                      <p:cBhvr additive="base">
                                        <p:cTn id="51" dur="700" fill="hold"/>
                                        <p:tgtEl>
                                          <p:spTgt spid="39"/>
                                        </p:tgtEl>
                                        <p:attrNameLst>
                                          <p:attrName>ppt_y</p:attrName>
                                        </p:attrNameLst>
                                      </p:cBhvr>
                                      <p:tavLst>
                                        <p:tav tm="0">
                                          <p:val>
                                            <p:strVal val="0-#ppt_h/2"/>
                                          </p:val>
                                        </p:tav>
                                        <p:tav tm="100000">
                                          <p:val>
                                            <p:strVal val="#ppt_y"/>
                                          </p:val>
                                        </p:tav>
                                      </p:tavLst>
                                    </p:anim>
                                  </p:childTnLst>
                                </p:cTn>
                              </p:par>
                              <p:par>
                                <p:cTn id="52" presetID="2" presetClass="entr" presetSubtype="1" decel="100000" fill="hold" nodeType="withEffect">
                                  <p:stCondLst>
                                    <p:cond delay="300"/>
                                  </p:stCondLst>
                                  <p:childTnLst>
                                    <p:set>
                                      <p:cBhvr>
                                        <p:cTn id="53" dur="1" fill="hold">
                                          <p:stCondLst>
                                            <p:cond delay="0"/>
                                          </p:stCondLst>
                                        </p:cTn>
                                        <p:tgtEl>
                                          <p:spTgt spid="19"/>
                                        </p:tgtEl>
                                        <p:attrNameLst>
                                          <p:attrName>style.visibility</p:attrName>
                                        </p:attrNameLst>
                                      </p:cBhvr>
                                      <p:to>
                                        <p:strVal val="visible"/>
                                      </p:to>
                                    </p:set>
                                    <p:anim calcmode="lin" valueType="num">
                                      <p:cBhvr additive="base">
                                        <p:cTn id="54" dur="700" fill="hold"/>
                                        <p:tgtEl>
                                          <p:spTgt spid="19"/>
                                        </p:tgtEl>
                                        <p:attrNameLst>
                                          <p:attrName>ppt_x</p:attrName>
                                        </p:attrNameLst>
                                      </p:cBhvr>
                                      <p:tavLst>
                                        <p:tav tm="0">
                                          <p:val>
                                            <p:strVal val="#ppt_x"/>
                                          </p:val>
                                        </p:tav>
                                        <p:tav tm="100000">
                                          <p:val>
                                            <p:strVal val="#ppt_x"/>
                                          </p:val>
                                        </p:tav>
                                      </p:tavLst>
                                    </p:anim>
                                    <p:anim calcmode="lin" valueType="num">
                                      <p:cBhvr additive="base">
                                        <p:cTn id="55" dur="700" fill="hold"/>
                                        <p:tgtEl>
                                          <p:spTgt spid="19"/>
                                        </p:tgtEl>
                                        <p:attrNameLst>
                                          <p:attrName>ppt_y</p:attrName>
                                        </p:attrNameLst>
                                      </p:cBhvr>
                                      <p:tavLst>
                                        <p:tav tm="0">
                                          <p:val>
                                            <p:strVal val="0-#ppt_h/2"/>
                                          </p:val>
                                        </p:tav>
                                        <p:tav tm="100000">
                                          <p:val>
                                            <p:strVal val="#ppt_y"/>
                                          </p:val>
                                        </p:tav>
                                      </p:tavLst>
                                    </p:anim>
                                  </p:childTnLst>
                                </p:cTn>
                              </p:par>
                              <p:par>
                                <p:cTn id="56" presetID="2" presetClass="entr" presetSubtype="1" decel="100000" fill="hold" nodeType="withEffect">
                                  <p:stCondLst>
                                    <p:cond delay="400"/>
                                  </p:stCondLst>
                                  <p:childTnLst>
                                    <p:set>
                                      <p:cBhvr>
                                        <p:cTn id="57" dur="1" fill="hold">
                                          <p:stCondLst>
                                            <p:cond delay="0"/>
                                          </p:stCondLst>
                                        </p:cTn>
                                        <p:tgtEl>
                                          <p:spTgt spid="38"/>
                                        </p:tgtEl>
                                        <p:attrNameLst>
                                          <p:attrName>style.visibility</p:attrName>
                                        </p:attrNameLst>
                                      </p:cBhvr>
                                      <p:to>
                                        <p:strVal val="visible"/>
                                      </p:to>
                                    </p:set>
                                    <p:anim calcmode="lin" valueType="num">
                                      <p:cBhvr additive="base">
                                        <p:cTn id="58" dur="700" fill="hold"/>
                                        <p:tgtEl>
                                          <p:spTgt spid="38"/>
                                        </p:tgtEl>
                                        <p:attrNameLst>
                                          <p:attrName>ppt_x</p:attrName>
                                        </p:attrNameLst>
                                      </p:cBhvr>
                                      <p:tavLst>
                                        <p:tav tm="0">
                                          <p:val>
                                            <p:strVal val="#ppt_x"/>
                                          </p:val>
                                        </p:tav>
                                        <p:tav tm="100000">
                                          <p:val>
                                            <p:strVal val="#ppt_x"/>
                                          </p:val>
                                        </p:tav>
                                      </p:tavLst>
                                    </p:anim>
                                    <p:anim calcmode="lin" valueType="num">
                                      <p:cBhvr additive="base">
                                        <p:cTn id="59" dur="700" fill="hold"/>
                                        <p:tgtEl>
                                          <p:spTgt spid="38"/>
                                        </p:tgtEl>
                                        <p:attrNameLst>
                                          <p:attrName>ppt_y</p:attrName>
                                        </p:attrNameLst>
                                      </p:cBhvr>
                                      <p:tavLst>
                                        <p:tav tm="0">
                                          <p:val>
                                            <p:strVal val="0-#ppt_h/2"/>
                                          </p:val>
                                        </p:tav>
                                        <p:tav tm="100000">
                                          <p:val>
                                            <p:strVal val="#ppt_y"/>
                                          </p:val>
                                        </p:tav>
                                      </p:tavLst>
                                    </p:anim>
                                  </p:childTnLst>
                                </p:cTn>
                              </p:par>
                              <p:par>
                                <p:cTn id="60" presetID="2" presetClass="entr" presetSubtype="1" decel="100000" fill="hold" nodeType="withEffect">
                                  <p:stCondLst>
                                    <p:cond delay="500"/>
                                  </p:stCondLst>
                                  <p:childTnLst>
                                    <p:set>
                                      <p:cBhvr>
                                        <p:cTn id="61" dur="1" fill="hold">
                                          <p:stCondLst>
                                            <p:cond delay="0"/>
                                          </p:stCondLst>
                                        </p:cTn>
                                        <p:tgtEl>
                                          <p:spTgt spid="36"/>
                                        </p:tgtEl>
                                        <p:attrNameLst>
                                          <p:attrName>style.visibility</p:attrName>
                                        </p:attrNameLst>
                                      </p:cBhvr>
                                      <p:to>
                                        <p:strVal val="visible"/>
                                      </p:to>
                                    </p:set>
                                    <p:anim calcmode="lin" valueType="num">
                                      <p:cBhvr additive="base">
                                        <p:cTn id="62" dur="700" fill="hold"/>
                                        <p:tgtEl>
                                          <p:spTgt spid="36"/>
                                        </p:tgtEl>
                                        <p:attrNameLst>
                                          <p:attrName>ppt_x</p:attrName>
                                        </p:attrNameLst>
                                      </p:cBhvr>
                                      <p:tavLst>
                                        <p:tav tm="0">
                                          <p:val>
                                            <p:strVal val="#ppt_x"/>
                                          </p:val>
                                        </p:tav>
                                        <p:tav tm="100000">
                                          <p:val>
                                            <p:strVal val="#ppt_x"/>
                                          </p:val>
                                        </p:tav>
                                      </p:tavLst>
                                    </p:anim>
                                    <p:anim calcmode="lin" valueType="num">
                                      <p:cBhvr additive="base">
                                        <p:cTn id="63" dur="700" fill="hold"/>
                                        <p:tgtEl>
                                          <p:spTgt spid="36"/>
                                        </p:tgtEl>
                                        <p:attrNameLst>
                                          <p:attrName>ppt_y</p:attrName>
                                        </p:attrNameLst>
                                      </p:cBhvr>
                                      <p:tavLst>
                                        <p:tav tm="0">
                                          <p:val>
                                            <p:strVal val="0-#ppt_h/2"/>
                                          </p:val>
                                        </p:tav>
                                        <p:tav tm="100000">
                                          <p:val>
                                            <p:strVal val="#ppt_y"/>
                                          </p:val>
                                        </p:tav>
                                      </p:tavLst>
                                    </p:anim>
                                  </p:childTnLst>
                                </p:cTn>
                              </p:par>
                              <p:par>
                                <p:cTn id="64" presetID="2" presetClass="entr" presetSubtype="1" decel="100000" fill="hold" nodeType="withEffect">
                                  <p:stCondLst>
                                    <p:cond delay="600"/>
                                  </p:stCondLst>
                                  <p:childTnLst>
                                    <p:set>
                                      <p:cBhvr>
                                        <p:cTn id="65" dur="1" fill="hold">
                                          <p:stCondLst>
                                            <p:cond delay="0"/>
                                          </p:stCondLst>
                                        </p:cTn>
                                        <p:tgtEl>
                                          <p:spTgt spid="33"/>
                                        </p:tgtEl>
                                        <p:attrNameLst>
                                          <p:attrName>style.visibility</p:attrName>
                                        </p:attrNameLst>
                                      </p:cBhvr>
                                      <p:to>
                                        <p:strVal val="visible"/>
                                      </p:to>
                                    </p:set>
                                    <p:anim calcmode="lin" valueType="num">
                                      <p:cBhvr additive="base">
                                        <p:cTn id="66" dur="700" fill="hold"/>
                                        <p:tgtEl>
                                          <p:spTgt spid="33"/>
                                        </p:tgtEl>
                                        <p:attrNameLst>
                                          <p:attrName>ppt_x</p:attrName>
                                        </p:attrNameLst>
                                      </p:cBhvr>
                                      <p:tavLst>
                                        <p:tav tm="0">
                                          <p:val>
                                            <p:strVal val="#ppt_x"/>
                                          </p:val>
                                        </p:tav>
                                        <p:tav tm="100000">
                                          <p:val>
                                            <p:strVal val="#ppt_x"/>
                                          </p:val>
                                        </p:tav>
                                      </p:tavLst>
                                    </p:anim>
                                    <p:anim calcmode="lin" valueType="num">
                                      <p:cBhvr additive="base">
                                        <p:cTn id="67" dur="700" fill="hold"/>
                                        <p:tgtEl>
                                          <p:spTgt spid="3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6" grpId="0" animBg="1"/>
      <p:bldP spid="16" grpId="1" animBg="1"/>
      <p:bldP spid="17" grpId="0" animBg="1"/>
      <p:bldP spid="17" grpId="1" animBg="1"/>
      <p:bldP spid="4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p:txBody>
          <a:bodyPr/>
          <a:lstStyle/>
          <a:p>
            <a:endParaRPr lang="en-US"/>
          </a:p>
        </p:txBody>
      </p:sp>
      <p:sp>
        <p:nvSpPr>
          <p:cNvPr id="2" name="Title 1"/>
          <p:cNvSpPr>
            <a:spLocks noGrp="1"/>
          </p:cNvSpPr>
          <p:nvPr>
            <p:ph type="title" idx="4294967295"/>
          </p:nvPr>
        </p:nvSpPr>
        <p:spPr>
          <a:xfrm>
            <a:off x="0" y="654425"/>
            <a:ext cx="2438400" cy="5163670"/>
          </a:xfrm>
        </p:spPr>
        <p:txBody>
          <a:bodyPr>
            <a:normAutofit/>
          </a:bodyPr>
          <a:lstStyle/>
          <a:p>
            <a:r>
              <a:rPr lang="fr-CH" dirty="0" smtClean="0"/>
              <a:t>Cloud</a:t>
            </a:r>
            <a:br>
              <a:rPr lang="fr-CH" dirty="0" smtClean="0"/>
            </a:br>
            <a:r>
              <a:rPr lang="fr-CH" dirty="0" err="1" smtClean="0"/>
              <a:t>Hype</a:t>
            </a:r>
            <a:r>
              <a:rPr lang="fr-CH" dirty="0" smtClean="0"/>
              <a:t> </a:t>
            </a:r>
            <a:br>
              <a:rPr lang="fr-CH" dirty="0" smtClean="0"/>
            </a:br>
            <a:r>
              <a:rPr lang="fr-CH" dirty="0" smtClean="0"/>
              <a:t>Cycle</a:t>
            </a:r>
            <a:endParaRPr lang="en-US" dirty="0"/>
          </a:p>
        </p:txBody>
      </p:sp>
      <p:pic>
        <p:nvPicPr>
          <p:cNvPr id="4" name="Picture 3"/>
          <p:cNvPicPr>
            <a:picLocks noChangeAspect="1"/>
          </p:cNvPicPr>
          <p:nvPr/>
        </p:nvPicPr>
        <p:blipFill>
          <a:blip r:embed="rId3"/>
          <a:stretch>
            <a:fillRect/>
          </a:stretch>
        </p:blipFill>
        <p:spPr>
          <a:xfrm>
            <a:off x="3137647" y="193662"/>
            <a:ext cx="8341785" cy="6609024"/>
          </a:xfrm>
          <a:prstGeom prst="rect">
            <a:avLst/>
          </a:prstGeom>
        </p:spPr>
      </p:pic>
      <p:sp>
        <p:nvSpPr>
          <p:cNvPr id="5" name="TextBox 4"/>
          <p:cNvSpPr txBox="1"/>
          <p:nvPr/>
        </p:nvSpPr>
        <p:spPr>
          <a:xfrm>
            <a:off x="7270376" y="6504098"/>
            <a:ext cx="4119518" cy="297454"/>
          </a:xfrm>
          <a:prstGeom prst="rect">
            <a:avLst/>
          </a:prstGeom>
          <a:noFill/>
        </p:spPr>
        <p:txBody>
          <a:bodyPr wrap="square" rtlCol="0">
            <a:spAutoFit/>
          </a:bodyPr>
          <a:lstStyle/>
          <a:p>
            <a:r>
              <a:rPr lang="en-US" sz="1333" i="1" dirty="0" smtClean="0"/>
              <a:t>Source: Gartner, July 2013</a:t>
            </a:r>
            <a:endParaRPr lang="en-US" sz="1333" i="1" dirty="0"/>
          </a:p>
        </p:txBody>
      </p:sp>
    </p:spTree>
    <p:extLst>
      <p:ext uri="{BB962C8B-B14F-4D97-AF65-F5344CB8AC3E}">
        <p14:creationId xmlns:p14="http://schemas.microsoft.com/office/powerpoint/2010/main" val="42573527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3371" tIns="89606" rIns="143371" bIns="89606" rtlCol="0" anchor="t">
            <a:noAutofit/>
          </a:bodyPr>
          <a:lstStyle/>
          <a:p>
            <a:r>
              <a:rPr lang="en-US" sz="3919" dirty="0">
                <a:solidFill>
                  <a:srgbClr val="06796F"/>
                </a:solidFill>
              </a:rPr>
              <a:t>Identity: Cloud, Sync or Federated?</a:t>
            </a:r>
          </a:p>
        </p:txBody>
      </p:sp>
      <p:grpSp>
        <p:nvGrpSpPr>
          <p:cNvPr id="5" name="Group 4"/>
          <p:cNvGrpSpPr/>
          <p:nvPr/>
        </p:nvGrpSpPr>
        <p:grpSpPr>
          <a:xfrm>
            <a:off x="5459768" y="1781395"/>
            <a:ext cx="1590501" cy="1728133"/>
            <a:chOff x="1955602" y="2655549"/>
            <a:chExt cx="1623047" cy="1763495"/>
          </a:xfrm>
        </p:grpSpPr>
        <p:sp>
          <p:nvSpPr>
            <p:cNvPr id="6" name="Rectangle 5"/>
            <p:cNvSpPr/>
            <p:nvPr/>
          </p:nvSpPr>
          <p:spPr>
            <a:xfrm>
              <a:off x="1955602" y="3773228"/>
              <a:ext cx="1623047" cy="645816"/>
            </a:xfrm>
            <a:prstGeom prst="rect">
              <a:avLst/>
            </a:prstGeom>
            <a:ln>
              <a:noFill/>
            </a:ln>
          </p:spPr>
          <p:txBody>
            <a:bodyPr wrap="square" lIns="0" tIns="0" rIns="0" bIns="0" anchor="ctr">
              <a:spAutoFit/>
            </a:bodyPr>
            <a:lstStyle/>
            <a:p>
              <a:pPr algn="ctr" defTabSz="1074454" fontAlgn="base">
                <a:spcAft>
                  <a:spcPct val="0"/>
                </a:spcAft>
              </a:pPr>
              <a:r>
                <a:rPr lang="en-US" sz="1371" dirty="0">
                  <a:ln>
                    <a:solidFill>
                      <a:srgbClr val="FFFFFF">
                        <a:alpha val="0"/>
                      </a:srgbClr>
                    </a:solidFill>
                  </a:ln>
                  <a:solidFill>
                    <a:srgbClr val="00188F"/>
                  </a:solidFill>
                </a:rPr>
                <a:t>Resources in other businesses or identity realms</a:t>
              </a:r>
            </a:p>
          </p:txBody>
        </p:sp>
        <p:grpSp>
          <p:nvGrpSpPr>
            <p:cNvPr id="7" name="Group 6"/>
            <p:cNvGrpSpPr/>
            <p:nvPr/>
          </p:nvGrpSpPr>
          <p:grpSpPr>
            <a:xfrm>
              <a:off x="2355282" y="2655549"/>
              <a:ext cx="907515" cy="1079421"/>
              <a:chOff x="9148763" y="3089275"/>
              <a:chExt cx="2371725" cy="2820988"/>
            </a:xfrm>
          </p:grpSpPr>
          <p:sp>
            <p:nvSpPr>
              <p:cNvPr id="8" name="Freeform 12"/>
              <p:cNvSpPr>
                <a:spLocks noEditPoints="1"/>
              </p:cNvSpPr>
              <p:nvPr/>
            </p:nvSpPr>
            <p:spPr bwMode="auto">
              <a:xfrm>
                <a:off x="10444163" y="3089275"/>
                <a:ext cx="1076325" cy="2214563"/>
              </a:xfrm>
              <a:custGeom>
                <a:avLst/>
                <a:gdLst>
                  <a:gd name="T0" fmla="*/ 678 w 678"/>
                  <a:gd name="T1" fmla="*/ 1395 h 1395"/>
                  <a:gd name="T2" fmla="*/ 0 w 678"/>
                  <a:gd name="T3" fmla="*/ 1395 h 1395"/>
                  <a:gd name="T4" fmla="*/ 0 w 678"/>
                  <a:gd name="T5" fmla="*/ 0 h 1395"/>
                  <a:gd name="T6" fmla="*/ 678 w 678"/>
                  <a:gd name="T7" fmla="*/ 0 h 1395"/>
                  <a:gd name="T8" fmla="*/ 678 w 678"/>
                  <a:gd name="T9" fmla="*/ 1395 h 1395"/>
                  <a:gd name="T10" fmla="*/ 640 w 678"/>
                  <a:gd name="T11" fmla="*/ 638 h 1395"/>
                  <a:gd name="T12" fmla="*/ 36 w 678"/>
                  <a:gd name="T13" fmla="*/ 638 h 1395"/>
                  <a:gd name="T14" fmla="*/ 36 w 678"/>
                  <a:gd name="T15" fmla="*/ 903 h 1395"/>
                  <a:gd name="T16" fmla="*/ 640 w 678"/>
                  <a:gd name="T17" fmla="*/ 903 h 1395"/>
                  <a:gd name="T18" fmla="*/ 640 w 678"/>
                  <a:gd name="T19" fmla="*/ 638 h 1395"/>
                  <a:gd name="T20" fmla="*/ 642 w 678"/>
                  <a:gd name="T21" fmla="*/ 1246 h 1395"/>
                  <a:gd name="T22" fmla="*/ 359 w 678"/>
                  <a:gd name="T23" fmla="*/ 1246 h 1395"/>
                  <a:gd name="T24" fmla="*/ 359 w 678"/>
                  <a:gd name="T25" fmla="*/ 1368 h 1395"/>
                  <a:gd name="T26" fmla="*/ 642 w 678"/>
                  <a:gd name="T27" fmla="*/ 1368 h 1395"/>
                  <a:gd name="T28" fmla="*/ 642 w 678"/>
                  <a:gd name="T29" fmla="*/ 1246 h 1395"/>
                  <a:gd name="T30" fmla="*/ 321 w 678"/>
                  <a:gd name="T31" fmla="*/ 1246 h 1395"/>
                  <a:gd name="T32" fmla="*/ 42 w 678"/>
                  <a:gd name="T33" fmla="*/ 1246 h 1395"/>
                  <a:gd name="T34" fmla="*/ 42 w 678"/>
                  <a:gd name="T35" fmla="*/ 1393 h 1395"/>
                  <a:gd name="T36" fmla="*/ 321 w 678"/>
                  <a:gd name="T37" fmla="*/ 1393 h 1395"/>
                  <a:gd name="T38" fmla="*/ 321 w 678"/>
                  <a:gd name="T39" fmla="*/ 1246 h 1395"/>
                  <a:gd name="T40" fmla="*/ 640 w 678"/>
                  <a:gd name="T41" fmla="*/ 948 h 1395"/>
                  <a:gd name="T42" fmla="*/ 36 w 678"/>
                  <a:gd name="T43" fmla="*/ 948 h 1395"/>
                  <a:gd name="T44" fmla="*/ 36 w 678"/>
                  <a:gd name="T45" fmla="*/ 1211 h 1395"/>
                  <a:gd name="T46" fmla="*/ 640 w 678"/>
                  <a:gd name="T47" fmla="*/ 1211 h 1395"/>
                  <a:gd name="T48" fmla="*/ 640 w 678"/>
                  <a:gd name="T49" fmla="*/ 948 h 1395"/>
                  <a:gd name="T50" fmla="*/ 640 w 678"/>
                  <a:gd name="T51" fmla="*/ 31 h 1395"/>
                  <a:gd name="T52" fmla="*/ 36 w 678"/>
                  <a:gd name="T53" fmla="*/ 31 h 1395"/>
                  <a:gd name="T54" fmla="*/ 36 w 678"/>
                  <a:gd name="T55" fmla="*/ 296 h 1395"/>
                  <a:gd name="T56" fmla="*/ 640 w 678"/>
                  <a:gd name="T57" fmla="*/ 296 h 1395"/>
                  <a:gd name="T58" fmla="*/ 640 w 678"/>
                  <a:gd name="T59" fmla="*/ 31 h 1395"/>
                  <a:gd name="T60" fmla="*/ 640 w 678"/>
                  <a:gd name="T61" fmla="*/ 332 h 1395"/>
                  <a:gd name="T62" fmla="*/ 36 w 678"/>
                  <a:gd name="T63" fmla="*/ 332 h 1395"/>
                  <a:gd name="T64" fmla="*/ 36 w 678"/>
                  <a:gd name="T65" fmla="*/ 595 h 1395"/>
                  <a:gd name="T66" fmla="*/ 640 w 678"/>
                  <a:gd name="T67" fmla="*/ 595 h 1395"/>
                  <a:gd name="T68" fmla="*/ 640 w 678"/>
                  <a:gd name="T69" fmla="*/ 332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78" h="1395">
                    <a:moveTo>
                      <a:pt x="678" y="1395"/>
                    </a:moveTo>
                    <a:lnTo>
                      <a:pt x="0" y="1395"/>
                    </a:lnTo>
                    <a:lnTo>
                      <a:pt x="0" y="0"/>
                    </a:lnTo>
                    <a:lnTo>
                      <a:pt x="678" y="0"/>
                    </a:lnTo>
                    <a:lnTo>
                      <a:pt x="678" y="1395"/>
                    </a:lnTo>
                    <a:close/>
                    <a:moveTo>
                      <a:pt x="640" y="638"/>
                    </a:moveTo>
                    <a:lnTo>
                      <a:pt x="36" y="638"/>
                    </a:lnTo>
                    <a:lnTo>
                      <a:pt x="36" y="903"/>
                    </a:lnTo>
                    <a:lnTo>
                      <a:pt x="640" y="903"/>
                    </a:lnTo>
                    <a:lnTo>
                      <a:pt x="640" y="638"/>
                    </a:lnTo>
                    <a:close/>
                    <a:moveTo>
                      <a:pt x="642" y="1246"/>
                    </a:moveTo>
                    <a:lnTo>
                      <a:pt x="359" y="1246"/>
                    </a:lnTo>
                    <a:lnTo>
                      <a:pt x="359" y="1368"/>
                    </a:lnTo>
                    <a:lnTo>
                      <a:pt x="642" y="1368"/>
                    </a:lnTo>
                    <a:lnTo>
                      <a:pt x="642" y="1246"/>
                    </a:lnTo>
                    <a:close/>
                    <a:moveTo>
                      <a:pt x="321" y="1246"/>
                    </a:moveTo>
                    <a:lnTo>
                      <a:pt x="42" y="1246"/>
                    </a:lnTo>
                    <a:lnTo>
                      <a:pt x="42" y="1393"/>
                    </a:lnTo>
                    <a:lnTo>
                      <a:pt x="321" y="1393"/>
                    </a:lnTo>
                    <a:lnTo>
                      <a:pt x="321" y="1246"/>
                    </a:lnTo>
                    <a:close/>
                    <a:moveTo>
                      <a:pt x="640" y="948"/>
                    </a:moveTo>
                    <a:lnTo>
                      <a:pt x="36" y="948"/>
                    </a:lnTo>
                    <a:lnTo>
                      <a:pt x="36" y="1211"/>
                    </a:lnTo>
                    <a:lnTo>
                      <a:pt x="640" y="1211"/>
                    </a:lnTo>
                    <a:lnTo>
                      <a:pt x="640" y="948"/>
                    </a:lnTo>
                    <a:close/>
                    <a:moveTo>
                      <a:pt x="640" y="31"/>
                    </a:moveTo>
                    <a:lnTo>
                      <a:pt x="36" y="31"/>
                    </a:lnTo>
                    <a:lnTo>
                      <a:pt x="36" y="296"/>
                    </a:lnTo>
                    <a:lnTo>
                      <a:pt x="640" y="296"/>
                    </a:lnTo>
                    <a:lnTo>
                      <a:pt x="640" y="31"/>
                    </a:lnTo>
                    <a:close/>
                    <a:moveTo>
                      <a:pt x="640" y="332"/>
                    </a:moveTo>
                    <a:lnTo>
                      <a:pt x="36" y="332"/>
                    </a:lnTo>
                    <a:lnTo>
                      <a:pt x="36" y="595"/>
                    </a:lnTo>
                    <a:lnTo>
                      <a:pt x="640" y="595"/>
                    </a:lnTo>
                    <a:lnTo>
                      <a:pt x="640" y="332"/>
                    </a:ln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GB" sz="1764">
                  <a:solidFill>
                    <a:srgbClr val="505050"/>
                  </a:solidFill>
                </a:endParaRPr>
              </a:p>
            </p:txBody>
          </p:sp>
          <p:sp>
            <p:nvSpPr>
              <p:cNvPr id="9" name="Freeform 13"/>
              <p:cNvSpPr>
                <a:spLocks noEditPoints="1"/>
              </p:cNvSpPr>
              <p:nvPr/>
            </p:nvSpPr>
            <p:spPr bwMode="auto">
              <a:xfrm>
                <a:off x="9148763" y="3089275"/>
                <a:ext cx="1076325" cy="2214563"/>
              </a:xfrm>
              <a:custGeom>
                <a:avLst/>
                <a:gdLst>
                  <a:gd name="T0" fmla="*/ 678 w 678"/>
                  <a:gd name="T1" fmla="*/ 1395 h 1395"/>
                  <a:gd name="T2" fmla="*/ 0 w 678"/>
                  <a:gd name="T3" fmla="*/ 1395 h 1395"/>
                  <a:gd name="T4" fmla="*/ 0 w 678"/>
                  <a:gd name="T5" fmla="*/ 0 h 1395"/>
                  <a:gd name="T6" fmla="*/ 678 w 678"/>
                  <a:gd name="T7" fmla="*/ 0 h 1395"/>
                  <a:gd name="T8" fmla="*/ 678 w 678"/>
                  <a:gd name="T9" fmla="*/ 1395 h 1395"/>
                  <a:gd name="T10" fmla="*/ 640 w 678"/>
                  <a:gd name="T11" fmla="*/ 638 h 1395"/>
                  <a:gd name="T12" fmla="*/ 38 w 678"/>
                  <a:gd name="T13" fmla="*/ 638 h 1395"/>
                  <a:gd name="T14" fmla="*/ 38 w 678"/>
                  <a:gd name="T15" fmla="*/ 903 h 1395"/>
                  <a:gd name="T16" fmla="*/ 640 w 678"/>
                  <a:gd name="T17" fmla="*/ 903 h 1395"/>
                  <a:gd name="T18" fmla="*/ 640 w 678"/>
                  <a:gd name="T19" fmla="*/ 638 h 1395"/>
                  <a:gd name="T20" fmla="*/ 642 w 678"/>
                  <a:gd name="T21" fmla="*/ 1246 h 1395"/>
                  <a:gd name="T22" fmla="*/ 359 w 678"/>
                  <a:gd name="T23" fmla="*/ 1246 h 1395"/>
                  <a:gd name="T24" fmla="*/ 359 w 678"/>
                  <a:gd name="T25" fmla="*/ 1368 h 1395"/>
                  <a:gd name="T26" fmla="*/ 642 w 678"/>
                  <a:gd name="T27" fmla="*/ 1368 h 1395"/>
                  <a:gd name="T28" fmla="*/ 642 w 678"/>
                  <a:gd name="T29" fmla="*/ 1246 h 1395"/>
                  <a:gd name="T30" fmla="*/ 323 w 678"/>
                  <a:gd name="T31" fmla="*/ 1246 h 1395"/>
                  <a:gd name="T32" fmla="*/ 44 w 678"/>
                  <a:gd name="T33" fmla="*/ 1246 h 1395"/>
                  <a:gd name="T34" fmla="*/ 44 w 678"/>
                  <a:gd name="T35" fmla="*/ 1393 h 1395"/>
                  <a:gd name="T36" fmla="*/ 323 w 678"/>
                  <a:gd name="T37" fmla="*/ 1393 h 1395"/>
                  <a:gd name="T38" fmla="*/ 323 w 678"/>
                  <a:gd name="T39" fmla="*/ 1246 h 1395"/>
                  <a:gd name="T40" fmla="*/ 640 w 678"/>
                  <a:gd name="T41" fmla="*/ 948 h 1395"/>
                  <a:gd name="T42" fmla="*/ 38 w 678"/>
                  <a:gd name="T43" fmla="*/ 948 h 1395"/>
                  <a:gd name="T44" fmla="*/ 38 w 678"/>
                  <a:gd name="T45" fmla="*/ 1211 h 1395"/>
                  <a:gd name="T46" fmla="*/ 640 w 678"/>
                  <a:gd name="T47" fmla="*/ 1211 h 1395"/>
                  <a:gd name="T48" fmla="*/ 640 w 678"/>
                  <a:gd name="T49" fmla="*/ 948 h 1395"/>
                  <a:gd name="T50" fmla="*/ 640 w 678"/>
                  <a:gd name="T51" fmla="*/ 31 h 1395"/>
                  <a:gd name="T52" fmla="*/ 38 w 678"/>
                  <a:gd name="T53" fmla="*/ 31 h 1395"/>
                  <a:gd name="T54" fmla="*/ 38 w 678"/>
                  <a:gd name="T55" fmla="*/ 296 h 1395"/>
                  <a:gd name="T56" fmla="*/ 640 w 678"/>
                  <a:gd name="T57" fmla="*/ 296 h 1395"/>
                  <a:gd name="T58" fmla="*/ 640 w 678"/>
                  <a:gd name="T59" fmla="*/ 31 h 1395"/>
                  <a:gd name="T60" fmla="*/ 640 w 678"/>
                  <a:gd name="T61" fmla="*/ 332 h 1395"/>
                  <a:gd name="T62" fmla="*/ 38 w 678"/>
                  <a:gd name="T63" fmla="*/ 332 h 1395"/>
                  <a:gd name="T64" fmla="*/ 38 w 678"/>
                  <a:gd name="T65" fmla="*/ 595 h 1395"/>
                  <a:gd name="T66" fmla="*/ 640 w 678"/>
                  <a:gd name="T67" fmla="*/ 595 h 1395"/>
                  <a:gd name="T68" fmla="*/ 640 w 678"/>
                  <a:gd name="T69" fmla="*/ 332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78" h="1395">
                    <a:moveTo>
                      <a:pt x="678" y="1395"/>
                    </a:moveTo>
                    <a:lnTo>
                      <a:pt x="0" y="1395"/>
                    </a:lnTo>
                    <a:lnTo>
                      <a:pt x="0" y="0"/>
                    </a:lnTo>
                    <a:lnTo>
                      <a:pt x="678" y="0"/>
                    </a:lnTo>
                    <a:lnTo>
                      <a:pt x="678" y="1395"/>
                    </a:lnTo>
                    <a:close/>
                    <a:moveTo>
                      <a:pt x="640" y="638"/>
                    </a:moveTo>
                    <a:lnTo>
                      <a:pt x="38" y="638"/>
                    </a:lnTo>
                    <a:lnTo>
                      <a:pt x="38" y="903"/>
                    </a:lnTo>
                    <a:lnTo>
                      <a:pt x="640" y="903"/>
                    </a:lnTo>
                    <a:lnTo>
                      <a:pt x="640" y="638"/>
                    </a:lnTo>
                    <a:close/>
                    <a:moveTo>
                      <a:pt x="642" y="1246"/>
                    </a:moveTo>
                    <a:lnTo>
                      <a:pt x="359" y="1246"/>
                    </a:lnTo>
                    <a:lnTo>
                      <a:pt x="359" y="1368"/>
                    </a:lnTo>
                    <a:lnTo>
                      <a:pt x="642" y="1368"/>
                    </a:lnTo>
                    <a:lnTo>
                      <a:pt x="642" y="1246"/>
                    </a:lnTo>
                    <a:close/>
                    <a:moveTo>
                      <a:pt x="323" y="1246"/>
                    </a:moveTo>
                    <a:lnTo>
                      <a:pt x="44" y="1246"/>
                    </a:lnTo>
                    <a:lnTo>
                      <a:pt x="44" y="1393"/>
                    </a:lnTo>
                    <a:lnTo>
                      <a:pt x="323" y="1393"/>
                    </a:lnTo>
                    <a:lnTo>
                      <a:pt x="323" y="1246"/>
                    </a:lnTo>
                    <a:close/>
                    <a:moveTo>
                      <a:pt x="640" y="948"/>
                    </a:moveTo>
                    <a:lnTo>
                      <a:pt x="38" y="948"/>
                    </a:lnTo>
                    <a:lnTo>
                      <a:pt x="38" y="1211"/>
                    </a:lnTo>
                    <a:lnTo>
                      <a:pt x="640" y="1211"/>
                    </a:lnTo>
                    <a:lnTo>
                      <a:pt x="640" y="948"/>
                    </a:lnTo>
                    <a:close/>
                    <a:moveTo>
                      <a:pt x="640" y="31"/>
                    </a:moveTo>
                    <a:lnTo>
                      <a:pt x="38" y="31"/>
                    </a:lnTo>
                    <a:lnTo>
                      <a:pt x="38" y="296"/>
                    </a:lnTo>
                    <a:lnTo>
                      <a:pt x="640" y="296"/>
                    </a:lnTo>
                    <a:lnTo>
                      <a:pt x="640" y="31"/>
                    </a:lnTo>
                    <a:close/>
                    <a:moveTo>
                      <a:pt x="640" y="332"/>
                    </a:moveTo>
                    <a:lnTo>
                      <a:pt x="38" y="332"/>
                    </a:lnTo>
                    <a:lnTo>
                      <a:pt x="38" y="595"/>
                    </a:lnTo>
                    <a:lnTo>
                      <a:pt x="640" y="595"/>
                    </a:lnTo>
                    <a:lnTo>
                      <a:pt x="640" y="332"/>
                    </a:ln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GB" sz="1764">
                  <a:solidFill>
                    <a:srgbClr val="505050"/>
                  </a:solidFill>
                </a:endParaRPr>
              </a:p>
            </p:txBody>
          </p:sp>
          <p:sp>
            <p:nvSpPr>
              <p:cNvPr id="10" name="Rectangle 14"/>
              <p:cNvSpPr>
                <a:spLocks noChangeArrowheads="1"/>
              </p:cNvSpPr>
              <p:nvPr/>
            </p:nvSpPr>
            <p:spPr bwMode="auto">
              <a:xfrm>
                <a:off x="9607551" y="3698875"/>
                <a:ext cx="1463675" cy="22113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pPr defTabSz="914004"/>
                <a:endParaRPr lang="en-GB" sz="1764">
                  <a:solidFill>
                    <a:srgbClr val="505050"/>
                  </a:solidFill>
                </a:endParaRPr>
              </a:p>
            </p:txBody>
          </p:sp>
          <p:sp>
            <p:nvSpPr>
              <p:cNvPr id="11" name="Freeform 15"/>
              <p:cNvSpPr>
                <a:spLocks noEditPoints="1"/>
              </p:cNvSpPr>
              <p:nvPr/>
            </p:nvSpPr>
            <p:spPr bwMode="auto">
              <a:xfrm>
                <a:off x="9607551" y="3698875"/>
                <a:ext cx="1503363" cy="2211388"/>
              </a:xfrm>
              <a:custGeom>
                <a:avLst/>
                <a:gdLst>
                  <a:gd name="T0" fmla="*/ 947 w 947"/>
                  <a:gd name="T1" fmla="*/ 1393 h 1393"/>
                  <a:gd name="T2" fmla="*/ 0 w 947"/>
                  <a:gd name="T3" fmla="*/ 1393 h 1393"/>
                  <a:gd name="T4" fmla="*/ 0 w 947"/>
                  <a:gd name="T5" fmla="*/ 0 h 1393"/>
                  <a:gd name="T6" fmla="*/ 947 w 947"/>
                  <a:gd name="T7" fmla="*/ 0 h 1393"/>
                  <a:gd name="T8" fmla="*/ 947 w 947"/>
                  <a:gd name="T9" fmla="*/ 1393 h 1393"/>
                  <a:gd name="T10" fmla="*/ 894 w 947"/>
                  <a:gd name="T11" fmla="*/ 638 h 1393"/>
                  <a:gd name="T12" fmla="*/ 50 w 947"/>
                  <a:gd name="T13" fmla="*/ 638 h 1393"/>
                  <a:gd name="T14" fmla="*/ 50 w 947"/>
                  <a:gd name="T15" fmla="*/ 903 h 1393"/>
                  <a:gd name="T16" fmla="*/ 894 w 947"/>
                  <a:gd name="T17" fmla="*/ 903 h 1393"/>
                  <a:gd name="T18" fmla="*/ 894 w 947"/>
                  <a:gd name="T19" fmla="*/ 638 h 1393"/>
                  <a:gd name="T20" fmla="*/ 896 w 947"/>
                  <a:gd name="T21" fmla="*/ 1244 h 1393"/>
                  <a:gd name="T22" fmla="*/ 502 w 947"/>
                  <a:gd name="T23" fmla="*/ 1244 h 1393"/>
                  <a:gd name="T24" fmla="*/ 502 w 947"/>
                  <a:gd name="T25" fmla="*/ 1368 h 1393"/>
                  <a:gd name="T26" fmla="*/ 896 w 947"/>
                  <a:gd name="T27" fmla="*/ 1368 h 1393"/>
                  <a:gd name="T28" fmla="*/ 896 w 947"/>
                  <a:gd name="T29" fmla="*/ 1244 h 1393"/>
                  <a:gd name="T30" fmla="*/ 450 w 947"/>
                  <a:gd name="T31" fmla="*/ 1246 h 1393"/>
                  <a:gd name="T32" fmla="*/ 59 w 947"/>
                  <a:gd name="T33" fmla="*/ 1246 h 1393"/>
                  <a:gd name="T34" fmla="*/ 59 w 947"/>
                  <a:gd name="T35" fmla="*/ 1393 h 1393"/>
                  <a:gd name="T36" fmla="*/ 450 w 947"/>
                  <a:gd name="T37" fmla="*/ 1393 h 1393"/>
                  <a:gd name="T38" fmla="*/ 450 w 947"/>
                  <a:gd name="T39" fmla="*/ 1246 h 1393"/>
                  <a:gd name="T40" fmla="*/ 894 w 947"/>
                  <a:gd name="T41" fmla="*/ 946 h 1393"/>
                  <a:gd name="T42" fmla="*/ 50 w 947"/>
                  <a:gd name="T43" fmla="*/ 946 h 1393"/>
                  <a:gd name="T44" fmla="*/ 50 w 947"/>
                  <a:gd name="T45" fmla="*/ 1211 h 1393"/>
                  <a:gd name="T46" fmla="*/ 894 w 947"/>
                  <a:gd name="T47" fmla="*/ 1211 h 1393"/>
                  <a:gd name="T48" fmla="*/ 894 w 947"/>
                  <a:gd name="T49" fmla="*/ 946 h 1393"/>
                  <a:gd name="T50" fmla="*/ 894 w 947"/>
                  <a:gd name="T51" fmla="*/ 31 h 1393"/>
                  <a:gd name="T52" fmla="*/ 50 w 947"/>
                  <a:gd name="T53" fmla="*/ 31 h 1393"/>
                  <a:gd name="T54" fmla="*/ 50 w 947"/>
                  <a:gd name="T55" fmla="*/ 296 h 1393"/>
                  <a:gd name="T56" fmla="*/ 894 w 947"/>
                  <a:gd name="T57" fmla="*/ 296 h 1393"/>
                  <a:gd name="T58" fmla="*/ 894 w 947"/>
                  <a:gd name="T59" fmla="*/ 31 h 1393"/>
                  <a:gd name="T60" fmla="*/ 894 w 947"/>
                  <a:gd name="T61" fmla="*/ 331 h 1393"/>
                  <a:gd name="T62" fmla="*/ 50 w 947"/>
                  <a:gd name="T63" fmla="*/ 331 h 1393"/>
                  <a:gd name="T64" fmla="*/ 50 w 947"/>
                  <a:gd name="T65" fmla="*/ 595 h 1393"/>
                  <a:gd name="T66" fmla="*/ 894 w 947"/>
                  <a:gd name="T67" fmla="*/ 595 h 1393"/>
                  <a:gd name="T68" fmla="*/ 894 w 947"/>
                  <a:gd name="T69" fmla="*/ 331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7" h="1393">
                    <a:moveTo>
                      <a:pt x="947" y="1393"/>
                    </a:moveTo>
                    <a:lnTo>
                      <a:pt x="0" y="1393"/>
                    </a:lnTo>
                    <a:lnTo>
                      <a:pt x="0" y="0"/>
                    </a:lnTo>
                    <a:lnTo>
                      <a:pt x="947" y="0"/>
                    </a:lnTo>
                    <a:lnTo>
                      <a:pt x="947" y="1393"/>
                    </a:lnTo>
                    <a:close/>
                    <a:moveTo>
                      <a:pt x="894" y="638"/>
                    </a:moveTo>
                    <a:lnTo>
                      <a:pt x="50" y="638"/>
                    </a:lnTo>
                    <a:lnTo>
                      <a:pt x="50" y="903"/>
                    </a:lnTo>
                    <a:lnTo>
                      <a:pt x="894" y="903"/>
                    </a:lnTo>
                    <a:lnTo>
                      <a:pt x="894" y="638"/>
                    </a:lnTo>
                    <a:close/>
                    <a:moveTo>
                      <a:pt x="896" y="1244"/>
                    </a:moveTo>
                    <a:lnTo>
                      <a:pt x="502" y="1244"/>
                    </a:lnTo>
                    <a:lnTo>
                      <a:pt x="502" y="1368"/>
                    </a:lnTo>
                    <a:lnTo>
                      <a:pt x="896" y="1368"/>
                    </a:lnTo>
                    <a:lnTo>
                      <a:pt x="896" y="1244"/>
                    </a:lnTo>
                    <a:close/>
                    <a:moveTo>
                      <a:pt x="450" y="1246"/>
                    </a:moveTo>
                    <a:lnTo>
                      <a:pt x="59" y="1246"/>
                    </a:lnTo>
                    <a:lnTo>
                      <a:pt x="59" y="1393"/>
                    </a:lnTo>
                    <a:lnTo>
                      <a:pt x="450" y="1393"/>
                    </a:lnTo>
                    <a:lnTo>
                      <a:pt x="450" y="1246"/>
                    </a:lnTo>
                    <a:close/>
                    <a:moveTo>
                      <a:pt x="894" y="946"/>
                    </a:moveTo>
                    <a:lnTo>
                      <a:pt x="50" y="946"/>
                    </a:lnTo>
                    <a:lnTo>
                      <a:pt x="50" y="1211"/>
                    </a:lnTo>
                    <a:lnTo>
                      <a:pt x="894" y="1211"/>
                    </a:lnTo>
                    <a:lnTo>
                      <a:pt x="894" y="946"/>
                    </a:lnTo>
                    <a:close/>
                    <a:moveTo>
                      <a:pt x="894" y="31"/>
                    </a:moveTo>
                    <a:lnTo>
                      <a:pt x="50" y="31"/>
                    </a:lnTo>
                    <a:lnTo>
                      <a:pt x="50" y="296"/>
                    </a:lnTo>
                    <a:lnTo>
                      <a:pt x="894" y="296"/>
                    </a:lnTo>
                    <a:lnTo>
                      <a:pt x="894" y="31"/>
                    </a:lnTo>
                    <a:close/>
                    <a:moveTo>
                      <a:pt x="894" y="331"/>
                    </a:moveTo>
                    <a:lnTo>
                      <a:pt x="50" y="331"/>
                    </a:lnTo>
                    <a:lnTo>
                      <a:pt x="50" y="595"/>
                    </a:lnTo>
                    <a:lnTo>
                      <a:pt x="894" y="595"/>
                    </a:lnTo>
                    <a:lnTo>
                      <a:pt x="894" y="331"/>
                    </a:lnTo>
                    <a:close/>
                  </a:path>
                </a:pathLst>
              </a:custGeom>
              <a:solidFill>
                <a:srgbClr val="F7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GB" sz="1764">
                  <a:solidFill>
                    <a:srgbClr val="505050"/>
                  </a:solidFill>
                </a:endParaRPr>
              </a:p>
            </p:txBody>
          </p:sp>
        </p:grpSp>
      </p:grpSp>
      <p:grpSp>
        <p:nvGrpSpPr>
          <p:cNvPr id="228" name="Group 227"/>
          <p:cNvGrpSpPr/>
          <p:nvPr/>
        </p:nvGrpSpPr>
        <p:grpSpPr>
          <a:xfrm>
            <a:off x="3142269" y="5024886"/>
            <a:ext cx="1905951" cy="1289167"/>
            <a:chOff x="4180433" y="3009950"/>
            <a:chExt cx="1695153" cy="1139828"/>
          </a:xfrm>
        </p:grpSpPr>
        <p:grpSp>
          <p:nvGrpSpPr>
            <p:cNvPr id="229" name="Group 228"/>
            <p:cNvGrpSpPr/>
            <p:nvPr/>
          </p:nvGrpSpPr>
          <p:grpSpPr>
            <a:xfrm>
              <a:off x="4180433" y="3665675"/>
              <a:ext cx="1695153" cy="484103"/>
              <a:chOff x="3002667" y="5699193"/>
              <a:chExt cx="1695153" cy="484103"/>
            </a:xfrm>
          </p:grpSpPr>
          <p:sp>
            <p:nvSpPr>
              <p:cNvPr id="231" name="Rectangle 230"/>
              <p:cNvSpPr/>
              <p:nvPr/>
            </p:nvSpPr>
            <p:spPr>
              <a:xfrm>
                <a:off x="3348990" y="5996779"/>
                <a:ext cx="1156250" cy="186517"/>
              </a:xfrm>
              <a:prstGeom prst="rect">
                <a:avLst/>
              </a:prstGeom>
              <a:ln>
                <a:noFill/>
              </a:ln>
            </p:spPr>
            <p:txBody>
              <a:bodyPr wrap="square" lIns="0" tIns="0" rIns="0" bIns="0" anchor="ctr">
                <a:spAutoFit/>
              </a:bodyPr>
              <a:lstStyle/>
              <a:p>
                <a:pPr algn="ctr" defTabSz="1074661" fontAlgn="base">
                  <a:spcBef>
                    <a:spcPts val="1411"/>
                  </a:spcBef>
                  <a:spcAft>
                    <a:spcPct val="0"/>
                  </a:spcAft>
                </a:pPr>
                <a:r>
                  <a:rPr lang="en-US" sz="1371" dirty="0">
                    <a:ln>
                      <a:solidFill>
                        <a:srgbClr val="FFFFFF">
                          <a:alpha val="0"/>
                        </a:srgbClr>
                      </a:solidFill>
                    </a:ln>
                    <a:solidFill>
                      <a:srgbClr val="00188F"/>
                    </a:solidFill>
                  </a:rPr>
                  <a:t>Active Directory</a:t>
                </a:r>
              </a:p>
            </p:txBody>
          </p:sp>
          <p:pic>
            <p:nvPicPr>
              <p:cNvPr id="232" name="Picture 2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02667" y="5699193"/>
                <a:ext cx="1695153" cy="398452"/>
              </a:xfrm>
              <a:prstGeom prst="rect">
                <a:avLst/>
              </a:prstGeom>
            </p:spPr>
          </p:pic>
        </p:grpSp>
        <p:pic>
          <p:nvPicPr>
            <p:cNvPr id="230" name="Picture 22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5105" y="3009950"/>
              <a:ext cx="1044032" cy="690827"/>
            </a:xfrm>
            <a:prstGeom prst="rect">
              <a:avLst/>
            </a:prstGeom>
          </p:spPr>
        </p:pic>
      </p:grpSp>
      <p:sp>
        <p:nvSpPr>
          <p:cNvPr id="233" name="Freeform 5"/>
          <p:cNvSpPr>
            <a:spLocks noChangeAspect="1" noEditPoints="1"/>
          </p:cNvSpPr>
          <p:nvPr/>
        </p:nvSpPr>
        <p:spPr bwMode="auto">
          <a:xfrm>
            <a:off x="4001658" y="3228385"/>
            <a:ext cx="620429" cy="931808"/>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defTabSz="896030">
              <a:defRPr/>
            </a:pPr>
            <a:endParaRPr lang="en-GB" sz="1764" kern="0">
              <a:solidFill>
                <a:srgbClr val="505050"/>
              </a:solidFill>
            </a:endParaRPr>
          </a:p>
        </p:txBody>
      </p:sp>
      <p:grpSp>
        <p:nvGrpSpPr>
          <p:cNvPr id="238" name="Group 237"/>
          <p:cNvGrpSpPr>
            <a:grpSpLocks noChangeAspect="1"/>
          </p:cNvGrpSpPr>
          <p:nvPr/>
        </p:nvGrpSpPr>
        <p:grpSpPr>
          <a:xfrm>
            <a:off x="441094" y="1930904"/>
            <a:ext cx="2675425" cy="1371375"/>
            <a:chOff x="444697" y="1190818"/>
            <a:chExt cx="3197874" cy="1639173"/>
          </a:xfrm>
        </p:grpSpPr>
        <p:grpSp>
          <p:nvGrpSpPr>
            <p:cNvPr id="239" name="Group 238"/>
            <p:cNvGrpSpPr/>
            <p:nvPr/>
          </p:nvGrpSpPr>
          <p:grpSpPr>
            <a:xfrm>
              <a:off x="444697" y="1190818"/>
              <a:ext cx="3197874" cy="1639173"/>
              <a:chOff x="396894" y="1190818"/>
              <a:chExt cx="3197874" cy="1639173"/>
            </a:xfrm>
          </p:grpSpPr>
          <p:sp>
            <p:nvSpPr>
              <p:cNvPr id="244" name="Freeform 243"/>
              <p:cNvSpPr>
                <a:spLocks noChangeAspect="1"/>
              </p:cNvSpPr>
              <p:nvPr/>
            </p:nvSpPr>
            <p:spPr bwMode="auto">
              <a:xfrm>
                <a:off x="396894" y="1190818"/>
                <a:ext cx="3197874" cy="1639173"/>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1972" tIns="0" rIns="111972" bIns="55985"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19449" fontAlgn="base">
                  <a:spcBef>
                    <a:spcPct val="0"/>
                  </a:spcBef>
                  <a:spcAft>
                    <a:spcPct val="0"/>
                  </a:spcAft>
                  <a:defRPr/>
                </a:pPr>
                <a:endParaRPr lang="en-US" sz="1899" b="1" kern="0" dirty="0">
                  <a:solidFill>
                    <a:srgbClr val="505050"/>
                  </a:solidFill>
                </a:endParaRPr>
              </a:p>
            </p:txBody>
          </p:sp>
          <p:sp>
            <p:nvSpPr>
              <p:cNvPr id="247" name="AutoShape 9"/>
              <p:cNvSpPr>
                <a:spLocks noChangeAspect="1" noChangeArrowheads="1" noTextEdit="1"/>
              </p:cNvSpPr>
              <p:nvPr/>
            </p:nvSpPr>
            <p:spPr bwMode="auto">
              <a:xfrm>
                <a:off x="605681" y="2075794"/>
                <a:ext cx="932185" cy="614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6" tIns="44804" rIns="89606" bIns="44804" numCol="1" anchor="t" anchorCtr="0" compatLnSpc="1">
                <a:prstTxWarp prst="textNoShape">
                  <a:avLst/>
                </a:prstTxWarp>
              </a:bodyPr>
              <a:lstStyle/>
              <a:p>
                <a:pPr defTabSz="914004"/>
                <a:endParaRPr lang="en-GB" sz="1764">
                  <a:solidFill>
                    <a:srgbClr val="505050"/>
                  </a:solidFill>
                </a:endParaRPr>
              </a:p>
            </p:txBody>
          </p:sp>
        </p:grpSp>
        <p:grpSp>
          <p:nvGrpSpPr>
            <p:cNvPr id="240" name="Group 4"/>
            <p:cNvGrpSpPr>
              <a:grpSpLocks noChangeAspect="1"/>
            </p:cNvGrpSpPr>
            <p:nvPr/>
          </p:nvGrpSpPr>
          <p:grpSpPr bwMode="auto">
            <a:xfrm>
              <a:off x="704996" y="1995790"/>
              <a:ext cx="687381" cy="683048"/>
              <a:chOff x="3125" y="1415"/>
              <a:chExt cx="1586" cy="1576"/>
            </a:xfrm>
            <a:solidFill>
              <a:schemeClr val="tx2"/>
            </a:solidFill>
          </p:grpSpPr>
          <p:sp>
            <p:nvSpPr>
              <p:cNvPr id="241"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sp>
            <p:nvSpPr>
              <p:cNvPr id="242"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sp>
            <p:nvSpPr>
              <p:cNvPr id="243"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cxnSp>
        <p:nvCxnSpPr>
          <p:cNvPr id="248" name="Straight Arrow Connector 247"/>
          <p:cNvCxnSpPr/>
          <p:nvPr/>
        </p:nvCxnSpPr>
        <p:spPr>
          <a:xfrm flipH="1" flipV="1">
            <a:off x="3114542" y="3096973"/>
            <a:ext cx="503454" cy="227283"/>
          </a:xfrm>
          <a:prstGeom prst="straightConnector1">
            <a:avLst/>
          </a:prstGeom>
          <a:noFill/>
          <a:ln w="25400" cap="rnd" cmpd="sng" algn="ctr">
            <a:solidFill>
              <a:srgbClr val="0070C0"/>
            </a:solidFill>
            <a:prstDash val="sysDot"/>
            <a:headEnd type="none" w="med" len="med"/>
            <a:tailEnd type="triangle" w="med" len="med"/>
          </a:ln>
          <a:effectLst/>
        </p:spPr>
      </p:cxnSp>
      <p:cxnSp>
        <p:nvCxnSpPr>
          <p:cNvPr id="253" name="Straight Arrow Connector 252"/>
          <p:cNvCxnSpPr/>
          <p:nvPr/>
        </p:nvCxnSpPr>
        <p:spPr>
          <a:xfrm>
            <a:off x="2219753" y="3666864"/>
            <a:ext cx="747119" cy="1243369"/>
          </a:xfrm>
          <a:prstGeom prst="straightConnector1">
            <a:avLst/>
          </a:prstGeom>
          <a:noFill/>
          <a:ln w="25400" cap="rnd" cmpd="sng" algn="ctr">
            <a:solidFill>
              <a:srgbClr val="0070C0"/>
            </a:solidFill>
            <a:prstDash val="sysDot"/>
            <a:headEnd type="triangle"/>
            <a:tailEnd type="triangle"/>
          </a:ln>
          <a:effectLst/>
        </p:spPr>
      </p:cxnSp>
      <p:grpSp>
        <p:nvGrpSpPr>
          <p:cNvPr id="265" name="Group 264"/>
          <p:cNvGrpSpPr>
            <a:grpSpLocks noChangeAspect="1"/>
          </p:cNvGrpSpPr>
          <p:nvPr/>
        </p:nvGrpSpPr>
        <p:grpSpPr>
          <a:xfrm rot="900000">
            <a:off x="2337207" y="4037147"/>
            <a:ext cx="489479" cy="483357"/>
            <a:chOff x="3242937" y="2319398"/>
            <a:chExt cx="796924" cy="786956"/>
          </a:xfrm>
        </p:grpSpPr>
        <p:sp>
          <p:nvSpPr>
            <p:cNvPr id="266" name="Oval 265"/>
            <p:cNvSpPr/>
            <p:nvPr/>
          </p:nvSpPr>
          <p:spPr bwMode="auto">
            <a:xfrm>
              <a:off x="3247921" y="2319398"/>
              <a:ext cx="786956" cy="78695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FFFFFF"/>
                    </a:gs>
                    <a:gs pos="10417">
                      <a:srgbClr val="FFFFFF"/>
                    </a:gs>
                  </a:gsLst>
                  <a:lin ang="5400000" scaled="0"/>
                </a:gradFill>
              </a:endParaRPr>
            </a:p>
          </p:txBody>
        </p:sp>
        <p:sp>
          <p:nvSpPr>
            <p:cNvPr id="267" name="Freeform 31"/>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1"/>
            </a:solidFill>
            <a:ln>
              <a:solidFill>
                <a:schemeClr val="accent1"/>
              </a:solid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cxnSp>
        <p:nvCxnSpPr>
          <p:cNvPr id="268" name="Straight Arrow Connector 267"/>
          <p:cNvCxnSpPr/>
          <p:nvPr/>
        </p:nvCxnSpPr>
        <p:spPr>
          <a:xfrm>
            <a:off x="2610303" y="3523979"/>
            <a:ext cx="747119" cy="1243369"/>
          </a:xfrm>
          <a:prstGeom prst="straightConnector1">
            <a:avLst/>
          </a:prstGeom>
          <a:noFill/>
          <a:ln w="25400" cap="rnd" cmpd="sng" algn="ctr">
            <a:solidFill>
              <a:srgbClr val="0070C0"/>
            </a:solidFill>
            <a:prstDash val="sysDot"/>
            <a:headEnd type="none" w="med" len="med"/>
            <a:tailEnd type="triangle" w="med" len="med"/>
          </a:ln>
          <a:effectLst/>
        </p:spPr>
      </p:cxnSp>
      <p:sp>
        <p:nvSpPr>
          <p:cNvPr id="269" name="TextBox 268"/>
          <p:cNvSpPr txBox="1"/>
          <p:nvPr/>
        </p:nvSpPr>
        <p:spPr>
          <a:xfrm>
            <a:off x="3377933" y="2452141"/>
            <a:ext cx="500491" cy="663387"/>
          </a:xfrm>
          <a:prstGeom prst="rect">
            <a:avLst/>
          </a:prstGeom>
          <a:noFill/>
        </p:spPr>
        <p:txBody>
          <a:bodyPr wrap="square" lIns="0" tIns="0" rIns="0" bIns="0" rtlCol="0">
            <a:spAutoFit/>
          </a:bodyPr>
          <a:lstStyle/>
          <a:p>
            <a:pPr defTabSz="914004"/>
            <a:r>
              <a:rPr lang="en-US" sz="4311" b="1" spc="-40" dirty="0">
                <a:solidFill>
                  <a:srgbClr val="00B050"/>
                </a:solidFill>
                <a:sym typeface="Wingdings 2" panose="05020102010507070707" pitchFamily="18" charset="2"/>
              </a:rPr>
              <a:t></a:t>
            </a:r>
            <a:endParaRPr lang="en-US" sz="4311" b="1" spc="-40" dirty="0">
              <a:solidFill>
                <a:srgbClr val="00B050"/>
              </a:solidFill>
            </a:endParaRPr>
          </a:p>
        </p:txBody>
      </p:sp>
      <p:sp>
        <p:nvSpPr>
          <p:cNvPr id="270" name="TextBox 269"/>
          <p:cNvSpPr txBox="1"/>
          <p:nvPr/>
        </p:nvSpPr>
        <p:spPr>
          <a:xfrm>
            <a:off x="3244113" y="5023802"/>
            <a:ext cx="500491" cy="663387"/>
          </a:xfrm>
          <a:prstGeom prst="rect">
            <a:avLst/>
          </a:prstGeom>
          <a:noFill/>
        </p:spPr>
        <p:txBody>
          <a:bodyPr wrap="square" lIns="0" tIns="0" rIns="0" bIns="0" rtlCol="0">
            <a:spAutoFit/>
          </a:bodyPr>
          <a:lstStyle/>
          <a:p>
            <a:pPr defTabSz="914004"/>
            <a:r>
              <a:rPr lang="en-US" sz="4311" b="1" spc="-40" dirty="0">
                <a:solidFill>
                  <a:srgbClr val="00B050"/>
                </a:solidFill>
                <a:sym typeface="Wingdings 2" panose="05020102010507070707" pitchFamily="18" charset="2"/>
              </a:rPr>
              <a:t></a:t>
            </a:r>
            <a:endParaRPr lang="en-US" sz="4311" b="1" spc="-40" dirty="0">
              <a:solidFill>
                <a:srgbClr val="00B050"/>
              </a:solidFill>
            </a:endParaRPr>
          </a:p>
        </p:txBody>
      </p:sp>
      <p:cxnSp>
        <p:nvCxnSpPr>
          <p:cNvPr id="271" name="Straight Arrow Connector 270"/>
          <p:cNvCxnSpPr/>
          <p:nvPr/>
        </p:nvCxnSpPr>
        <p:spPr>
          <a:xfrm flipV="1">
            <a:off x="4969353" y="3653079"/>
            <a:ext cx="1019541" cy="1262265"/>
          </a:xfrm>
          <a:prstGeom prst="straightConnector1">
            <a:avLst/>
          </a:prstGeom>
          <a:noFill/>
          <a:ln w="25400" cap="rnd" cmpd="sng" algn="ctr">
            <a:solidFill>
              <a:srgbClr val="0070C0"/>
            </a:solidFill>
            <a:prstDash val="sysDot"/>
            <a:headEnd type="triangle"/>
            <a:tailEnd type="triangle"/>
          </a:ln>
          <a:effectLst/>
        </p:spPr>
      </p:cxnSp>
      <p:sp>
        <p:nvSpPr>
          <p:cNvPr id="272" name="TextBox 271"/>
          <p:cNvSpPr txBox="1"/>
          <p:nvPr/>
        </p:nvSpPr>
        <p:spPr>
          <a:xfrm>
            <a:off x="4598720" y="4977893"/>
            <a:ext cx="500491" cy="663387"/>
          </a:xfrm>
          <a:prstGeom prst="rect">
            <a:avLst/>
          </a:prstGeom>
          <a:noFill/>
        </p:spPr>
        <p:txBody>
          <a:bodyPr wrap="square" lIns="0" tIns="0" rIns="0" bIns="0" rtlCol="0">
            <a:spAutoFit/>
          </a:bodyPr>
          <a:lstStyle/>
          <a:p>
            <a:pPr defTabSz="914004"/>
            <a:r>
              <a:rPr lang="en-US" sz="4311" b="1" spc="-40" dirty="0">
                <a:solidFill>
                  <a:srgbClr val="00B050"/>
                </a:solidFill>
                <a:sym typeface="Wingdings 2" panose="05020102010507070707" pitchFamily="18" charset="2"/>
              </a:rPr>
              <a:t></a:t>
            </a:r>
            <a:endParaRPr lang="en-US" sz="4311" b="1" spc="-40" dirty="0">
              <a:solidFill>
                <a:srgbClr val="00B050"/>
              </a:solidFill>
            </a:endParaRPr>
          </a:p>
        </p:txBody>
      </p:sp>
      <p:sp>
        <p:nvSpPr>
          <p:cNvPr id="273" name="TextBox 272"/>
          <p:cNvSpPr txBox="1"/>
          <p:nvPr/>
        </p:nvSpPr>
        <p:spPr>
          <a:xfrm>
            <a:off x="6955315" y="1966044"/>
            <a:ext cx="500491" cy="663387"/>
          </a:xfrm>
          <a:prstGeom prst="rect">
            <a:avLst/>
          </a:prstGeom>
          <a:noFill/>
        </p:spPr>
        <p:txBody>
          <a:bodyPr wrap="square" lIns="0" tIns="0" rIns="0" bIns="0" rtlCol="0">
            <a:spAutoFit/>
          </a:bodyPr>
          <a:lstStyle/>
          <a:p>
            <a:pPr defTabSz="914004"/>
            <a:r>
              <a:rPr lang="en-US" sz="4311" b="1" spc="-40" dirty="0">
                <a:solidFill>
                  <a:srgbClr val="00B050"/>
                </a:solidFill>
                <a:sym typeface="Wingdings 2" panose="05020102010507070707" pitchFamily="18" charset="2"/>
              </a:rPr>
              <a:t></a:t>
            </a:r>
            <a:endParaRPr lang="en-US" sz="4311" b="1" spc="-40" dirty="0">
              <a:solidFill>
                <a:srgbClr val="00B050"/>
              </a:solidFill>
            </a:endParaRPr>
          </a:p>
        </p:txBody>
      </p:sp>
      <p:sp>
        <p:nvSpPr>
          <p:cNvPr id="274" name="Rectangle 273"/>
          <p:cNvSpPr/>
          <p:nvPr/>
        </p:nvSpPr>
        <p:spPr>
          <a:xfrm>
            <a:off x="8087094" y="1835353"/>
            <a:ext cx="3834606" cy="922814"/>
          </a:xfrm>
          <a:prstGeom prst="rect">
            <a:avLst/>
          </a:prstGeom>
        </p:spPr>
        <p:txBody>
          <a:bodyPr wrap="square">
            <a:spAutoFit/>
          </a:bodyPr>
          <a:lstStyle/>
          <a:p>
            <a:pPr defTabSz="913741" fontAlgn="base">
              <a:lnSpc>
                <a:spcPct val="90000"/>
              </a:lnSpc>
              <a:spcBef>
                <a:spcPct val="0"/>
              </a:spcBef>
              <a:spcAft>
                <a:spcPts val="600"/>
              </a:spcAft>
            </a:pPr>
            <a:r>
              <a:rPr lang="en-US" sz="1960" b="1" dirty="0">
                <a:solidFill>
                  <a:srgbClr val="008272"/>
                </a:solidFill>
              </a:rPr>
              <a:t>Cloud identity </a:t>
            </a:r>
            <a:r>
              <a:rPr lang="en-US" sz="1960" dirty="0">
                <a:solidFill>
                  <a:srgbClr val="969696">
                    <a:lumMod val="50000"/>
                  </a:srgbClr>
                </a:solidFill>
              </a:rPr>
              <a:t>provides a solution where all identity resides in the cloud</a:t>
            </a:r>
          </a:p>
        </p:txBody>
      </p:sp>
      <p:sp>
        <p:nvSpPr>
          <p:cNvPr id="278" name="Rectangle 277"/>
          <p:cNvSpPr/>
          <p:nvPr/>
        </p:nvSpPr>
        <p:spPr>
          <a:xfrm>
            <a:off x="8087094" y="3849951"/>
            <a:ext cx="3834606" cy="922814"/>
          </a:xfrm>
          <a:prstGeom prst="rect">
            <a:avLst/>
          </a:prstGeom>
        </p:spPr>
        <p:txBody>
          <a:bodyPr wrap="square">
            <a:spAutoFit/>
          </a:bodyPr>
          <a:lstStyle/>
          <a:p>
            <a:pPr defTabSz="913741" fontAlgn="base">
              <a:lnSpc>
                <a:spcPct val="90000"/>
              </a:lnSpc>
              <a:spcBef>
                <a:spcPct val="0"/>
              </a:spcBef>
              <a:spcAft>
                <a:spcPts val="600"/>
              </a:spcAft>
            </a:pPr>
            <a:r>
              <a:rPr lang="en-US" sz="1960" b="1" dirty="0">
                <a:solidFill>
                  <a:srgbClr val="008272"/>
                </a:solidFill>
              </a:rPr>
              <a:t>Federated identity </a:t>
            </a:r>
            <a:r>
              <a:rPr lang="en-US" sz="1960" dirty="0">
                <a:solidFill>
                  <a:srgbClr val="969696">
                    <a:lumMod val="50000"/>
                  </a:srgbClr>
                </a:solidFill>
              </a:rPr>
              <a:t>allows customers to retain all authentication on-premises</a:t>
            </a:r>
          </a:p>
        </p:txBody>
      </p:sp>
      <p:sp>
        <p:nvSpPr>
          <p:cNvPr id="279" name="Rectangle 278"/>
          <p:cNvSpPr/>
          <p:nvPr/>
        </p:nvSpPr>
        <p:spPr>
          <a:xfrm>
            <a:off x="8087094" y="2842651"/>
            <a:ext cx="3834606" cy="922814"/>
          </a:xfrm>
          <a:prstGeom prst="rect">
            <a:avLst/>
          </a:prstGeom>
        </p:spPr>
        <p:txBody>
          <a:bodyPr wrap="square">
            <a:spAutoFit/>
          </a:bodyPr>
          <a:lstStyle/>
          <a:p>
            <a:pPr defTabSz="913741" fontAlgn="base">
              <a:lnSpc>
                <a:spcPct val="90000"/>
              </a:lnSpc>
              <a:spcBef>
                <a:spcPct val="0"/>
              </a:spcBef>
              <a:spcAft>
                <a:spcPts val="600"/>
              </a:spcAft>
            </a:pPr>
            <a:r>
              <a:rPr lang="en-US" sz="1960" b="1" dirty="0">
                <a:solidFill>
                  <a:srgbClr val="008272"/>
                </a:solidFill>
              </a:rPr>
              <a:t>Identity sync </a:t>
            </a:r>
            <a:r>
              <a:rPr lang="en-US" sz="1960" dirty="0">
                <a:solidFill>
                  <a:srgbClr val="969696">
                    <a:lumMod val="50000"/>
                  </a:srgbClr>
                </a:solidFill>
              </a:rPr>
              <a:t>enables customers to bridge their existing identity into the cloud</a:t>
            </a:r>
          </a:p>
        </p:txBody>
      </p:sp>
      <p:sp>
        <p:nvSpPr>
          <p:cNvPr id="280" name="Rectangle 279"/>
          <p:cNvSpPr/>
          <p:nvPr/>
        </p:nvSpPr>
        <p:spPr>
          <a:xfrm>
            <a:off x="8087094" y="4857251"/>
            <a:ext cx="3834606" cy="922814"/>
          </a:xfrm>
          <a:prstGeom prst="rect">
            <a:avLst/>
          </a:prstGeom>
        </p:spPr>
        <p:txBody>
          <a:bodyPr wrap="square">
            <a:spAutoFit/>
          </a:bodyPr>
          <a:lstStyle/>
          <a:p>
            <a:pPr defTabSz="913741" fontAlgn="base">
              <a:lnSpc>
                <a:spcPct val="90000"/>
              </a:lnSpc>
              <a:spcBef>
                <a:spcPct val="0"/>
              </a:spcBef>
              <a:spcAft>
                <a:spcPts val="600"/>
              </a:spcAft>
            </a:pPr>
            <a:r>
              <a:rPr lang="en-US" sz="1960" b="1" dirty="0">
                <a:solidFill>
                  <a:srgbClr val="008272"/>
                </a:solidFill>
              </a:rPr>
              <a:t>B2B federated identity </a:t>
            </a:r>
            <a:r>
              <a:rPr lang="en-US" sz="1960" dirty="0">
                <a:solidFill>
                  <a:srgbClr val="969696">
                    <a:lumMod val="50000"/>
                  </a:srgbClr>
                </a:solidFill>
              </a:rPr>
              <a:t>allows customers to securely share and collaborate with each other</a:t>
            </a:r>
          </a:p>
        </p:txBody>
      </p:sp>
      <p:grpSp>
        <p:nvGrpSpPr>
          <p:cNvPr id="281" name="Group 280"/>
          <p:cNvGrpSpPr>
            <a:grpSpLocks noChangeAspect="1"/>
          </p:cNvGrpSpPr>
          <p:nvPr/>
        </p:nvGrpSpPr>
        <p:grpSpPr>
          <a:xfrm>
            <a:off x="4927930" y="5537325"/>
            <a:ext cx="1093732" cy="933289"/>
            <a:chOff x="8082529" y="4207477"/>
            <a:chExt cx="1623480" cy="1385327"/>
          </a:xfrm>
        </p:grpSpPr>
        <p:grpSp>
          <p:nvGrpSpPr>
            <p:cNvPr id="292" name="Group 35"/>
            <p:cNvGrpSpPr>
              <a:grpSpLocks noChangeAspect="1"/>
            </p:cNvGrpSpPr>
            <p:nvPr/>
          </p:nvGrpSpPr>
          <p:grpSpPr bwMode="auto">
            <a:xfrm>
              <a:off x="8799992" y="4686977"/>
              <a:ext cx="906017" cy="669501"/>
              <a:chOff x="5636" y="2898"/>
              <a:chExt cx="950" cy="702"/>
            </a:xfrm>
          </p:grpSpPr>
          <p:sp>
            <p:nvSpPr>
              <p:cNvPr id="294" name="Rectangle 36"/>
              <p:cNvSpPr>
                <a:spLocks noChangeArrowheads="1"/>
              </p:cNvSpPr>
              <p:nvPr/>
            </p:nvSpPr>
            <p:spPr bwMode="auto">
              <a:xfrm>
                <a:off x="5636" y="2898"/>
                <a:ext cx="950" cy="702"/>
              </a:xfrm>
              <a:prstGeom prst="rect">
                <a:avLst/>
              </a:prstGeom>
              <a:noFill/>
              <a:ln w="31750" cap="flat">
                <a:solidFill>
                  <a:srgbClr val="008272"/>
                </a:solidFill>
                <a:prstDash val="solid"/>
                <a:miter lim="800000"/>
                <a:headEnd/>
                <a:tailEnd/>
              </a:ln>
            </p:spPr>
            <p:txBody>
              <a:bodyPr vert="horz" wrap="square" lIns="89606" tIns="44804" rIns="89606" bIns="44804" numCol="1" anchor="t" anchorCtr="0" compatLnSpc="1">
                <a:prstTxWarp prst="textNoShape">
                  <a:avLst/>
                </a:prstTxWarp>
              </a:bodyPr>
              <a:lstStyle/>
              <a:p>
                <a:pPr defTabSz="896030">
                  <a:defRPr/>
                </a:pPr>
                <a:endParaRPr lang="en-GB" sz="1764" kern="0">
                  <a:solidFill>
                    <a:srgbClr val="505050"/>
                  </a:solidFill>
                </a:endParaRPr>
              </a:p>
            </p:txBody>
          </p:sp>
          <p:sp>
            <p:nvSpPr>
              <p:cNvPr id="295" name="Freeform 37"/>
              <p:cNvSpPr>
                <a:spLocks noEditPoints="1"/>
              </p:cNvSpPr>
              <p:nvPr/>
            </p:nvSpPr>
            <p:spPr bwMode="auto">
              <a:xfrm>
                <a:off x="5636" y="3010"/>
                <a:ext cx="950" cy="477"/>
              </a:xfrm>
              <a:custGeom>
                <a:avLst/>
                <a:gdLst>
                  <a:gd name="T0" fmla="*/ 0 w 950"/>
                  <a:gd name="T1" fmla="*/ 102 h 477"/>
                  <a:gd name="T2" fmla="*/ 950 w 950"/>
                  <a:gd name="T3" fmla="*/ 102 h 477"/>
                  <a:gd name="T4" fmla="*/ 950 w 950"/>
                  <a:gd name="T5" fmla="*/ 225 h 477"/>
                  <a:gd name="T6" fmla="*/ 0 w 950"/>
                  <a:gd name="T7" fmla="*/ 225 h 477"/>
                  <a:gd name="T8" fmla="*/ 0 w 950"/>
                  <a:gd name="T9" fmla="*/ 354 h 477"/>
                  <a:gd name="T10" fmla="*/ 950 w 950"/>
                  <a:gd name="T11" fmla="*/ 354 h 477"/>
                  <a:gd name="T12" fmla="*/ 0 w 950"/>
                  <a:gd name="T13" fmla="*/ 477 h 477"/>
                  <a:gd name="T14" fmla="*/ 950 w 950"/>
                  <a:gd name="T15" fmla="*/ 477 h 477"/>
                  <a:gd name="T16" fmla="*/ 0 w 950"/>
                  <a:gd name="T17" fmla="*/ 0 h 477"/>
                  <a:gd name="T18" fmla="*/ 950 w 950"/>
                  <a:gd name="T1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0" h="477">
                    <a:moveTo>
                      <a:pt x="0" y="102"/>
                    </a:moveTo>
                    <a:lnTo>
                      <a:pt x="950" y="102"/>
                    </a:lnTo>
                    <a:moveTo>
                      <a:pt x="950" y="225"/>
                    </a:moveTo>
                    <a:lnTo>
                      <a:pt x="0" y="225"/>
                    </a:lnTo>
                    <a:moveTo>
                      <a:pt x="0" y="354"/>
                    </a:moveTo>
                    <a:lnTo>
                      <a:pt x="950" y="354"/>
                    </a:lnTo>
                    <a:moveTo>
                      <a:pt x="0" y="477"/>
                    </a:moveTo>
                    <a:lnTo>
                      <a:pt x="950" y="477"/>
                    </a:lnTo>
                    <a:moveTo>
                      <a:pt x="0" y="0"/>
                    </a:moveTo>
                    <a:lnTo>
                      <a:pt x="950" y="0"/>
                    </a:lnTo>
                  </a:path>
                </a:pathLst>
              </a:custGeom>
              <a:noFill/>
              <a:ln w="22225"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896030">
                  <a:defRPr/>
                </a:pPr>
                <a:endParaRPr lang="en-GB" sz="1764" kern="0">
                  <a:solidFill>
                    <a:srgbClr val="505050"/>
                  </a:solidFill>
                </a:endParaRPr>
              </a:p>
            </p:txBody>
          </p:sp>
          <p:sp>
            <p:nvSpPr>
              <p:cNvPr id="296" name="Freeform 38"/>
              <p:cNvSpPr>
                <a:spLocks/>
              </p:cNvSpPr>
              <p:nvPr/>
            </p:nvSpPr>
            <p:spPr bwMode="auto">
              <a:xfrm>
                <a:off x="5645" y="2946"/>
                <a:ext cx="890" cy="606"/>
              </a:xfrm>
              <a:custGeom>
                <a:avLst/>
                <a:gdLst>
                  <a:gd name="T0" fmla="*/ 0 w 1777"/>
                  <a:gd name="T1" fmla="*/ 1150 h 1150"/>
                  <a:gd name="T2" fmla="*/ 195 w 1777"/>
                  <a:gd name="T3" fmla="*/ 1111 h 1150"/>
                  <a:gd name="T4" fmla="*/ 306 w 1777"/>
                  <a:gd name="T5" fmla="*/ 1088 h 1150"/>
                  <a:gd name="T6" fmla="*/ 367 w 1777"/>
                  <a:gd name="T7" fmla="*/ 1075 h 1150"/>
                  <a:gd name="T8" fmla="*/ 398 w 1777"/>
                  <a:gd name="T9" fmla="*/ 1068 h 1150"/>
                  <a:gd name="T10" fmla="*/ 405 w 1777"/>
                  <a:gd name="T11" fmla="*/ 1067 h 1150"/>
                  <a:gd name="T12" fmla="*/ 409 w 1777"/>
                  <a:gd name="T13" fmla="*/ 1066 h 1150"/>
                  <a:gd name="T14" fmla="*/ 411 w 1777"/>
                  <a:gd name="T15" fmla="*/ 1065 h 1150"/>
                  <a:gd name="T16" fmla="*/ 412 w 1777"/>
                  <a:gd name="T17" fmla="*/ 1063 h 1150"/>
                  <a:gd name="T18" fmla="*/ 420 w 1777"/>
                  <a:gd name="T19" fmla="*/ 1050 h 1150"/>
                  <a:gd name="T20" fmla="*/ 548 w 1777"/>
                  <a:gd name="T21" fmla="*/ 854 h 1150"/>
                  <a:gd name="T22" fmla="*/ 608 w 1777"/>
                  <a:gd name="T23" fmla="*/ 761 h 1150"/>
                  <a:gd name="T24" fmla="*/ 635 w 1777"/>
                  <a:gd name="T25" fmla="*/ 720 h 1150"/>
                  <a:gd name="T26" fmla="*/ 677 w 1777"/>
                  <a:gd name="T27" fmla="*/ 696 h 1150"/>
                  <a:gd name="T28" fmla="*/ 1021 w 1777"/>
                  <a:gd name="T29" fmla="*/ 653 h 1150"/>
                  <a:gd name="T30" fmla="*/ 1385 w 1777"/>
                  <a:gd name="T31" fmla="*/ 282 h 1150"/>
                  <a:gd name="T32" fmla="*/ 1394 w 1777"/>
                  <a:gd name="T33" fmla="*/ 277 h 1150"/>
                  <a:gd name="T34" fmla="*/ 1518 w 1777"/>
                  <a:gd name="T35" fmla="*/ 481 h 1150"/>
                  <a:gd name="T36" fmla="*/ 1777 w 1777"/>
                  <a:gd name="T37" fmla="*/ 0 h 1150"/>
                  <a:gd name="T38" fmla="*/ 1237 w 1777"/>
                  <a:gd name="T39" fmla="*/ 16 h 1150"/>
                  <a:gd name="T40" fmla="*/ 1360 w 1777"/>
                  <a:gd name="T41" fmla="*/ 220 h 1150"/>
                  <a:gd name="T42" fmla="*/ 1351 w 1777"/>
                  <a:gd name="T43" fmla="*/ 226 h 1150"/>
                  <a:gd name="T44" fmla="*/ 974 w 1777"/>
                  <a:gd name="T45" fmla="*/ 604 h 1150"/>
                  <a:gd name="T46" fmla="*/ 642 w 1777"/>
                  <a:gd name="T47" fmla="*/ 640 h 1150"/>
                  <a:gd name="T48" fmla="*/ 588 w 1777"/>
                  <a:gd name="T49" fmla="*/ 672 h 1150"/>
                  <a:gd name="T50" fmla="*/ 554 w 1777"/>
                  <a:gd name="T51" fmla="*/ 724 h 1150"/>
                  <a:gd name="T52" fmla="*/ 493 w 1777"/>
                  <a:gd name="T53" fmla="*/ 818 h 1150"/>
                  <a:gd name="T54" fmla="*/ 378 w 1777"/>
                  <a:gd name="T55" fmla="*/ 995 h 1150"/>
                  <a:gd name="T56" fmla="*/ 371 w 1777"/>
                  <a:gd name="T57" fmla="*/ 1005 h 1150"/>
                  <a:gd name="T58" fmla="*/ 369 w 1777"/>
                  <a:gd name="T59" fmla="*/ 1007 h 1150"/>
                  <a:gd name="T60" fmla="*/ 366 w 1777"/>
                  <a:gd name="T61" fmla="*/ 1008 h 1150"/>
                  <a:gd name="T62" fmla="*/ 360 w 1777"/>
                  <a:gd name="T63" fmla="*/ 1009 h 1150"/>
                  <a:gd name="T64" fmla="*/ 336 w 1777"/>
                  <a:gd name="T65" fmla="*/ 1014 h 1150"/>
                  <a:gd name="T66" fmla="*/ 288 w 1777"/>
                  <a:gd name="T67" fmla="*/ 1024 h 1150"/>
                  <a:gd name="T68" fmla="*/ 182 w 1777"/>
                  <a:gd name="T69" fmla="*/ 1046 h 1150"/>
                  <a:gd name="T70" fmla="*/ 1 w 1777"/>
                  <a:gd name="T71" fmla="*/ 108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77" h="1150">
                    <a:moveTo>
                      <a:pt x="0" y="1150"/>
                    </a:moveTo>
                    <a:cubicBezTo>
                      <a:pt x="195" y="1111"/>
                      <a:pt x="195" y="1111"/>
                      <a:pt x="195" y="1111"/>
                    </a:cubicBezTo>
                    <a:cubicBezTo>
                      <a:pt x="306" y="1088"/>
                      <a:pt x="306" y="1088"/>
                      <a:pt x="306" y="1088"/>
                    </a:cubicBezTo>
                    <a:cubicBezTo>
                      <a:pt x="367" y="1075"/>
                      <a:pt x="367" y="1075"/>
                      <a:pt x="367" y="1075"/>
                    </a:cubicBezTo>
                    <a:cubicBezTo>
                      <a:pt x="398" y="1068"/>
                      <a:pt x="398" y="1068"/>
                      <a:pt x="398" y="1068"/>
                    </a:cubicBezTo>
                    <a:cubicBezTo>
                      <a:pt x="405" y="1067"/>
                      <a:pt x="405" y="1067"/>
                      <a:pt x="405" y="1067"/>
                    </a:cubicBezTo>
                    <a:cubicBezTo>
                      <a:pt x="409" y="1066"/>
                      <a:pt x="409" y="1066"/>
                      <a:pt x="409" y="1066"/>
                    </a:cubicBezTo>
                    <a:cubicBezTo>
                      <a:pt x="410" y="1066"/>
                      <a:pt x="410" y="1066"/>
                      <a:pt x="411" y="1065"/>
                    </a:cubicBezTo>
                    <a:cubicBezTo>
                      <a:pt x="412" y="1063"/>
                      <a:pt x="412" y="1063"/>
                      <a:pt x="412" y="1063"/>
                    </a:cubicBezTo>
                    <a:cubicBezTo>
                      <a:pt x="420" y="1050"/>
                      <a:pt x="420" y="1050"/>
                      <a:pt x="420" y="1050"/>
                    </a:cubicBezTo>
                    <a:cubicBezTo>
                      <a:pt x="548" y="854"/>
                      <a:pt x="548" y="854"/>
                      <a:pt x="548" y="854"/>
                    </a:cubicBezTo>
                    <a:cubicBezTo>
                      <a:pt x="608" y="761"/>
                      <a:pt x="608" y="761"/>
                      <a:pt x="608" y="761"/>
                    </a:cubicBezTo>
                    <a:cubicBezTo>
                      <a:pt x="617" y="748"/>
                      <a:pt x="625" y="734"/>
                      <a:pt x="635" y="720"/>
                    </a:cubicBezTo>
                    <a:cubicBezTo>
                      <a:pt x="677" y="696"/>
                      <a:pt x="677" y="696"/>
                      <a:pt x="677" y="696"/>
                    </a:cubicBezTo>
                    <a:cubicBezTo>
                      <a:pt x="1021" y="653"/>
                      <a:pt x="1021" y="653"/>
                      <a:pt x="1021" y="653"/>
                    </a:cubicBezTo>
                    <a:cubicBezTo>
                      <a:pt x="1385" y="282"/>
                      <a:pt x="1385" y="282"/>
                      <a:pt x="1385" y="282"/>
                    </a:cubicBezTo>
                    <a:cubicBezTo>
                      <a:pt x="1394" y="277"/>
                      <a:pt x="1394" y="277"/>
                      <a:pt x="1394" y="277"/>
                    </a:cubicBezTo>
                    <a:cubicBezTo>
                      <a:pt x="1518" y="481"/>
                      <a:pt x="1518" y="481"/>
                      <a:pt x="1518" y="481"/>
                    </a:cubicBezTo>
                    <a:cubicBezTo>
                      <a:pt x="1605" y="320"/>
                      <a:pt x="1692" y="160"/>
                      <a:pt x="1777" y="0"/>
                    </a:cubicBezTo>
                    <a:cubicBezTo>
                      <a:pt x="1596" y="6"/>
                      <a:pt x="1416" y="11"/>
                      <a:pt x="1237" y="16"/>
                    </a:cubicBezTo>
                    <a:cubicBezTo>
                      <a:pt x="1360" y="220"/>
                      <a:pt x="1360" y="220"/>
                      <a:pt x="1360" y="220"/>
                    </a:cubicBezTo>
                    <a:cubicBezTo>
                      <a:pt x="1351" y="226"/>
                      <a:pt x="1351" y="226"/>
                      <a:pt x="1351" y="226"/>
                    </a:cubicBezTo>
                    <a:cubicBezTo>
                      <a:pt x="974" y="604"/>
                      <a:pt x="974" y="604"/>
                      <a:pt x="974" y="604"/>
                    </a:cubicBezTo>
                    <a:cubicBezTo>
                      <a:pt x="642" y="640"/>
                      <a:pt x="642" y="640"/>
                      <a:pt x="642" y="640"/>
                    </a:cubicBezTo>
                    <a:cubicBezTo>
                      <a:pt x="588" y="672"/>
                      <a:pt x="588" y="672"/>
                      <a:pt x="588" y="672"/>
                    </a:cubicBezTo>
                    <a:cubicBezTo>
                      <a:pt x="576" y="689"/>
                      <a:pt x="565" y="706"/>
                      <a:pt x="554" y="724"/>
                    </a:cubicBezTo>
                    <a:cubicBezTo>
                      <a:pt x="493" y="818"/>
                      <a:pt x="493" y="818"/>
                      <a:pt x="493" y="818"/>
                    </a:cubicBezTo>
                    <a:cubicBezTo>
                      <a:pt x="378" y="995"/>
                      <a:pt x="378" y="995"/>
                      <a:pt x="378" y="995"/>
                    </a:cubicBezTo>
                    <a:cubicBezTo>
                      <a:pt x="371" y="1005"/>
                      <a:pt x="371" y="1005"/>
                      <a:pt x="371" y="1005"/>
                    </a:cubicBezTo>
                    <a:cubicBezTo>
                      <a:pt x="371" y="1006"/>
                      <a:pt x="370" y="1007"/>
                      <a:pt x="369" y="1007"/>
                    </a:cubicBezTo>
                    <a:cubicBezTo>
                      <a:pt x="366" y="1008"/>
                      <a:pt x="366" y="1008"/>
                      <a:pt x="366" y="1008"/>
                    </a:cubicBezTo>
                    <a:cubicBezTo>
                      <a:pt x="360" y="1009"/>
                      <a:pt x="360" y="1009"/>
                      <a:pt x="360" y="1009"/>
                    </a:cubicBezTo>
                    <a:cubicBezTo>
                      <a:pt x="336" y="1014"/>
                      <a:pt x="336" y="1014"/>
                      <a:pt x="336" y="1014"/>
                    </a:cubicBezTo>
                    <a:cubicBezTo>
                      <a:pt x="288" y="1024"/>
                      <a:pt x="288" y="1024"/>
                      <a:pt x="288" y="1024"/>
                    </a:cubicBezTo>
                    <a:cubicBezTo>
                      <a:pt x="182" y="1046"/>
                      <a:pt x="182" y="1046"/>
                      <a:pt x="182" y="1046"/>
                    </a:cubicBezTo>
                    <a:cubicBezTo>
                      <a:pt x="1" y="1085"/>
                      <a:pt x="1" y="1085"/>
                      <a:pt x="1" y="1085"/>
                    </a:cubicBezTo>
                  </a:path>
                </a:pathLst>
              </a:custGeom>
              <a:solidFill>
                <a:srgbClr val="008272"/>
              </a:solidFill>
              <a:ln w="19050" cap="flat">
                <a:solidFill>
                  <a:srgbClr val="008272"/>
                </a:solidFill>
                <a:prstDash val="solid"/>
                <a:miter lim="800000"/>
                <a:headEnd/>
                <a:tailEnd/>
              </a:ln>
            </p:spPr>
            <p:txBody>
              <a:bodyPr vert="horz" wrap="square" lIns="89606" tIns="44804" rIns="89606" bIns="44804" numCol="1" anchor="t" anchorCtr="0" compatLnSpc="1">
                <a:prstTxWarp prst="textNoShape">
                  <a:avLst/>
                </a:prstTxWarp>
              </a:bodyPr>
              <a:lstStyle/>
              <a:p>
                <a:pPr defTabSz="896030">
                  <a:defRPr/>
                </a:pPr>
                <a:endParaRPr lang="en-GB" sz="1764" kern="0">
                  <a:solidFill>
                    <a:srgbClr val="505050"/>
                  </a:solidFill>
                </a:endParaRPr>
              </a:p>
            </p:txBody>
          </p:sp>
        </p:grpSp>
        <p:grpSp>
          <p:nvGrpSpPr>
            <p:cNvPr id="288" name="Group 1549"/>
            <p:cNvGrpSpPr>
              <a:grpSpLocks noChangeAspect="1"/>
            </p:cNvGrpSpPr>
            <p:nvPr/>
          </p:nvGrpSpPr>
          <p:grpSpPr bwMode="auto">
            <a:xfrm>
              <a:off x="8082529" y="4770332"/>
              <a:ext cx="586748" cy="822472"/>
              <a:chOff x="5909" y="2498"/>
              <a:chExt cx="687" cy="963"/>
            </a:xfrm>
          </p:grpSpPr>
          <p:sp>
            <p:nvSpPr>
              <p:cNvPr id="290" name="Freeform 1550"/>
              <p:cNvSpPr>
                <a:spLocks noEditPoints="1"/>
              </p:cNvSpPr>
              <p:nvPr/>
            </p:nvSpPr>
            <p:spPr bwMode="auto">
              <a:xfrm>
                <a:off x="6109" y="2498"/>
                <a:ext cx="487" cy="963"/>
              </a:xfrm>
              <a:custGeom>
                <a:avLst/>
                <a:gdLst>
                  <a:gd name="T0" fmla="*/ 27 w 244"/>
                  <a:gd name="T1" fmla="*/ 417 h 483"/>
                  <a:gd name="T2" fmla="*/ 27 w 244"/>
                  <a:gd name="T3" fmla="*/ 434 h 483"/>
                  <a:gd name="T4" fmla="*/ 217 w 244"/>
                  <a:gd name="T5" fmla="*/ 434 h 483"/>
                  <a:gd name="T6" fmla="*/ 217 w 244"/>
                  <a:gd name="T7" fmla="*/ 417 h 483"/>
                  <a:gd name="T8" fmla="*/ 27 w 244"/>
                  <a:gd name="T9" fmla="*/ 417 h 483"/>
                  <a:gd name="T10" fmla="*/ 27 w 244"/>
                  <a:gd name="T11" fmla="*/ 380 h 483"/>
                  <a:gd name="T12" fmla="*/ 27 w 244"/>
                  <a:gd name="T13" fmla="*/ 397 h 483"/>
                  <a:gd name="T14" fmla="*/ 65 w 244"/>
                  <a:gd name="T15" fmla="*/ 397 h 483"/>
                  <a:gd name="T16" fmla="*/ 65 w 244"/>
                  <a:gd name="T17" fmla="*/ 380 h 483"/>
                  <a:gd name="T18" fmla="*/ 27 w 244"/>
                  <a:gd name="T19" fmla="*/ 380 h 483"/>
                  <a:gd name="T20" fmla="*/ 27 w 244"/>
                  <a:gd name="T21" fmla="*/ 343 h 483"/>
                  <a:gd name="T22" fmla="*/ 27 w 244"/>
                  <a:gd name="T23" fmla="*/ 359 h 483"/>
                  <a:gd name="T24" fmla="*/ 65 w 244"/>
                  <a:gd name="T25" fmla="*/ 359 h 483"/>
                  <a:gd name="T26" fmla="*/ 65 w 244"/>
                  <a:gd name="T27" fmla="*/ 343 h 483"/>
                  <a:gd name="T28" fmla="*/ 27 w 244"/>
                  <a:gd name="T29" fmla="*/ 343 h 483"/>
                  <a:gd name="T30" fmla="*/ 27 w 244"/>
                  <a:gd name="T31" fmla="*/ 90 h 483"/>
                  <a:gd name="T32" fmla="*/ 27 w 244"/>
                  <a:gd name="T33" fmla="*/ 115 h 483"/>
                  <a:gd name="T34" fmla="*/ 217 w 244"/>
                  <a:gd name="T35" fmla="*/ 115 h 483"/>
                  <a:gd name="T36" fmla="*/ 217 w 244"/>
                  <a:gd name="T37" fmla="*/ 90 h 483"/>
                  <a:gd name="T38" fmla="*/ 27 w 244"/>
                  <a:gd name="T39" fmla="*/ 90 h 483"/>
                  <a:gd name="T40" fmla="*/ 27 w 244"/>
                  <a:gd name="T41" fmla="*/ 50 h 483"/>
                  <a:gd name="T42" fmla="*/ 27 w 244"/>
                  <a:gd name="T43" fmla="*/ 67 h 483"/>
                  <a:gd name="T44" fmla="*/ 217 w 244"/>
                  <a:gd name="T45" fmla="*/ 67 h 483"/>
                  <a:gd name="T46" fmla="*/ 217 w 244"/>
                  <a:gd name="T47" fmla="*/ 50 h 483"/>
                  <a:gd name="T48" fmla="*/ 27 w 244"/>
                  <a:gd name="T49" fmla="*/ 50 h 483"/>
                  <a:gd name="T50" fmla="*/ 32 w 244"/>
                  <a:gd name="T51" fmla="*/ 0 h 483"/>
                  <a:gd name="T52" fmla="*/ 212 w 244"/>
                  <a:gd name="T53" fmla="*/ 0 h 483"/>
                  <a:gd name="T54" fmla="*/ 244 w 244"/>
                  <a:gd name="T55" fmla="*/ 29 h 483"/>
                  <a:gd name="T56" fmla="*/ 244 w 244"/>
                  <a:gd name="T57" fmla="*/ 454 h 483"/>
                  <a:gd name="T58" fmla="*/ 212 w 244"/>
                  <a:gd name="T59" fmla="*/ 483 h 483"/>
                  <a:gd name="T60" fmla="*/ 32 w 244"/>
                  <a:gd name="T61" fmla="*/ 483 h 483"/>
                  <a:gd name="T62" fmla="*/ 0 w 244"/>
                  <a:gd name="T63" fmla="*/ 454 h 483"/>
                  <a:gd name="T64" fmla="*/ 0 w 244"/>
                  <a:gd name="T65" fmla="*/ 29 h 483"/>
                  <a:gd name="T66" fmla="*/ 32 w 244"/>
                  <a:gd name="T6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4" h="483">
                    <a:moveTo>
                      <a:pt x="27" y="417"/>
                    </a:moveTo>
                    <a:cubicBezTo>
                      <a:pt x="27" y="434"/>
                      <a:pt x="27" y="434"/>
                      <a:pt x="27" y="434"/>
                    </a:cubicBezTo>
                    <a:cubicBezTo>
                      <a:pt x="217" y="434"/>
                      <a:pt x="217" y="434"/>
                      <a:pt x="217" y="434"/>
                    </a:cubicBezTo>
                    <a:cubicBezTo>
                      <a:pt x="217" y="417"/>
                      <a:pt x="217" y="417"/>
                      <a:pt x="217" y="417"/>
                    </a:cubicBezTo>
                    <a:cubicBezTo>
                      <a:pt x="27" y="417"/>
                      <a:pt x="27" y="417"/>
                      <a:pt x="27" y="417"/>
                    </a:cubicBezTo>
                    <a:close/>
                    <a:moveTo>
                      <a:pt x="27" y="380"/>
                    </a:moveTo>
                    <a:cubicBezTo>
                      <a:pt x="27" y="397"/>
                      <a:pt x="27" y="397"/>
                      <a:pt x="27" y="397"/>
                    </a:cubicBezTo>
                    <a:cubicBezTo>
                      <a:pt x="65" y="397"/>
                      <a:pt x="65" y="397"/>
                      <a:pt x="65" y="397"/>
                    </a:cubicBezTo>
                    <a:cubicBezTo>
                      <a:pt x="65" y="380"/>
                      <a:pt x="65" y="380"/>
                      <a:pt x="65" y="380"/>
                    </a:cubicBezTo>
                    <a:cubicBezTo>
                      <a:pt x="27" y="380"/>
                      <a:pt x="27" y="380"/>
                      <a:pt x="27" y="380"/>
                    </a:cubicBezTo>
                    <a:close/>
                    <a:moveTo>
                      <a:pt x="27" y="343"/>
                    </a:moveTo>
                    <a:cubicBezTo>
                      <a:pt x="27" y="359"/>
                      <a:pt x="27" y="359"/>
                      <a:pt x="27" y="359"/>
                    </a:cubicBezTo>
                    <a:cubicBezTo>
                      <a:pt x="65" y="359"/>
                      <a:pt x="65" y="359"/>
                      <a:pt x="65" y="359"/>
                    </a:cubicBezTo>
                    <a:cubicBezTo>
                      <a:pt x="65" y="343"/>
                      <a:pt x="65" y="343"/>
                      <a:pt x="65" y="343"/>
                    </a:cubicBezTo>
                    <a:cubicBezTo>
                      <a:pt x="27" y="343"/>
                      <a:pt x="27" y="343"/>
                      <a:pt x="27" y="343"/>
                    </a:cubicBezTo>
                    <a:close/>
                    <a:moveTo>
                      <a:pt x="27" y="90"/>
                    </a:moveTo>
                    <a:cubicBezTo>
                      <a:pt x="27" y="115"/>
                      <a:pt x="27" y="115"/>
                      <a:pt x="27" y="115"/>
                    </a:cubicBezTo>
                    <a:cubicBezTo>
                      <a:pt x="217" y="115"/>
                      <a:pt x="217" y="115"/>
                      <a:pt x="217" y="115"/>
                    </a:cubicBezTo>
                    <a:cubicBezTo>
                      <a:pt x="217" y="90"/>
                      <a:pt x="217" y="90"/>
                      <a:pt x="217" y="90"/>
                    </a:cubicBezTo>
                    <a:cubicBezTo>
                      <a:pt x="27" y="90"/>
                      <a:pt x="27" y="90"/>
                      <a:pt x="27" y="90"/>
                    </a:cubicBezTo>
                    <a:close/>
                    <a:moveTo>
                      <a:pt x="27" y="50"/>
                    </a:moveTo>
                    <a:cubicBezTo>
                      <a:pt x="27" y="67"/>
                      <a:pt x="27" y="67"/>
                      <a:pt x="27" y="67"/>
                    </a:cubicBezTo>
                    <a:cubicBezTo>
                      <a:pt x="217" y="67"/>
                      <a:pt x="217" y="67"/>
                      <a:pt x="217" y="67"/>
                    </a:cubicBezTo>
                    <a:cubicBezTo>
                      <a:pt x="217" y="50"/>
                      <a:pt x="217" y="50"/>
                      <a:pt x="217" y="50"/>
                    </a:cubicBezTo>
                    <a:cubicBezTo>
                      <a:pt x="27" y="50"/>
                      <a:pt x="27" y="50"/>
                      <a:pt x="27" y="50"/>
                    </a:cubicBezTo>
                    <a:close/>
                    <a:moveTo>
                      <a:pt x="32" y="0"/>
                    </a:moveTo>
                    <a:cubicBezTo>
                      <a:pt x="212" y="0"/>
                      <a:pt x="212" y="0"/>
                      <a:pt x="212" y="0"/>
                    </a:cubicBezTo>
                    <a:cubicBezTo>
                      <a:pt x="230" y="0"/>
                      <a:pt x="244" y="13"/>
                      <a:pt x="244" y="29"/>
                    </a:cubicBezTo>
                    <a:cubicBezTo>
                      <a:pt x="244" y="454"/>
                      <a:pt x="244" y="454"/>
                      <a:pt x="244" y="454"/>
                    </a:cubicBezTo>
                    <a:cubicBezTo>
                      <a:pt x="244" y="470"/>
                      <a:pt x="230" y="483"/>
                      <a:pt x="212" y="483"/>
                    </a:cubicBezTo>
                    <a:cubicBezTo>
                      <a:pt x="32" y="483"/>
                      <a:pt x="32" y="483"/>
                      <a:pt x="32" y="483"/>
                    </a:cubicBezTo>
                    <a:cubicBezTo>
                      <a:pt x="14" y="483"/>
                      <a:pt x="0" y="470"/>
                      <a:pt x="0" y="454"/>
                    </a:cubicBezTo>
                    <a:cubicBezTo>
                      <a:pt x="0" y="29"/>
                      <a:pt x="0" y="29"/>
                      <a:pt x="0" y="29"/>
                    </a:cubicBezTo>
                    <a:cubicBezTo>
                      <a:pt x="0" y="13"/>
                      <a:pt x="14" y="0"/>
                      <a:pt x="32" y="0"/>
                    </a:cubicBezTo>
                    <a:close/>
                  </a:path>
                </a:pathLst>
              </a:custGeom>
              <a:solidFill>
                <a:srgbClr val="FFFFFF"/>
              </a:solidFill>
              <a:ln w="22225" cap="flat">
                <a:solidFill>
                  <a:srgbClr val="008272"/>
                </a:solidFill>
                <a:prstDash val="solid"/>
                <a:miter lim="800000"/>
                <a:headEnd/>
                <a:tailEnd/>
              </a:ln>
            </p:spPr>
            <p:txBody>
              <a:bodyPr vert="horz" wrap="square" lIns="89606" tIns="44804" rIns="89606" bIns="44804" numCol="1" anchor="t" anchorCtr="0" compatLnSpc="1">
                <a:prstTxWarp prst="textNoShape">
                  <a:avLst/>
                </a:prstTxWarp>
              </a:bodyPr>
              <a:lstStyle/>
              <a:p>
                <a:pPr defTabSz="896030">
                  <a:defRPr/>
                </a:pPr>
                <a:endParaRPr lang="en-GB" sz="1764" kern="0">
                  <a:solidFill>
                    <a:srgbClr val="505050"/>
                  </a:solidFill>
                </a:endParaRPr>
              </a:p>
            </p:txBody>
          </p:sp>
          <p:sp>
            <p:nvSpPr>
              <p:cNvPr id="291" name="Freeform 1551"/>
              <p:cNvSpPr>
                <a:spLocks noEditPoints="1"/>
              </p:cNvSpPr>
              <p:nvPr/>
            </p:nvSpPr>
            <p:spPr bwMode="auto">
              <a:xfrm>
                <a:off x="5909" y="2699"/>
                <a:ext cx="565" cy="481"/>
              </a:xfrm>
              <a:custGeom>
                <a:avLst/>
                <a:gdLst>
                  <a:gd name="T0" fmla="*/ 11 w 283"/>
                  <a:gd name="T1" fmla="*/ 238 h 241"/>
                  <a:gd name="T2" fmla="*/ 11 w 283"/>
                  <a:gd name="T3" fmla="*/ 241 h 241"/>
                  <a:gd name="T4" fmla="*/ 0 w 283"/>
                  <a:gd name="T5" fmla="*/ 226 h 241"/>
                  <a:gd name="T6" fmla="*/ 0 w 283"/>
                  <a:gd name="T7" fmla="*/ 47 h 241"/>
                  <a:gd name="T8" fmla="*/ 13 w 283"/>
                  <a:gd name="T9" fmla="*/ 32 h 241"/>
                  <a:gd name="T10" fmla="*/ 127 w 283"/>
                  <a:gd name="T11" fmla="*/ 32 h 241"/>
                  <a:gd name="T12" fmla="*/ 140 w 283"/>
                  <a:gd name="T13" fmla="*/ 18 h 241"/>
                  <a:gd name="T14" fmla="*/ 140 w 283"/>
                  <a:gd name="T15" fmla="*/ 15 h 241"/>
                  <a:gd name="T16" fmla="*/ 152 w 283"/>
                  <a:gd name="T17" fmla="*/ 0 h 241"/>
                  <a:gd name="T18" fmla="*/ 256 w 283"/>
                  <a:gd name="T19" fmla="*/ 0 h 241"/>
                  <a:gd name="T20" fmla="*/ 268 w 283"/>
                  <a:gd name="T21" fmla="*/ 15 h 241"/>
                  <a:gd name="T22" fmla="*/ 268 w 283"/>
                  <a:gd name="T23" fmla="*/ 18 h 241"/>
                  <a:gd name="T24" fmla="*/ 275 w 283"/>
                  <a:gd name="T25" fmla="*/ 32 h 241"/>
                  <a:gd name="T26" fmla="*/ 282 w 283"/>
                  <a:gd name="T27" fmla="*/ 47 h 241"/>
                  <a:gd name="T28" fmla="*/ 282 w 283"/>
                  <a:gd name="T29" fmla="*/ 69 h 241"/>
                  <a:gd name="T30" fmla="*/ 34 w 283"/>
                  <a:gd name="T31" fmla="*/ 49 h 241"/>
                  <a:gd name="T32" fmla="*/ 21 w 283"/>
                  <a:gd name="T33" fmla="*/ 59 h 241"/>
                  <a:gd name="T34" fmla="*/ 11 w 283"/>
                  <a:gd name="T35" fmla="*/ 238 h 241"/>
                  <a:gd name="T36" fmla="*/ 265 w 283"/>
                  <a:gd name="T37" fmla="*/ 241 h 241"/>
                  <a:gd name="T38" fmla="*/ 274 w 283"/>
                  <a:gd name="T39" fmla="*/ 230 h 241"/>
                  <a:gd name="T40" fmla="*/ 274 w 283"/>
                  <a:gd name="T41" fmla="*/ 230 h 241"/>
                  <a:gd name="T42" fmla="*/ 274 w 283"/>
                  <a:gd name="T43" fmla="*/ 230 h 241"/>
                  <a:gd name="T44" fmla="*/ 282 w 283"/>
                  <a:gd name="T45" fmla="*/ 79 h 241"/>
                  <a:gd name="T46" fmla="*/ 277 w 283"/>
                  <a:gd name="T47" fmla="*/ 68 h 241"/>
                  <a:gd name="T48" fmla="*/ 29 w 283"/>
                  <a:gd name="T49" fmla="*/ 47 h 241"/>
                  <a:gd name="T50" fmla="*/ 28 w 283"/>
                  <a:gd name="T51" fmla="*/ 47 h 241"/>
                  <a:gd name="T52" fmla="*/ 19 w 283"/>
                  <a:gd name="T53" fmla="*/ 58 h 241"/>
                  <a:gd name="T54" fmla="*/ 9 w 283"/>
                  <a:gd name="T55" fmla="*/ 241 h 241"/>
                  <a:gd name="T56" fmla="*/ 265 w 283"/>
                  <a:gd name="T57"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3" h="241">
                    <a:moveTo>
                      <a:pt x="11" y="238"/>
                    </a:moveTo>
                    <a:cubicBezTo>
                      <a:pt x="11" y="239"/>
                      <a:pt x="11" y="240"/>
                      <a:pt x="11" y="241"/>
                    </a:cubicBezTo>
                    <a:cubicBezTo>
                      <a:pt x="5" y="240"/>
                      <a:pt x="0" y="234"/>
                      <a:pt x="0" y="226"/>
                    </a:cubicBezTo>
                    <a:cubicBezTo>
                      <a:pt x="0" y="47"/>
                      <a:pt x="0" y="227"/>
                      <a:pt x="0" y="47"/>
                    </a:cubicBezTo>
                    <a:cubicBezTo>
                      <a:pt x="0" y="39"/>
                      <a:pt x="6" y="32"/>
                      <a:pt x="13" y="32"/>
                    </a:cubicBezTo>
                    <a:cubicBezTo>
                      <a:pt x="13" y="32"/>
                      <a:pt x="13" y="32"/>
                      <a:pt x="127" y="32"/>
                    </a:cubicBezTo>
                    <a:cubicBezTo>
                      <a:pt x="134" y="32"/>
                      <a:pt x="140" y="26"/>
                      <a:pt x="140" y="18"/>
                    </a:cubicBezTo>
                    <a:cubicBezTo>
                      <a:pt x="140" y="18"/>
                      <a:pt x="140" y="18"/>
                      <a:pt x="140" y="15"/>
                    </a:cubicBezTo>
                    <a:cubicBezTo>
                      <a:pt x="140" y="7"/>
                      <a:pt x="145" y="0"/>
                      <a:pt x="152" y="0"/>
                    </a:cubicBezTo>
                    <a:cubicBezTo>
                      <a:pt x="152" y="0"/>
                      <a:pt x="152" y="0"/>
                      <a:pt x="256" y="0"/>
                    </a:cubicBezTo>
                    <a:cubicBezTo>
                      <a:pt x="263" y="0"/>
                      <a:pt x="268" y="7"/>
                      <a:pt x="268" y="15"/>
                    </a:cubicBezTo>
                    <a:cubicBezTo>
                      <a:pt x="268" y="15"/>
                      <a:pt x="268" y="15"/>
                      <a:pt x="268" y="18"/>
                    </a:cubicBezTo>
                    <a:cubicBezTo>
                      <a:pt x="268" y="26"/>
                      <a:pt x="271" y="32"/>
                      <a:pt x="275" y="32"/>
                    </a:cubicBezTo>
                    <a:cubicBezTo>
                      <a:pt x="279" y="32"/>
                      <a:pt x="282" y="39"/>
                      <a:pt x="282" y="47"/>
                    </a:cubicBezTo>
                    <a:cubicBezTo>
                      <a:pt x="282" y="47"/>
                      <a:pt x="282" y="51"/>
                      <a:pt x="282" y="69"/>
                    </a:cubicBezTo>
                    <a:cubicBezTo>
                      <a:pt x="282" y="69"/>
                      <a:pt x="282" y="69"/>
                      <a:pt x="34" y="49"/>
                    </a:cubicBezTo>
                    <a:cubicBezTo>
                      <a:pt x="28" y="48"/>
                      <a:pt x="22" y="51"/>
                      <a:pt x="21" y="59"/>
                    </a:cubicBezTo>
                    <a:cubicBezTo>
                      <a:pt x="21" y="59"/>
                      <a:pt x="21" y="59"/>
                      <a:pt x="11" y="238"/>
                    </a:cubicBezTo>
                    <a:close/>
                    <a:moveTo>
                      <a:pt x="265" y="241"/>
                    </a:moveTo>
                    <a:cubicBezTo>
                      <a:pt x="270" y="241"/>
                      <a:pt x="274" y="236"/>
                      <a:pt x="274" y="230"/>
                    </a:cubicBezTo>
                    <a:cubicBezTo>
                      <a:pt x="274" y="230"/>
                      <a:pt x="274" y="230"/>
                      <a:pt x="274" y="230"/>
                    </a:cubicBezTo>
                    <a:cubicBezTo>
                      <a:pt x="274" y="230"/>
                      <a:pt x="274" y="230"/>
                      <a:pt x="274" y="230"/>
                    </a:cubicBezTo>
                    <a:cubicBezTo>
                      <a:pt x="274" y="230"/>
                      <a:pt x="274" y="230"/>
                      <a:pt x="282" y="79"/>
                    </a:cubicBezTo>
                    <a:cubicBezTo>
                      <a:pt x="283" y="74"/>
                      <a:pt x="280" y="70"/>
                      <a:pt x="277" y="68"/>
                    </a:cubicBezTo>
                    <a:cubicBezTo>
                      <a:pt x="277" y="68"/>
                      <a:pt x="277" y="68"/>
                      <a:pt x="29" y="47"/>
                    </a:cubicBezTo>
                    <a:cubicBezTo>
                      <a:pt x="29" y="47"/>
                      <a:pt x="28" y="47"/>
                      <a:pt x="28" y="47"/>
                    </a:cubicBezTo>
                    <a:cubicBezTo>
                      <a:pt x="24" y="47"/>
                      <a:pt x="19" y="52"/>
                      <a:pt x="19" y="58"/>
                    </a:cubicBezTo>
                    <a:cubicBezTo>
                      <a:pt x="19" y="58"/>
                      <a:pt x="19" y="58"/>
                      <a:pt x="9" y="241"/>
                    </a:cubicBezTo>
                    <a:cubicBezTo>
                      <a:pt x="9" y="241"/>
                      <a:pt x="9" y="241"/>
                      <a:pt x="265" y="241"/>
                    </a:cubicBezTo>
                    <a:close/>
                  </a:path>
                </a:pathLst>
              </a:custGeom>
              <a:solidFill>
                <a:srgbClr val="008272"/>
              </a:solidFill>
              <a:ln w="12700" cap="flat">
                <a:solidFill>
                  <a:srgbClr val="FFFFFF"/>
                </a:solidFill>
                <a:prstDash val="solid"/>
                <a:miter lim="800000"/>
                <a:headEnd/>
                <a:tailEnd/>
              </a:ln>
            </p:spPr>
            <p:txBody>
              <a:bodyPr vert="horz" wrap="square" lIns="89606" tIns="44804" rIns="89606" bIns="44804" numCol="1" anchor="t" anchorCtr="0" compatLnSpc="1">
                <a:prstTxWarp prst="textNoShape">
                  <a:avLst/>
                </a:prstTxWarp>
              </a:bodyPr>
              <a:lstStyle/>
              <a:p>
                <a:pPr defTabSz="896030">
                  <a:defRPr/>
                </a:pPr>
                <a:endParaRPr lang="en-GB" sz="1764" kern="0">
                  <a:solidFill>
                    <a:srgbClr val="505050"/>
                  </a:solidFill>
                </a:endParaRPr>
              </a:p>
            </p:txBody>
          </p:sp>
        </p:grpSp>
        <p:sp>
          <p:nvSpPr>
            <p:cNvPr id="286" name="Freeform 31"/>
            <p:cNvSpPr>
              <a:spLocks noEditPoints="1"/>
            </p:cNvSpPr>
            <p:nvPr/>
          </p:nvSpPr>
          <p:spPr bwMode="auto">
            <a:xfrm>
              <a:off x="8412458" y="4207477"/>
              <a:ext cx="669325" cy="66932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solidFill>
              <a:srgbClr val="008272"/>
            </a:solidFill>
            <a:ln>
              <a:noFill/>
            </a:ln>
          </p:spPr>
          <p:txBody>
            <a:bodyPr vert="horz" wrap="square" lIns="89606" tIns="44804" rIns="89606" bIns="44804" numCol="1" anchor="t" anchorCtr="0" compatLnSpc="1">
              <a:prstTxWarp prst="textNoShape">
                <a:avLst/>
              </a:prstTxWarp>
            </a:bodyPr>
            <a:lstStyle/>
            <a:p>
              <a:pPr defTabSz="896030">
                <a:defRPr/>
              </a:pPr>
              <a:endParaRPr lang="en-GB" sz="1764" kern="0">
                <a:solidFill>
                  <a:srgbClr val="505050"/>
                </a:solidFill>
              </a:endParaRPr>
            </a:p>
          </p:txBody>
        </p:sp>
      </p:grpSp>
      <p:cxnSp>
        <p:nvCxnSpPr>
          <p:cNvPr id="298" name="Straight Arrow Connector 297"/>
          <p:cNvCxnSpPr/>
          <p:nvPr/>
        </p:nvCxnSpPr>
        <p:spPr>
          <a:xfrm>
            <a:off x="4294499" y="4539050"/>
            <a:ext cx="0" cy="523745"/>
          </a:xfrm>
          <a:prstGeom prst="straightConnector1">
            <a:avLst/>
          </a:prstGeom>
          <a:noFill/>
          <a:ln w="25400" cap="rnd" cmpd="sng" algn="ctr">
            <a:solidFill>
              <a:srgbClr val="0070C0"/>
            </a:solidFill>
            <a:prstDash val="sysDot"/>
            <a:headEnd type="none" w="med" len="med"/>
            <a:tailEnd type="triangle" w="med" len="med"/>
          </a:ln>
          <a:effectLst/>
        </p:spPr>
      </p:cxnSp>
      <p:grpSp>
        <p:nvGrpSpPr>
          <p:cNvPr id="51" name="Group 50"/>
          <p:cNvGrpSpPr/>
          <p:nvPr/>
        </p:nvGrpSpPr>
        <p:grpSpPr>
          <a:xfrm>
            <a:off x="196893" y="1152074"/>
            <a:ext cx="2497698" cy="1174794"/>
            <a:chOff x="7765686" y="1436767"/>
            <a:chExt cx="2548807" cy="1198834"/>
          </a:xfrm>
        </p:grpSpPr>
        <p:sp>
          <p:nvSpPr>
            <p:cNvPr id="52" name="Freeform 51"/>
            <p:cNvSpPr>
              <a:spLocks noChangeAspect="1"/>
            </p:cNvSpPr>
            <p:nvPr/>
          </p:nvSpPr>
          <p:spPr bwMode="auto">
            <a:xfrm>
              <a:off x="7765686" y="1436767"/>
              <a:ext cx="2548807" cy="1198834"/>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1972" tIns="0" rIns="111972" bIns="55985"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19449" fontAlgn="base">
                <a:spcBef>
                  <a:spcPct val="0"/>
                </a:spcBef>
                <a:spcAft>
                  <a:spcPct val="0"/>
                </a:spcAft>
                <a:defRPr/>
              </a:pPr>
              <a:endParaRPr lang="en-US" sz="1899" b="1" kern="0" dirty="0">
                <a:solidFill>
                  <a:srgbClr val="505050"/>
                </a:solidFill>
              </a:endParaRPr>
            </a:p>
          </p:txBody>
        </p:sp>
        <p:sp>
          <p:nvSpPr>
            <p:cNvPr id="53" name="Rectangle 52"/>
            <p:cNvSpPr/>
            <p:nvPr/>
          </p:nvSpPr>
          <p:spPr>
            <a:xfrm>
              <a:off x="8165568" y="2007088"/>
              <a:ext cx="728528" cy="387489"/>
            </a:xfrm>
            <a:prstGeom prst="rect">
              <a:avLst/>
            </a:prstGeom>
          </p:spPr>
          <p:txBody>
            <a:bodyPr wrap="square" lIns="0" tIns="0" rIns="0" bIns="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074661" fontAlgn="base">
                <a:lnSpc>
                  <a:spcPct val="90000"/>
                </a:lnSpc>
                <a:spcAft>
                  <a:spcPct val="0"/>
                </a:spcAft>
              </a:pPr>
              <a:r>
                <a:rPr lang="en-US" sz="1371" dirty="0">
                  <a:ln>
                    <a:solidFill>
                      <a:srgbClr val="FFFFFF">
                        <a:alpha val="0"/>
                      </a:srgbClr>
                    </a:solidFill>
                  </a:ln>
                  <a:solidFill>
                    <a:srgbClr val="FFFFFF"/>
                  </a:solidFill>
                </a:rPr>
                <a:t>SaaS Apps</a:t>
              </a:r>
            </a:p>
          </p:txBody>
        </p:sp>
        <p:grpSp>
          <p:nvGrpSpPr>
            <p:cNvPr id="54" name="Group 53"/>
            <p:cNvGrpSpPr/>
            <p:nvPr/>
          </p:nvGrpSpPr>
          <p:grpSpPr>
            <a:xfrm>
              <a:off x="9040089" y="1858128"/>
              <a:ext cx="764507" cy="536449"/>
              <a:chOff x="9270133" y="1815999"/>
              <a:chExt cx="764507" cy="536449"/>
            </a:xfrm>
          </p:grpSpPr>
          <p:sp>
            <p:nvSpPr>
              <p:cNvPr id="55" name="Freeform 5"/>
              <p:cNvSpPr>
                <a:spLocks noEditPoints="1"/>
              </p:cNvSpPr>
              <p:nvPr/>
            </p:nvSpPr>
            <p:spPr bwMode="auto">
              <a:xfrm>
                <a:off x="9270133" y="1815999"/>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bg1"/>
              </a:solidFill>
              <a:ln>
                <a:noFill/>
              </a:ln>
              <a:extLst/>
            </p:spPr>
            <p:txBody>
              <a:bodyPr vert="horz" wrap="square" lIns="89606" tIns="44804" rIns="89606" bIns="44804" numCol="1" anchor="t" anchorCtr="0" compatLnSpc="1">
                <a:prstTxWarp prst="textNoShape">
                  <a:avLst/>
                </a:prstTxWarp>
              </a:bodyPr>
              <a:lstStyle/>
              <a:p>
                <a:pPr defTabSz="913771">
                  <a:defRPr/>
                </a:pPr>
                <a:endParaRPr lang="en-US" sz="1764" kern="0">
                  <a:solidFill>
                    <a:srgbClr val="505050"/>
                  </a:solidFill>
                </a:endParaRPr>
              </a:p>
            </p:txBody>
          </p:sp>
          <p:pic>
            <p:nvPicPr>
              <p:cNvPr id="56" name="Picture 55"/>
              <p:cNvPicPr>
                <a:picLocks noChangeAspect="1"/>
              </p:cNvPicPr>
              <p:nvPr/>
            </p:nvPicPr>
            <p:blipFill rotWithShape="1">
              <a:blip r:embed="rId5" cstate="print">
                <a:extLst>
                  <a:ext uri="{28A0092B-C50C-407E-A947-70E740481C1C}">
                    <a14:useLocalDpi xmlns:a14="http://schemas.microsoft.com/office/drawing/2010/main" val="0"/>
                  </a:ext>
                </a:extLst>
              </a:blip>
              <a:srcRect t="1475" b="1715"/>
              <a:stretch/>
            </p:blipFill>
            <p:spPr>
              <a:xfrm>
                <a:off x="9434517" y="1881072"/>
                <a:ext cx="425042" cy="411480"/>
              </a:xfrm>
              <a:prstGeom prst="rect">
                <a:avLst/>
              </a:prstGeom>
            </p:spPr>
          </p:pic>
        </p:grpSp>
      </p:grpSp>
      <p:grpSp>
        <p:nvGrpSpPr>
          <p:cNvPr id="57" name="Group 56"/>
          <p:cNvGrpSpPr/>
          <p:nvPr/>
        </p:nvGrpSpPr>
        <p:grpSpPr>
          <a:xfrm>
            <a:off x="2345795" y="1072041"/>
            <a:ext cx="2497698" cy="1174794"/>
            <a:chOff x="4706230" y="1136904"/>
            <a:chExt cx="2548807" cy="1198834"/>
          </a:xfrm>
        </p:grpSpPr>
        <p:sp>
          <p:nvSpPr>
            <p:cNvPr id="58" name="Freeform 57"/>
            <p:cNvSpPr>
              <a:spLocks noChangeAspect="1"/>
            </p:cNvSpPr>
            <p:nvPr/>
          </p:nvSpPr>
          <p:spPr bwMode="auto">
            <a:xfrm>
              <a:off x="4706230" y="1136904"/>
              <a:ext cx="2548807" cy="1198834"/>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1972" tIns="0" rIns="111972" bIns="55985"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19449" fontAlgn="base">
                <a:spcBef>
                  <a:spcPct val="0"/>
                </a:spcBef>
                <a:spcAft>
                  <a:spcPct val="0"/>
                </a:spcAft>
                <a:defRPr/>
              </a:pPr>
              <a:endParaRPr lang="en-US" sz="1899" b="1" kern="0" dirty="0">
                <a:solidFill>
                  <a:srgbClr val="505050"/>
                </a:solidFill>
              </a:endParaRPr>
            </a:p>
          </p:txBody>
        </p:sp>
        <p:sp>
          <p:nvSpPr>
            <p:cNvPr id="60" name="Freeform 10"/>
            <p:cNvSpPr>
              <a:spLocks noChangeAspect="1" noEditPoints="1"/>
            </p:cNvSpPr>
            <p:nvPr/>
          </p:nvSpPr>
          <p:spPr bwMode="auto">
            <a:xfrm>
              <a:off x="4862568" y="1896239"/>
              <a:ext cx="2161408" cy="223693"/>
            </a:xfrm>
            <a:custGeom>
              <a:avLst/>
              <a:gdLst>
                <a:gd name="T0" fmla="*/ 215 w 954"/>
                <a:gd name="T1" fmla="*/ 82 h 96"/>
                <a:gd name="T2" fmla="*/ 165 w 954"/>
                <a:gd name="T3" fmla="*/ 73 h 96"/>
                <a:gd name="T4" fmla="*/ 131 w 954"/>
                <a:gd name="T5" fmla="*/ 5 h 96"/>
                <a:gd name="T6" fmla="*/ 189 w 954"/>
                <a:gd name="T7" fmla="*/ 20 h 96"/>
                <a:gd name="T8" fmla="*/ 266 w 954"/>
                <a:gd name="T9" fmla="*/ 7 h 96"/>
                <a:gd name="T10" fmla="*/ 254 w 954"/>
                <a:gd name="T11" fmla="*/ 12 h 96"/>
                <a:gd name="T12" fmla="*/ 264 w 954"/>
                <a:gd name="T13" fmla="*/ 94 h 96"/>
                <a:gd name="T14" fmla="*/ 332 w 954"/>
                <a:gd name="T15" fmla="*/ 94 h 96"/>
                <a:gd name="T16" fmla="*/ 289 w 954"/>
                <a:gd name="T17" fmla="*/ 41 h 96"/>
                <a:gd name="T18" fmla="*/ 289 w 954"/>
                <a:gd name="T19" fmla="*/ 94 h 96"/>
                <a:gd name="T20" fmla="*/ 322 w 954"/>
                <a:gd name="T21" fmla="*/ 94 h 96"/>
                <a:gd name="T22" fmla="*/ 390 w 954"/>
                <a:gd name="T23" fmla="*/ 0 h 96"/>
                <a:gd name="T24" fmla="*/ 341 w 954"/>
                <a:gd name="T25" fmla="*/ 63 h 96"/>
                <a:gd name="T26" fmla="*/ 390 w 954"/>
                <a:gd name="T27" fmla="*/ 94 h 96"/>
                <a:gd name="T28" fmla="*/ 357 w 954"/>
                <a:gd name="T29" fmla="*/ 81 h 96"/>
                <a:gd name="T30" fmla="*/ 390 w 954"/>
                <a:gd name="T31" fmla="*/ 56 h 96"/>
                <a:gd name="T32" fmla="*/ 420 w 954"/>
                <a:gd name="T33" fmla="*/ 37 h 96"/>
                <a:gd name="T34" fmla="*/ 474 w 954"/>
                <a:gd name="T35" fmla="*/ 62 h 96"/>
                <a:gd name="T36" fmla="*/ 421 w 954"/>
                <a:gd name="T37" fmla="*/ 63 h 96"/>
                <a:gd name="T38" fmla="*/ 565 w 954"/>
                <a:gd name="T39" fmla="*/ 30 h 96"/>
                <a:gd name="T40" fmla="*/ 540 w 954"/>
                <a:gd name="T41" fmla="*/ 84 h 96"/>
                <a:gd name="T42" fmla="*/ 500 w 954"/>
                <a:gd name="T43" fmla="*/ 84 h 96"/>
                <a:gd name="T44" fmla="*/ 495 w 954"/>
                <a:gd name="T45" fmla="*/ 94 h 96"/>
                <a:gd name="T46" fmla="*/ 522 w 954"/>
                <a:gd name="T47" fmla="*/ 49 h 96"/>
                <a:gd name="T48" fmla="*/ 602 w 954"/>
                <a:gd name="T49" fmla="*/ 65 h 96"/>
                <a:gd name="T50" fmla="*/ 589 w 954"/>
                <a:gd name="T51" fmla="*/ 37 h 96"/>
                <a:gd name="T52" fmla="*/ 567 w 954"/>
                <a:gd name="T53" fmla="*/ 47 h 96"/>
                <a:gd name="T54" fmla="*/ 584 w 954"/>
                <a:gd name="T55" fmla="*/ 87 h 96"/>
                <a:gd name="T56" fmla="*/ 606 w 954"/>
                <a:gd name="T57" fmla="*/ 77 h 96"/>
                <a:gd name="T58" fmla="*/ 636 w 954"/>
                <a:gd name="T59" fmla="*/ 5 h 96"/>
                <a:gd name="T60" fmla="*/ 695 w 954"/>
                <a:gd name="T61" fmla="*/ 29 h 96"/>
                <a:gd name="T62" fmla="*/ 664 w 954"/>
                <a:gd name="T63" fmla="*/ 94 h 96"/>
                <a:gd name="T64" fmla="*/ 706 w 954"/>
                <a:gd name="T65" fmla="*/ 58 h 96"/>
                <a:gd name="T66" fmla="*/ 760 w 954"/>
                <a:gd name="T67" fmla="*/ 85 h 96"/>
                <a:gd name="T68" fmla="*/ 760 w 954"/>
                <a:gd name="T69" fmla="*/ 39 h 96"/>
                <a:gd name="T70" fmla="*/ 734 w 954"/>
                <a:gd name="T71" fmla="*/ 30 h 96"/>
                <a:gd name="T72" fmla="*/ 751 w 954"/>
                <a:gd name="T73" fmla="*/ 95 h 96"/>
                <a:gd name="T74" fmla="*/ 810 w 954"/>
                <a:gd name="T75" fmla="*/ 30 h 96"/>
                <a:gd name="T76" fmla="*/ 778 w 954"/>
                <a:gd name="T77" fmla="*/ 30 h 96"/>
                <a:gd name="T78" fmla="*/ 810 w 954"/>
                <a:gd name="T79" fmla="*/ 84 h 96"/>
                <a:gd name="T80" fmla="*/ 889 w 954"/>
                <a:gd name="T81" fmla="*/ 55 h 96"/>
                <a:gd name="T82" fmla="*/ 846 w 954"/>
                <a:gd name="T83" fmla="*/ 30 h 96"/>
                <a:gd name="T84" fmla="*/ 851 w 954"/>
                <a:gd name="T85" fmla="*/ 43 h 96"/>
                <a:gd name="T86" fmla="*/ 954 w 954"/>
                <a:gd name="T87" fmla="*/ 65 h 96"/>
                <a:gd name="T88" fmla="*/ 907 w 954"/>
                <a:gd name="T89" fmla="*/ 37 h 96"/>
                <a:gd name="T90" fmla="*/ 949 w 954"/>
                <a:gd name="T91" fmla="*/ 80 h 96"/>
                <a:gd name="T92" fmla="*/ 943 w 954"/>
                <a:gd name="T93" fmla="*/ 56 h 96"/>
                <a:gd name="T94" fmla="*/ 939 w 954"/>
                <a:gd name="T95" fmla="*/ 42 h 96"/>
                <a:gd name="T96" fmla="*/ 95 w 954"/>
                <a:gd name="T97" fmla="*/ 46 h 96"/>
                <a:gd name="T98" fmla="*/ 0 w 954"/>
                <a:gd name="T99" fmla="*/ 46 h 96"/>
                <a:gd name="T100" fmla="*/ 0 w 954"/>
                <a:gd name="T101" fmla="*/ 82 h 96"/>
                <a:gd name="T102" fmla="*/ 43 w 954"/>
                <a:gd name="T103" fmla="*/ 88 h 96"/>
                <a:gd name="T104" fmla="*/ 43 w 954"/>
                <a:gd name="T105"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4" h="96">
                  <a:moveTo>
                    <a:pt x="246" y="5"/>
                  </a:moveTo>
                  <a:cubicBezTo>
                    <a:pt x="246" y="5"/>
                    <a:pt x="246" y="5"/>
                    <a:pt x="246" y="5"/>
                  </a:cubicBezTo>
                  <a:cubicBezTo>
                    <a:pt x="235" y="5"/>
                    <a:pt x="235" y="5"/>
                    <a:pt x="235" y="5"/>
                  </a:cubicBezTo>
                  <a:cubicBezTo>
                    <a:pt x="235" y="5"/>
                    <a:pt x="235" y="5"/>
                    <a:pt x="217" y="73"/>
                  </a:cubicBezTo>
                  <a:cubicBezTo>
                    <a:pt x="216" y="77"/>
                    <a:pt x="215" y="80"/>
                    <a:pt x="215" y="82"/>
                  </a:cubicBezTo>
                  <a:cubicBezTo>
                    <a:pt x="215" y="82"/>
                    <a:pt x="215" y="82"/>
                    <a:pt x="215" y="82"/>
                  </a:cubicBezTo>
                  <a:cubicBezTo>
                    <a:pt x="215" y="79"/>
                    <a:pt x="214" y="76"/>
                    <a:pt x="214" y="74"/>
                  </a:cubicBezTo>
                  <a:cubicBezTo>
                    <a:pt x="214" y="74"/>
                    <a:pt x="214" y="74"/>
                    <a:pt x="195" y="5"/>
                  </a:cubicBezTo>
                  <a:cubicBezTo>
                    <a:pt x="195" y="5"/>
                    <a:pt x="195" y="5"/>
                    <a:pt x="185" y="5"/>
                  </a:cubicBezTo>
                  <a:cubicBezTo>
                    <a:pt x="185" y="5"/>
                    <a:pt x="185" y="5"/>
                    <a:pt x="165" y="73"/>
                  </a:cubicBezTo>
                  <a:cubicBezTo>
                    <a:pt x="164" y="77"/>
                    <a:pt x="163" y="80"/>
                    <a:pt x="163" y="82"/>
                  </a:cubicBezTo>
                  <a:cubicBezTo>
                    <a:pt x="163" y="82"/>
                    <a:pt x="163" y="82"/>
                    <a:pt x="163" y="82"/>
                  </a:cubicBezTo>
                  <a:cubicBezTo>
                    <a:pt x="162" y="79"/>
                    <a:pt x="162" y="76"/>
                    <a:pt x="161" y="73"/>
                  </a:cubicBezTo>
                  <a:cubicBezTo>
                    <a:pt x="161" y="73"/>
                    <a:pt x="161" y="73"/>
                    <a:pt x="142" y="5"/>
                  </a:cubicBezTo>
                  <a:cubicBezTo>
                    <a:pt x="142" y="5"/>
                    <a:pt x="142" y="5"/>
                    <a:pt x="131" y="5"/>
                  </a:cubicBezTo>
                  <a:cubicBezTo>
                    <a:pt x="131" y="5"/>
                    <a:pt x="131" y="5"/>
                    <a:pt x="157" y="94"/>
                  </a:cubicBezTo>
                  <a:cubicBezTo>
                    <a:pt x="157" y="94"/>
                    <a:pt x="157" y="94"/>
                    <a:pt x="169" y="94"/>
                  </a:cubicBezTo>
                  <a:cubicBezTo>
                    <a:pt x="169" y="94"/>
                    <a:pt x="169" y="94"/>
                    <a:pt x="188" y="29"/>
                  </a:cubicBezTo>
                  <a:cubicBezTo>
                    <a:pt x="188" y="26"/>
                    <a:pt x="189" y="23"/>
                    <a:pt x="189" y="20"/>
                  </a:cubicBezTo>
                  <a:cubicBezTo>
                    <a:pt x="189" y="20"/>
                    <a:pt x="189" y="20"/>
                    <a:pt x="189" y="20"/>
                  </a:cubicBezTo>
                  <a:cubicBezTo>
                    <a:pt x="189" y="23"/>
                    <a:pt x="190" y="26"/>
                    <a:pt x="191" y="29"/>
                  </a:cubicBezTo>
                  <a:cubicBezTo>
                    <a:pt x="191" y="29"/>
                    <a:pt x="191" y="29"/>
                    <a:pt x="209" y="94"/>
                  </a:cubicBezTo>
                  <a:cubicBezTo>
                    <a:pt x="209" y="94"/>
                    <a:pt x="209" y="94"/>
                    <a:pt x="221" y="94"/>
                  </a:cubicBezTo>
                  <a:cubicBezTo>
                    <a:pt x="221" y="94"/>
                    <a:pt x="221" y="94"/>
                    <a:pt x="246" y="5"/>
                  </a:cubicBezTo>
                  <a:close/>
                  <a:moveTo>
                    <a:pt x="266" y="7"/>
                  </a:moveTo>
                  <a:cubicBezTo>
                    <a:pt x="266" y="6"/>
                    <a:pt x="265" y="4"/>
                    <a:pt x="263" y="3"/>
                  </a:cubicBezTo>
                  <a:cubicBezTo>
                    <a:pt x="262" y="2"/>
                    <a:pt x="261" y="1"/>
                    <a:pt x="258" y="1"/>
                  </a:cubicBezTo>
                  <a:cubicBezTo>
                    <a:pt x="257" y="1"/>
                    <a:pt x="255" y="2"/>
                    <a:pt x="254" y="3"/>
                  </a:cubicBezTo>
                  <a:cubicBezTo>
                    <a:pt x="253" y="4"/>
                    <a:pt x="252" y="6"/>
                    <a:pt x="252" y="7"/>
                  </a:cubicBezTo>
                  <a:cubicBezTo>
                    <a:pt x="252" y="10"/>
                    <a:pt x="253" y="11"/>
                    <a:pt x="254" y="12"/>
                  </a:cubicBezTo>
                  <a:cubicBezTo>
                    <a:pt x="255" y="14"/>
                    <a:pt x="257" y="14"/>
                    <a:pt x="258" y="14"/>
                  </a:cubicBezTo>
                  <a:cubicBezTo>
                    <a:pt x="261" y="14"/>
                    <a:pt x="262" y="14"/>
                    <a:pt x="263" y="12"/>
                  </a:cubicBezTo>
                  <a:cubicBezTo>
                    <a:pt x="265" y="11"/>
                    <a:pt x="266" y="9"/>
                    <a:pt x="266" y="7"/>
                  </a:cubicBezTo>
                  <a:close/>
                  <a:moveTo>
                    <a:pt x="264" y="94"/>
                  </a:moveTo>
                  <a:cubicBezTo>
                    <a:pt x="264" y="94"/>
                    <a:pt x="264" y="94"/>
                    <a:pt x="264" y="94"/>
                  </a:cubicBezTo>
                  <a:cubicBezTo>
                    <a:pt x="264" y="30"/>
                    <a:pt x="264" y="30"/>
                    <a:pt x="264" y="30"/>
                  </a:cubicBezTo>
                  <a:cubicBezTo>
                    <a:pt x="264" y="30"/>
                    <a:pt x="264" y="30"/>
                    <a:pt x="253" y="30"/>
                  </a:cubicBezTo>
                  <a:cubicBezTo>
                    <a:pt x="253" y="30"/>
                    <a:pt x="253" y="30"/>
                    <a:pt x="253" y="94"/>
                  </a:cubicBezTo>
                  <a:cubicBezTo>
                    <a:pt x="253" y="94"/>
                    <a:pt x="253" y="94"/>
                    <a:pt x="264" y="94"/>
                  </a:cubicBezTo>
                  <a:close/>
                  <a:moveTo>
                    <a:pt x="332" y="94"/>
                  </a:moveTo>
                  <a:cubicBezTo>
                    <a:pt x="332" y="94"/>
                    <a:pt x="332" y="94"/>
                    <a:pt x="332" y="94"/>
                  </a:cubicBezTo>
                  <a:cubicBezTo>
                    <a:pt x="332" y="55"/>
                    <a:pt x="332" y="55"/>
                    <a:pt x="332" y="55"/>
                  </a:cubicBezTo>
                  <a:cubicBezTo>
                    <a:pt x="332" y="47"/>
                    <a:pt x="330" y="40"/>
                    <a:pt x="327" y="36"/>
                  </a:cubicBezTo>
                  <a:cubicBezTo>
                    <a:pt x="323" y="31"/>
                    <a:pt x="318" y="29"/>
                    <a:pt x="311" y="29"/>
                  </a:cubicBezTo>
                  <a:cubicBezTo>
                    <a:pt x="301" y="29"/>
                    <a:pt x="294" y="33"/>
                    <a:pt x="289" y="41"/>
                  </a:cubicBezTo>
                  <a:cubicBezTo>
                    <a:pt x="289" y="41"/>
                    <a:pt x="289" y="41"/>
                    <a:pt x="289" y="41"/>
                  </a:cubicBezTo>
                  <a:cubicBezTo>
                    <a:pt x="289" y="41"/>
                    <a:pt x="289" y="41"/>
                    <a:pt x="289" y="30"/>
                  </a:cubicBezTo>
                  <a:cubicBezTo>
                    <a:pt x="289" y="30"/>
                    <a:pt x="289" y="30"/>
                    <a:pt x="279" y="30"/>
                  </a:cubicBezTo>
                  <a:cubicBezTo>
                    <a:pt x="279" y="30"/>
                    <a:pt x="279" y="30"/>
                    <a:pt x="279" y="94"/>
                  </a:cubicBezTo>
                  <a:cubicBezTo>
                    <a:pt x="279" y="94"/>
                    <a:pt x="279" y="94"/>
                    <a:pt x="289" y="94"/>
                  </a:cubicBezTo>
                  <a:cubicBezTo>
                    <a:pt x="289" y="94"/>
                    <a:pt x="289" y="94"/>
                    <a:pt x="289" y="58"/>
                  </a:cubicBezTo>
                  <a:cubicBezTo>
                    <a:pt x="289" y="52"/>
                    <a:pt x="291" y="47"/>
                    <a:pt x="294" y="43"/>
                  </a:cubicBezTo>
                  <a:cubicBezTo>
                    <a:pt x="298" y="39"/>
                    <a:pt x="302" y="37"/>
                    <a:pt x="307" y="37"/>
                  </a:cubicBezTo>
                  <a:cubicBezTo>
                    <a:pt x="317" y="37"/>
                    <a:pt x="322" y="44"/>
                    <a:pt x="322" y="58"/>
                  </a:cubicBezTo>
                  <a:cubicBezTo>
                    <a:pt x="322" y="58"/>
                    <a:pt x="322" y="58"/>
                    <a:pt x="322" y="94"/>
                  </a:cubicBezTo>
                  <a:cubicBezTo>
                    <a:pt x="322" y="94"/>
                    <a:pt x="322" y="94"/>
                    <a:pt x="332" y="94"/>
                  </a:cubicBezTo>
                  <a:close/>
                  <a:moveTo>
                    <a:pt x="400" y="94"/>
                  </a:moveTo>
                  <a:cubicBezTo>
                    <a:pt x="400" y="94"/>
                    <a:pt x="400" y="94"/>
                    <a:pt x="400" y="94"/>
                  </a:cubicBezTo>
                  <a:cubicBezTo>
                    <a:pt x="400" y="0"/>
                    <a:pt x="400" y="0"/>
                    <a:pt x="400" y="0"/>
                  </a:cubicBezTo>
                  <a:cubicBezTo>
                    <a:pt x="400" y="0"/>
                    <a:pt x="400" y="0"/>
                    <a:pt x="390" y="0"/>
                  </a:cubicBezTo>
                  <a:cubicBezTo>
                    <a:pt x="390" y="0"/>
                    <a:pt x="390" y="0"/>
                    <a:pt x="390" y="39"/>
                  </a:cubicBezTo>
                  <a:cubicBezTo>
                    <a:pt x="390" y="39"/>
                    <a:pt x="390" y="39"/>
                    <a:pt x="389" y="39"/>
                  </a:cubicBezTo>
                  <a:cubicBezTo>
                    <a:pt x="385" y="32"/>
                    <a:pt x="379" y="29"/>
                    <a:pt x="370" y="29"/>
                  </a:cubicBezTo>
                  <a:cubicBezTo>
                    <a:pt x="361" y="29"/>
                    <a:pt x="354" y="32"/>
                    <a:pt x="349" y="38"/>
                  </a:cubicBezTo>
                  <a:cubicBezTo>
                    <a:pt x="344" y="44"/>
                    <a:pt x="341" y="53"/>
                    <a:pt x="341" y="63"/>
                  </a:cubicBezTo>
                  <a:cubicBezTo>
                    <a:pt x="341" y="74"/>
                    <a:pt x="344" y="82"/>
                    <a:pt x="349" y="87"/>
                  </a:cubicBezTo>
                  <a:cubicBezTo>
                    <a:pt x="353" y="93"/>
                    <a:pt x="360" y="95"/>
                    <a:pt x="368" y="95"/>
                  </a:cubicBezTo>
                  <a:cubicBezTo>
                    <a:pt x="377" y="95"/>
                    <a:pt x="385" y="91"/>
                    <a:pt x="389" y="83"/>
                  </a:cubicBezTo>
                  <a:cubicBezTo>
                    <a:pt x="389" y="83"/>
                    <a:pt x="389" y="83"/>
                    <a:pt x="390" y="83"/>
                  </a:cubicBezTo>
                  <a:cubicBezTo>
                    <a:pt x="390" y="83"/>
                    <a:pt x="390" y="83"/>
                    <a:pt x="390" y="94"/>
                  </a:cubicBezTo>
                  <a:cubicBezTo>
                    <a:pt x="390" y="94"/>
                    <a:pt x="390" y="94"/>
                    <a:pt x="400" y="94"/>
                  </a:cubicBezTo>
                  <a:close/>
                  <a:moveTo>
                    <a:pt x="390" y="65"/>
                  </a:moveTo>
                  <a:cubicBezTo>
                    <a:pt x="390" y="71"/>
                    <a:pt x="388" y="76"/>
                    <a:pt x="385" y="80"/>
                  </a:cubicBezTo>
                  <a:cubicBezTo>
                    <a:pt x="381" y="85"/>
                    <a:pt x="377" y="87"/>
                    <a:pt x="371" y="87"/>
                  </a:cubicBezTo>
                  <a:cubicBezTo>
                    <a:pt x="365" y="87"/>
                    <a:pt x="361" y="85"/>
                    <a:pt x="357" y="81"/>
                  </a:cubicBezTo>
                  <a:cubicBezTo>
                    <a:pt x="353" y="77"/>
                    <a:pt x="352" y="70"/>
                    <a:pt x="352" y="63"/>
                  </a:cubicBezTo>
                  <a:cubicBezTo>
                    <a:pt x="352" y="55"/>
                    <a:pt x="353" y="49"/>
                    <a:pt x="357" y="44"/>
                  </a:cubicBezTo>
                  <a:cubicBezTo>
                    <a:pt x="361" y="40"/>
                    <a:pt x="365" y="37"/>
                    <a:pt x="372" y="37"/>
                  </a:cubicBezTo>
                  <a:cubicBezTo>
                    <a:pt x="377" y="37"/>
                    <a:pt x="381" y="39"/>
                    <a:pt x="385" y="43"/>
                  </a:cubicBezTo>
                  <a:cubicBezTo>
                    <a:pt x="388" y="46"/>
                    <a:pt x="390" y="51"/>
                    <a:pt x="390" y="56"/>
                  </a:cubicBezTo>
                  <a:cubicBezTo>
                    <a:pt x="390" y="56"/>
                    <a:pt x="390" y="56"/>
                    <a:pt x="390" y="65"/>
                  </a:cubicBezTo>
                  <a:close/>
                  <a:moveTo>
                    <a:pt x="474" y="62"/>
                  </a:moveTo>
                  <a:cubicBezTo>
                    <a:pt x="474" y="52"/>
                    <a:pt x="471" y="44"/>
                    <a:pt x="466" y="37"/>
                  </a:cubicBezTo>
                  <a:cubicBezTo>
                    <a:pt x="460" y="32"/>
                    <a:pt x="453" y="29"/>
                    <a:pt x="443" y="29"/>
                  </a:cubicBezTo>
                  <a:cubicBezTo>
                    <a:pt x="434" y="29"/>
                    <a:pt x="426" y="32"/>
                    <a:pt x="420" y="37"/>
                  </a:cubicBezTo>
                  <a:cubicBezTo>
                    <a:pt x="414" y="43"/>
                    <a:pt x="411" y="52"/>
                    <a:pt x="411" y="63"/>
                  </a:cubicBezTo>
                  <a:cubicBezTo>
                    <a:pt x="411" y="72"/>
                    <a:pt x="413" y="80"/>
                    <a:pt x="419" y="86"/>
                  </a:cubicBezTo>
                  <a:cubicBezTo>
                    <a:pt x="424" y="92"/>
                    <a:pt x="432" y="95"/>
                    <a:pt x="442" y="95"/>
                  </a:cubicBezTo>
                  <a:cubicBezTo>
                    <a:pt x="452" y="95"/>
                    <a:pt x="459" y="92"/>
                    <a:pt x="465" y="86"/>
                  </a:cubicBezTo>
                  <a:cubicBezTo>
                    <a:pt x="471" y="80"/>
                    <a:pt x="474" y="72"/>
                    <a:pt x="474" y="62"/>
                  </a:cubicBezTo>
                  <a:close/>
                  <a:moveTo>
                    <a:pt x="463" y="62"/>
                  </a:moveTo>
                  <a:cubicBezTo>
                    <a:pt x="463" y="70"/>
                    <a:pt x="461" y="76"/>
                    <a:pt x="458" y="80"/>
                  </a:cubicBezTo>
                  <a:cubicBezTo>
                    <a:pt x="455" y="85"/>
                    <a:pt x="449" y="87"/>
                    <a:pt x="443" y="87"/>
                  </a:cubicBezTo>
                  <a:cubicBezTo>
                    <a:pt x="436" y="87"/>
                    <a:pt x="431" y="85"/>
                    <a:pt x="427" y="80"/>
                  </a:cubicBezTo>
                  <a:cubicBezTo>
                    <a:pt x="423" y="76"/>
                    <a:pt x="421" y="70"/>
                    <a:pt x="421" y="63"/>
                  </a:cubicBezTo>
                  <a:cubicBezTo>
                    <a:pt x="421" y="54"/>
                    <a:pt x="423" y="48"/>
                    <a:pt x="427" y="44"/>
                  </a:cubicBezTo>
                  <a:cubicBezTo>
                    <a:pt x="431" y="40"/>
                    <a:pt x="436" y="37"/>
                    <a:pt x="443" y="37"/>
                  </a:cubicBezTo>
                  <a:cubicBezTo>
                    <a:pt x="449" y="37"/>
                    <a:pt x="454" y="40"/>
                    <a:pt x="458" y="44"/>
                  </a:cubicBezTo>
                  <a:cubicBezTo>
                    <a:pt x="461" y="48"/>
                    <a:pt x="463" y="54"/>
                    <a:pt x="463" y="62"/>
                  </a:cubicBezTo>
                  <a:close/>
                  <a:moveTo>
                    <a:pt x="565" y="30"/>
                  </a:moveTo>
                  <a:cubicBezTo>
                    <a:pt x="565" y="30"/>
                    <a:pt x="565" y="30"/>
                    <a:pt x="565" y="30"/>
                  </a:cubicBezTo>
                  <a:cubicBezTo>
                    <a:pt x="554" y="30"/>
                    <a:pt x="554" y="30"/>
                    <a:pt x="554" y="30"/>
                  </a:cubicBezTo>
                  <a:cubicBezTo>
                    <a:pt x="554" y="30"/>
                    <a:pt x="554" y="30"/>
                    <a:pt x="541" y="78"/>
                  </a:cubicBezTo>
                  <a:cubicBezTo>
                    <a:pt x="541" y="80"/>
                    <a:pt x="540" y="83"/>
                    <a:pt x="540" y="84"/>
                  </a:cubicBezTo>
                  <a:cubicBezTo>
                    <a:pt x="540" y="84"/>
                    <a:pt x="540" y="84"/>
                    <a:pt x="540" y="84"/>
                  </a:cubicBezTo>
                  <a:cubicBezTo>
                    <a:pt x="540" y="82"/>
                    <a:pt x="539" y="80"/>
                    <a:pt x="539" y="78"/>
                  </a:cubicBezTo>
                  <a:cubicBezTo>
                    <a:pt x="539" y="78"/>
                    <a:pt x="539" y="78"/>
                    <a:pt x="526" y="30"/>
                  </a:cubicBezTo>
                  <a:cubicBezTo>
                    <a:pt x="526" y="30"/>
                    <a:pt x="526" y="30"/>
                    <a:pt x="516" y="30"/>
                  </a:cubicBezTo>
                  <a:cubicBezTo>
                    <a:pt x="516" y="30"/>
                    <a:pt x="516" y="30"/>
                    <a:pt x="502" y="78"/>
                  </a:cubicBezTo>
                  <a:cubicBezTo>
                    <a:pt x="501" y="80"/>
                    <a:pt x="501" y="82"/>
                    <a:pt x="500" y="84"/>
                  </a:cubicBezTo>
                  <a:cubicBezTo>
                    <a:pt x="500" y="84"/>
                    <a:pt x="500" y="84"/>
                    <a:pt x="500" y="84"/>
                  </a:cubicBezTo>
                  <a:cubicBezTo>
                    <a:pt x="500" y="82"/>
                    <a:pt x="500" y="80"/>
                    <a:pt x="499" y="78"/>
                  </a:cubicBezTo>
                  <a:cubicBezTo>
                    <a:pt x="499" y="78"/>
                    <a:pt x="499" y="78"/>
                    <a:pt x="486" y="30"/>
                  </a:cubicBezTo>
                  <a:cubicBezTo>
                    <a:pt x="486" y="30"/>
                    <a:pt x="486" y="30"/>
                    <a:pt x="475" y="30"/>
                  </a:cubicBezTo>
                  <a:cubicBezTo>
                    <a:pt x="475" y="30"/>
                    <a:pt x="475" y="30"/>
                    <a:pt x="495" y="94"/>
                  </a:cubicBezTo>
                  <a:cubicBezTo>
                    <a:pt x="495" y="94"/>
                    <a:pt x="495" y="94"/>
                    <a:pt x="505" y="94"/>
                  </a:cubicBezTo>
                  <a:cubicBezTo>
                    <a:pt x="505" y="94"/>
                    <a:pt x="505" y="94"/>
                    <a:pt x="519" y="48"/>
                  </a:cubicBezTo>
                  <a:cubicBezTo>
                    <a:pt x="520" y="46"/>
                    <a:pt x="520" y="44"/>
                    <a:pt x="520" y="43"/>
                  </a:cubicBezTo>
                  <a:cubicBezTo>
                    <a:pt x="520" y="43"/>
                    <a:pt x="520" y="43"/>
                    <a:pt x="521" y="43"/>
                  </a:cubicBezTo>
                  <a:cubicBezTo>
                    <a:pt x="521" y="45"/>
                    <a:pt x="521" y="47"/>
                    <a:pt x="522" y="49"/>
                  </a:cubicBezTo>
                  <a:cubicBezTo>
                    <a:pt x="522" y="49"/>
                    <a:pt x="522" y="49"/>
                    <a:pt x="535" y="94"/>
                  </a:cubicBezTo>
                  <a:cubicBezTo>
                    <a:pt x="535" y="94"/>
                    <a:pt x="535" y="94"/>
                    <a:pt x="545" y="94"/>
                  </a:cubicBezTo>
                  <a:cubicBezTo>
                    <a:pt x="545" y="94"/>
                    <a:pt x="545" y="94"/>
                    <a:pt x="565" y="30"/>
                  </a:cubicBezTo>
                  <a:close/>
                  <a:moveTo>
                    <a:pt x="606" y="77"/>
                  </a:moveTo>
                  <a:cubicBezTo>
                    <a:pt x="606" y="72"/>
                    <a:pt x="605" y="68"/>
                    <a:pt x="602" y="65"/>
                  </a:cubicBezTo>
                  <a:cubicBezTo>
                    <a:pt x="599" y="63"/>
                    <a:pt x="595" y="60"/>
                    <a:pt x="590" y="58"/>
                  </a:cubicBezTo>
                  <a:cubicBezTo>
                    <a:pt x="585" y="56"/>
                    <a:pt x="582" y="54"/>
                    <a:pt x="580" y="53"/>
                  </a:cubicBezTo>
                  <a:cubicBezTo>
                    <a:pt x="579" y="51"/>
                    <a:pt x="578" y="49"/>
                    <a:pt x="578" y="46"/>
                  </a:cubicBezTo>
                  <a:cubicBezTo>
                    <a:pt x="578" y="44"/>
                    <a:pt x="579" y="41"/>
                    <a:pt x="581" y="40"/>
                  </a:cubicBezTo>
                  <a:cubicBezTo>
                    <a:pt x="583" y="38"/>
                    <a:pt x="586" y="37"/>
                    <a:pt x="589" y="37"/>
                  </a:cubicBezTo>
                  <a:cubicBezTo>
                    <a:pt x="594" y="37"/>
                    <a:pt x="599" y="39"/>
                    <a:pt x="603" y="42"/>
                  </a:cubicBezTo>
                  <a:cubicBezTo>
                    <a:pt x="603" y="42"/>
                    <a:pt x="603" y="42"/>
                    <a:pt x="603" y="32"/>
                  </a:cubicBezTo>
                  <a:cubicBezTo>
                    <a:pt x="599" y="30"/>
                    <a:pt x="595" y="29"/>
                    <a:pt x="590" y="29"/>
                  </a:cubicBezTo>
                  <a:cubicBezTo>
                    <a:pt x="583" y="29"/>
                    <a:pt x="578" y="30"/>
                    <a:pt x="574" y="34"/>
                  </a:cubicBezTo>
                  <a:cubicBezTo>
                    <a:pt x="569" y="37"/>
                    <a:pt x="567" y="42"/>
                    <a:pt x="567" y="47"/>
                  </a:cubicBezTo>
                  <a:cubicBezTo>
                    <a:pt x="567" y="52"/>
                    <a:pt x="568" y="56"/>
                    <a:pt x="572" y="59"/>
                  </a:cubicBezTo>
                  <a:cubicBezTo>
                    <a:pt x="574" y="61"/>
                    <a:pt x="577" y="63"/>
                    <a:pt x="583" y="66"/>
                  </a:cubicBezTo>
                  <a:cubicBezTo>
                    <a:pt x="588" y="68"/>
                    <a:pt x="591" y="70"/>
                    <a:pt x="593" y="72"/>
                  </a:cubicBezTo>
                  <a:cubicBezTo>
                    <a:pt x="595" y="73"/>
                    <a:pt x="596" y="75"/>
                    <a:pt x="596" y="78"/>
                  </a:cubicBezTo>
                  <a:cubicBezTo>
                    <a:pt x="596" y="84"/>
                    <a:pt x="592" y="87"/>
                    <a:pt x="584" y="87"/>
                  </a:cubicBezTo>
                  <a:cubicBezTo>
                    <a:pt x="578" y="87"/>
                    <a:pt x="572" y="85"/>
                    <a:pt x="567" y="81"/>
                  </a:cubicBezTo>
                  <a:cubicBezTo>
                    <a:pt x="567" y="81"/>
                    <a:pt x="567" y="81"/>
                    <a:pt x="567" y="92"/>
                  </a:cubicBezTo>
                  <a:cubicBezTo>
                    <a:pt x="572" y="94"/>
                    <a:pt x="577" y="95"/>
                    <a:pt x="583" y="95"/>
                  </a:cubicBezTo>
                  <a:cubicBezTo>
                    <a:pt x="590" y="95"/>
                    <a:pt x="596" y="94"/>
                    <a:pt x="600" y="90"/>
                  </a:cubicBezTo>
                  <a:cubicBezTo>
                    <a:pt x="604" y="86"/>
                    <a:pt x="606" y="82"/>
                    <a:pt x="606" y="77"/>
                  </a:cubicBezTo>
                  <a:close/>
                  <a:moveTo>
                    <a:pt x="636" y="5"/>
                  </a:moveTo>
                  <a:cubicBezTo>
                    <a:pt x="636" y="94"/>
                    <a:pt x="636" y="94"/>
                    <a:pt x="636" y="94"/>
                  </a:cubicBezTo>
                  <a:cubicBezTo>
                    <a:pt x="647" y="94"/>
                    <a:pt x="647" y="94"/>
                    <a:pt x="647" y="94"/>
                  </a:cubicBezTo>
                  <a:cubicBezTo>
                    <a:pt x="647" y="5"/>
                    <a:pt x="647" y="5"/>
                    <a:pt x="647" y="5"/>
                  </a:cubicBezTo>
                  <a:cubicBezTo>
                    <a:pt x="636" y="5"/>
                    <a:pt x="636" y="5"/>
                    <a:pt x="636" y="5"/>
                  </a:cubicBezTo>
                  <a:close/>
                  <a:moveTo>
                    <a:pt x="716" y="94"/>
                  </a:moveTo>
                  <a:cubicBezTo>
                    <a:pt x="716" y="94"/>
                    <a:pt x="716" y="94"/>
                    <a:pt x="716" y="94"/>
                  </a:cubicBezTo>
                  <a:cubicBezTo>
                    <a:pt x="716" y="55"/>
                    <a:pt x="716" y="55"/>
                    <a:pt x="716" y="55"/>
                  </a:cubicBezTo>
                  <a:cubicBezTo>
                    <a:pt x="716" y="47"/>
                    <a:pt x="715" y="40"/>
                    <a:pt x="711" y="36"/>
                  </a:cubicBezTo>
                  <a:cubicBezTo>
                    <a:pt x="708" y="31"/>
                    <a:pt x="702" y="29"/>
                    <a:pt x="695" y="29"/>
                  </a:cubicBezTo>
                  <a:cubicBezTo>
                    <a:pt x="686" y="29"/>
                    <a:pt x="679" y="33"/>
                    <a:pt x="674" y="41"/>
                  </a:cubicBezTo>
                  <a:cubicBezTo>
                    <a:pt x="674" y="41"/>
                    <a:pt x="674" y="41"/>
                    <a:pt x="674" y="41"/>
                  </a:cubicBezTo>
                  <a:cubicBezTo>
                    <a:pt x="674" y="41"/>
                    <a:pt x="674" y="41"/>
                    <a:pt x="674" y="30"/>
                  </a:cubicBezTo>
                  <a:cubicBezTo>
                    <a:pt x="674" y="30"/>
                    <a:pt x="674" y="30"/>
                    <a:pt x="664" y="30"/>
                  </a:cubicBezTo>
                  <a:cubicBezTo>
                    <a:pt x="664" y="30"/>
                    <a:pt x="664" y="30"/>
                    <a:pt x="664" y="94"/>
                  </a:cubicBezTo>
                  <a:cubicBezTo>
                    <a:pt x="664" y="94"/>
                    <a:pt x="664" y="94"/>
                    <a:pt x="674" y="94"/>
                  </a:cubicBezTo>
                  <a:cubicBezTo>
                    <a:pt x="674" y="94"/>
                    <a:pt x="674" y="94"/>
                    <a:pt x="674" y="58"/>
                  </a:cubicBezTo>
                  <a:cubicBezTo>
                    <a:pt x="674" y="52"/>
                    <a:pt x="676" y="47"/>
                    <a:pt x="679" y="43"/>
                  </a:cubicBezTo>
                  <a:cubicBezTo>
                    <a:pt x="682" y="39"/>
                    <a:pt x="686" y="37"/>
                    <a:pt x="692" y="37"/>
                  </a:cubicBezTo>
                  <a:cubicBezTo>
                    <a:pt x="701" y="37"/>
                    <a:pt x="706" y="44"/>
                    <a:pt x="706" y="58"/>
                  </a:cubicBezTo>
                  <a:cubicBezTo>
                    <a:pt x="706" y="58"/>
                    <a:pt x="706" y="58"/>
                    <a:pt x="706" y="94"/>
                  </a:cubicBezTo>
                  <a:cubicBezTo>
                    <a:pt x="706" y="94"/>
                    <a:pt x="706" y="94"/>
                    <a:pt x="716" y="94"/>
                  </a:cubicBezTo>
                  <a:close/>
                  <a:moveTo>
                    <a:pt x="760" y="93"/>
                  </a:moveTo>
                  <a:cubicBezTo>
                    <a:pt x="760" y="93"/>
                    <a:pt x="760" y="93"/>
                    <a:pt x="760" y="93"/>
                  </a:cubicBezTo>
                  <a:cubicBezTo>
                    <a:pt x="760" y="85"/>
                    <a:pt x="760" y="85"/>
                    <a:pt x="760" y="85"/>
                  </a:cubicBezTo>
                  <a:cubicBezTo>
                    <a:pt x="759" y="86"/>
                    <a:pt x="756" y="86"/>
                    <a:pt x="754" y="86"/>
                  </a:cubicBezTo>
                  <a:cubicBezTo>
                    <a:pt x="750" y="86"/>
                    <a:pt x="748" y="86"/>
                    <a:pt x="747" y="84"/>
                  </a:cubicBezTo>
                  <a:cubicBezTo>
                    <a:pt x="745" y="82"/>
                    <a:pt x="745" y="79"/>
                    <a:pt x="745" y="75"/>
                  </a:cubicBezTo>
                  <a:cubicBezTo>
                    <a:pt x="745" y="75"/>
                    <a:pt x="745" y="75"/>
                    <a:pt x="745" y="39"/>
                  </a:cubicBezTo>
                  <a:cubicBezTo>
                    <a:pt x="745" y="39"/>
                    <a:pt x="745" y="39"/>
                    <a:pt x="760" y="39"/>
                  </a:cubicBezTo>
                  <a:cubicBezTo>
                    <a:pt x="760" y="39"/>
                    <a:pt x="760" y="39"/>
                    <a:pt x="760" y="30"/>
                  </a:cubicBezTo>
                  <a:cubicBezTo>
                    <a:pt x="760" y="30"/>
                    <a:pt x="760" y="30"/>
                    <a:pt x="745" y="30"/>
                  </a:cubicBezTo>
                  <a:cubicBezTo>
                    <a:pt x="745" y="30"/>
                    <a:pt x="745" y="30"/>
                    <a:pt x="745" y="11"/>
                  </a:cubicBezTo>
                  <a:cubicBezTo>
                    <a:pt x="741" y="12"/>
                    <a:pt x="737" y="13"/>
                    <a:pt x="734" y="15"/>
                  </a:cubicBezTo>
                  <a:cubicBezTo>
                    <a:pt x="734" y="15"/>
                    <a:pt x="734" y="15"/>
                    <a:pt x="734" y="30"/>
                  </a:cubicBezTo>
                  <a:cubicBezTo>
                    <a:pt x="734" y="30"/>
                    <a:pt x="734" y="30"/>
                    <a:pt x="723" y="30"/>
                  </a:cubicBezTo>
                  <a:cubicBezTo>
                    <a:pt x="723" y="30"/>
                    <a:pt x="723" y="30"/>
                    <a:pt x="723" y="39"/>
                  </a:cubicBezTo>
                  <a:cubicBezTo>
                    <a:pt x="723" y="39"/>
                    <a:pt x="723" y="39"/>
                    <a:pt x="734" y="39"/>
                  </a:cubicBezTo>
                  <a:cubicBezTo>
                    <a:pt x="734" y="39"/>
                    <a:pt x="734" y="39"/>
                    <a:pt x="734" y="77"/>
                  </a:cubicBezTo>
                  <a:cubicBezTo>
                    <a:pt x="734" y="89"/>
                    <a:pt x="740" y="95"/>
                    <a:pt x="751" y="95"/>
                  </a:cubicBezTo>
                  <a:cubicBezTo>
                    <a:pt x="755" y="95"/>
                    <a:pt x="758" y="95"/>
                    <a:pt x="760" y="93"/>
                  </a:cubicBezTo>
                  <a:close/>
                  <a:moveTo>
                    <a:pt x="820" y="94"/>
                  </a:moveTo>
                  <a:cubicBezTo>
                    <a:pt x="820" y="94"/>
                    <a:pt x="820" y="94"/>
                    <a:pt x="820" y="94"/>
                  </a:cubicBezTo>
                  <a:cubicBezTo>
                    <a:pt x="820" y="30"/>
                    <a:pt x="820" y="30"/>
                    <a:pt x="820" y="30"/>
                  </a:cubicBezTo>
                  <a:cubicBezTo>
                    <a:pt x="820" y="30"/>
                    <a:pt x="820" y="30"/>
                    <a:pt x="810" y="30"/>
                  </a:cubicBezTo>
                  <a:cubicBezTo>
                    <a:pt x="810" y="30"/>
                    <a:pt x="810" y="30"/>
                    <a:pt x="810" y="67"/>
                  </a:cubicBezTo>
                  <a:cubicBezTo>
                    <a:pt x="810" y="73"/>
                    <a:pt x="809" y="78"/>
                    <a:pt x="805" y="81"/>
                  </a:cubicBezTo>
                  <a:cubicBezTo>
                    <a:pt x="802" y="85"/>
                    <a:pt x="798" y="87"/>
                    <a:pt x="793" y="87"/>
                  </a:cubicBezTo>
                  <a:cubicBezTo>
                    <a:pt x="783" y="87"/>
                    <a:pt x="778" y="80"/>
                    <a:pt x="778" y="67"/>
                  </a:cubicBezTo>
                  <a:cubicBezTo>
                    <a:pt x="778" y="67"/>
                    <a:pt x="778" y="67"/>
                    <a:pt x="778" y="30"/>
                  </a:cubicBezTo>
                  <a:cubicBezTo>
                    <a:pt x="778" y="30"/>
                    <a:pt x="778" y="30"/>
                    <a:pt x="768" y="30"/>
                  </a:cubicBezTo>
                  <a:cubicBezTo>
                    <a:pt x="768" y="30"/>
                    <a:pt x="768" y="30"/>
                    <a:pt x="768" y="68"/>
                  </a:cubicBezTo>
                  <a:cubicBezTo>
                    <a:pt x="768" y="86"/>
                    <a:pt x="775" y="95"/>
                    <a:pt x="790" y="95"/>
                  </a:cubicBezTo>
                  <a:cubicBezTo>
                    <a:pt x="799" y="95"/>
                    <a:pt x="805" y="92"/>
                    <a:pt x="810" y="84"/>
                  </a:cubicBezTo>
                  <a:cubicBezTo>
                    <a:pt x="810" y="84"/>
                    <a:pt x="810" y="84"/>
                    <a:pt x="810" y="84"/>
                  </a:cubicBezTo>
                  <a:cubicBezTo>
                    <a:pt x="810" y="84"/>
                    <a:pt x="810" y="84"/>
                    <a:pt x="810" y="94"/>
                  </a:cubicBezTo>
                  <a:cubicBezTo>
                    <a:pt x="810" y="94"/>
                    <a:pt x="810" y="94"/>
                    <a:pt x="820" y="94"/>
                  </a:cubicBezTo>
                  <a:close/>
                  <a:moveTo>
                    <a:pt x="889" y="94"/>
                  </a:moveTo>
                  <a:cubicBezTo>
                    <a:pt x="889" y="94"/>
                    <a:pt x="889" y="94"/>
                    <a:pt x="889" y="94"/>
                  </a:cubicBezTo>
                  <a:cubicBezTo>
                    <a:pt x="889" y="55"/>
                    <a:pt x="889" y="55"/>
                    <a:pt x="889" y="55"/>
                  </a:cubicBezTo>
                  <a:cubicBezTo>
                    <a:pt x="889" y="47"/>
                    <a:pt x="887" y="40"/>
                    <a:pt x="883" y="36"/>
                  </a:cubicBezTo>
                  <a:cubicBezTo>
                    <a:pt x="880" y="31"/>
                    <a:pt x="875" y="29"/>
                    <a:pt x="868" y="29"/>
                  </a:cubicBezTo>
                  <a:cubicBezTo>
                    <a:pt x="858" y="29"/>
                    <a:pt x="851" y="33"/>
                    <a:pt x="846" y="41"/>
                  </a:cubicBezTo>
                  <a:cubicBezTo>
                    <a:pt x="846" y="41"/>
                    <a:pt x="846" y="41"/>
                    <a:pt x="846" y="41"/>
                  </a:cubicBezTo>
                  <a:cubicBezTo>
                    <a:pt x="846" y="41"/>
                    <a:pt x="846" y="41"/>
                    <a:pt x="846" y="30"/>
                  </a:cubicBezTo>
                  <a:cubicBezTo>
                    <a:pt x="846" y="30"/>
                    <a:pt x="846" y="30"/>
                    <a:pt x="836" y="30"/>
                  </a:cubicBezTo>
                  <a:cubicBezTo>
                    <a:pt x="836" y="30"/>
                    <a:pt x="836" y="30"/>
                    <a:pt x="836" y="94"/>
                  </a:cubicBezTo>
                  <a:cubicBezTo>
                    <a:pt x="836" y="94"/>
                    <a:pt x="836" y="94"/>
                    <a:pt x="846" y="94"/>
                  </a:cubicBezTo>
                  <a:cubicBezTo>
                    <a:pt x="846" y="94"/>
                    <a:pt x="846" y="94"/>
                    <a:pt x="846" y="58"/>
                  </a:cubicBezTo>
                  <a:cubicBezTo>
                    <a:pt x="846" y="52"/>
                    <a:pt x="848" y="47"/>
                    <a:pt x="851" y="43"/>
                  </a:cubicBezTo>
                  <a:cubicBezTo>
                    <a:pt x="855" y="39"/>
                    <a:pt x="859" y="37"/>
                    <a:pt x="864" y="37"/>
                  </a:cubicBezTo>
                  <a:cubicBezTo>
                    <a:pt x="874" y="37"/>
                    <a:pt x="879" y="44"/>
                    <a:pt x="879" y="58"/>
                  </a:cubicBezTo>
                  <a:cubicBezTo>
                    <a:pt x="879" y="58"/>
                    <a:pt x="879" y="58"/>
                    <a:pt x="879" y="94"/>
                  </a:cubicBezTo>
                  <a:cubicBezTo>
                    <a:pt x="879" y="94"/>
                    <a:pt x="879" y="94"/>
                    <a:pt x="889" y="94"/>
                  </a:cubicBezTo>
                  <a:close/>
                  <a:moveTo>
                    <a:pt x="954" y="65"/>
                  </a:moveTo>
                  <a:cubicBezTo>
                    <a:pt x="954" y="65"/>
                    <a:pt x="954" y="65"/>
                    <a:pt x="954" y="65"/>
                  </a:cubicBezTo>
                  <a:cubicBezTo>
                    <a:pt x="954" y="59"/>
                    <a:pt x="954" y="59"/>
                    <a:pt x="954" y="59"/>
                  </a:cubicBezTo>
                  <a:cubicBezTo>
                    <a:pt x="954" y="50"/>
                    <a:pt x="951" y="43"/>
                    <a:pt x="947" y="37"/>
                  </a:cubicBezTo>
                  <a:cubicBezTo>
                    <a:pt x="943" y="32"/>
                    <a:pt x="936" y="29"/>
                    <a:pt x="928" y="29"/>
                  </a:cubicBezTo>
                  <a:cubicBezTo>
                    <a:pt x="919" y="29"/>
                    <a:pt x="913" y="32"/>
                    <a:pt x="907" y="37"/>
                  </a:cubicBezTo>
                  <a:cubicBezTo>
                    <a:pt x="901" y="44"/>
                    <a:pt x="898" y="52"/>
                    <a:pt x="898" y="62"/>
                  </a:cubicBezTo>
                  <a:cubicBezTo>
                    <a:pt x="898" y="73"/>
                    <a:pt x="901" y="82"/>
                    <a:pt x="906" y="87"/>
                  </a:cubicBezTo>
                  <a:cubicBezTo>
                    <a:pt x="911" y="93"/>
                    <a:pt x="918" y="95"/>
                    <a:pt x="927" y="95"/>
                  </a:cubicBezTo>
                  <a:cubicBezTo>
                    <a:pt x="936" y="95"/>
                    <a:pt x="944" y="94"/>
                    <a:pt x="949" y="89"/>
                  </a:cubicBezTo>
                  <a:cubicBezTo>
                    <a:pt x="949" y="89"/>
                    <a:pt x="949" y="89"/>
                    <a:pt x="949" y="80"/>
                  </a:cubicBezTo>
                  <a:cubicBezTo>
                    <a:pt x="943" y="84"/>
                    <a:pt x="936" y="87"/>
                    <a:pt x="929" y="87"/>
                  </a:cubicBezTo>
                  <a:cubicBezTo>
                    <a:pt x="923" y="87"/>
                    <a:pt x="918" y="85"/>
                    <a:pt x="914" y="81"/>
                  </a:cubicBezTo>
                  <a:cubicBezTo>
                    <a:pt x="911" y="77"/>
                    <a:pt x="909" y="72"/>
                    <a:pt x="909" y="65"/>
                  </a:cubicBezTo>
                  <a:cubicBezTo>
                    <a:pt x="909" y="65"/>
                    <a:pt x="909" y="65"/>
                    <a:pt x="954" y="65"/>
                  </a:cubicBezTo>
                  <a:close/>
                  <a:moveTo>
                    <a:pt x="943" y="56"/>
                  </a:moveTo>
                  <a:cubicBezTo>
                    <a:pt x="943" y="56"/>
                    <a:pt x="943" y="56"/>
                    <a:pt x="943" y="56"/>
                  </a:cubicBezTo>
                  <a:cubicBezTo>
                    <a:pt x="909" y="56"/>
                    <a:pt x="909" y="56"/>
                    <a:pt x="909" y="56"/>
                  </a:cubicBezTo>
                  <a:cubicBezTo>
                    <a:pt x="910" y="50"/>
                    <a:pt x="912" y="46"/>
                    <a:pt x="915" y="43"/>
                  </a:cubicBezTo>
                  <a:cubicBezTo>
                    <a:pt x="918" y="39"/>
                    <a:pt x="922" y="37"/>
                    <a:pt x="927" y="37"/>
                  </a:cubicBezTo>
                  <a:cubicBezTo>
                    <a:pt x="933" y="37"/>
                    <a:pt x="936" y="39"/>
                    <a:pt x="939" y="42"/>
                  </a:cubicBezTo>
                  <a:cubicBezTo>
                    <a:pt x="942" y="46"/>
                    <a:pt x="943" y="50"/>
                    <a:pt x="943" y="56"/>
                  </a:cubicBezTo>
                  <a:close/>
                  <a:moveTo>
                    <a:pt x="43" y="46"/>
                  </a:moveTo>
                  <a:cubicBezTo>
                    <a:pt x="43" y="7"/>
                    <a:pt x="43" y="7"/>
                    <a:pt x="43" y="7"/>
                  </a:cubicBezTo>
                  <a:cubicBezTo>
                    <a:pt x="95" y="0"/>
                    <a:pt x="95" y="0"/>
                    <a:pt x="95" y="0"/>
                  </a:cubicBezTo>
                  <a:cubicBezTo>
                    <a:pt x="95" y="46"/>
                    <a:pt x="95" y="46"/>
                    <a:pt x="95" y="46"/>
                  </a:cubicBezTo>
                  <a:cubicBezTo>
                    <a:pt x="43" y="46"/>
                    <a:pt x="43" y="46"/>
                    <a:pt x="43" y="46"/>
                  </a:cubicBezTo>
                  <a:cubicBezTo>
                    <a:pt x="43" y="46"/>
                    <a:pt x="43" y="46"/>
                    <a:pt x="43" y="46"/>
                  </a:cubicBezTo>
                  <a:close/>
                  <a:moveTo>
                    <a:pt x="39" y="8"/>
                  </a:moveTo>
                  <a:cubicBezTo>
                    <a:pt x="0" y="14"/>
                    <a:pt x="0" y="14"/>
                    <a:pt x="0" y="14"/>
                  </a:cubicBezTo>
                  <a:cubicBezTo>
                    <a:pt x="0" y="46"/>
                    <a:pt x="0" y="46"/>
                    <a:pt x="0" y="46"/>
                  </a:cubicBezTo>
                  <a:cubicBezTo>
                    <a:pt x="39" y="46"/>
                    <a:pt x="39" y="46"/>
                    <a:pt x="39" y="46"/>
                  </a:cubicBezTo>
                  <a:cubicBezTo>
                    <a:pt x="39" y="8"/>
                    <a:pt x="39" y="8"/>
                    <a:pt x="39" y="8"/>
                  </a:cubicBezTo>
                  <a:cubicBezTo>
                    <a:pt x="39" y="8"/>
                    <a:pt x="39" y="8"/>
                    <a:pt x="39" y="8"/>
                  </a:cubicBezTo>
                  <a:close/>
                  <a:moveTo>
                    <a:pt x="0" y="49"/>
                  </a:moveTo>
                  <a:cubicBezTo>
                    <a:pt x="0" y="82"/>
                    <a:pt x="0" y="82"/>
                    <a:pt x="0" y="82"/>
                  </a:cubicBezTo>
                  <a:cubicBezTo>
                    <a:pt x="39" y="88"/>
                    <a:pt x="39" y="88"/>
                    <a:pt x="39" y="88"/>
                  </a:cubicBezTo>
                  <a:cubicBezTo>
                    <a:pt x="39" y="49"/>
                    <a:pt x="39" y="49"/>
                    <a:pt x="39" y="49"/>
                  </a:cubicBezTo>
                  <a:cubicBezTo>
                    <a:pt x="0" y="49"/>
                    <a:pt x="0" y="49"/>
                    <a:pt x="0" y="49"/>
                  </a:cubicBezTo>
                  <a:cubicBezTo>
                    <a:pt x="0" y="49"/>
                    <a:pt x="0" y="49"/>
                    <a:pt x="0" y="49"/>
                  </a:cubicBezTo>
                  <a:close/>
                  <a:moveTo>
                    <a:pt x="43" y="88"/>
                  </a:moveTo>
                  <a:cubicBezTo>
                    <a:pt x="95" y="96"/>
                    <a:pt x="95" y="96"/>
                    <a:pt x="95" y="96"/>
                  </a:cubicBezTo>
                  <a:cubicBezTo>
                    <a:pt x="95" y="49"/>
                    <a:pt x="95" y="49"/>
                    <a:pt x="95" y="49"/>
                  </a:cubicBezTo>
                  <a:cubicBezTo>
                    <a:pt x="43" y="49"/>
                    <a:pt x="43" y="49"/>
                    <a:pt x="43" y="49"/>
                  </a:cubicBezTo>
                  <a:cubicBezTo>
                    <a:pt x="43" y="88"/>
                    <a:pt x="43" y="88"/>
                    <a:pt x="43" y="88"/>
                  </a:cubicBezTo>
                  <a:cubicBezTo>
                    <a:pt x="43" y="88"/>
                    <a:pt x="43" y="88"/>
                    <a:pt x="43" y="88"/>
                  </a:cubicBezTo>
                  <a:close/>
                </a:path>
              </a:pathLst>
            </a:custGeom>
            <a:solidFill>
              <a:srgbClr val="FFFFFF"/>
            </a:solidFill>
            <a:ln>
              <a:noFill/>
            </a:ln>
          </p:spPr>
          <p:txBody>
            <a:bodyPr vert="horz" wrap="square" lIns="89606" tIns="44804" rIns="89606" bIns="44804" numCol="1" anchor="t" anchorCtr="0" compatLnSpc="1">
              <a:prstTxWarp prst="textNoShape">
                <a:avLst/>
              </a:prstTxWarp>
            </a:bodyPr>
            <a:lstStyle/>
            <a:p>
              <a:pPr defTabSz="896030">
                <a:defRPr/>
              </a:pPr>
              <a:endParaRPr lang="en-US" sz="1764" kern="0" dirty="0">
                <a:solidFill>
                  <a:srgbClr val="FFFFFF"/>
                </a:solidFill>
              </a:endParaRPr>
            </a:p>
          </p:txBody>
        </p:sp>
      </p:grpSp>
      <p:sp>
        <p:nvSpPr>
          <p:cNvPr id="61" name="Freeform 579"/>
          <p:cNvSpPr>
            <a:spLocks noChangeAspect="1" noEditPoints="1"/>
          </p:cNvSpPr>
          <p:nvPr/>
        </p:nvSpPr>
        <p:spPr bwMode="auto">
          <a:xfrm>
            <a:off x="3587506" y="2989441"/>
            <a:ext cx="1441117" cy="1441118"/>
          </a:xfrm>
          <a:custGeom>
            <a:avLst/>
            <a:gdLst>
              <a:gd name="T0" fmla="*/ 346 w 693"/>
              <a:gd name="T1" fmla="*/ 0 h 693"/>
              <a:gd name="T2" fmla="*/ 0 w 693"/>
              <a:gd name="T3" fmla="*/ 347 h 693"/>
              <a:gd name="T4" fmla="*/ 346 w 693"/>
              <a:gd name="T5" fmla="*/ 693 h 693"/>
              <a:gd name="T6" fmla="*/ 693 w 693"/>
              <a:gd name="T7" fmla="*/ 347 h 693"/>
              <a:gd name="T8" fmla="*/ 346 w 693"/>
              <a:gd name="T9" fmla="*/ 0 h 693"/>
              <a:gd name="T10" fmla="*/ 346 w 693"/>
              <a:gd name="T11" fmla="*/ 674 h 693"/>
              <a:gd name="T12" fmla="*/ 19 w 693"/>
              <a:gd name="T13" fmla="*/ 347 h 693"/>
              <a:gd name="T14" fmla="*/ 346 w 693"/>
              <a:gd name="T15" fmla="*/ 19 h 693"/>
              <a:gd name="T16" fmla="*/ 674 w 693"/>
              <a:gd name="T17" fmla="*/ 347 h 693"/>
              <a:gd name="T18" fmla="*/ 346 w 693"/>
              <a:gd name="T19" fmla="*/ 6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3" h="693">
                <a:moveTo>
                  <a:pt x="346" y="0"/>
                </a:moveTo>
                <a:cubicBezTo>
                  <a:pt x="155" y="0"/>
                  <a:pt x="0" y="155"/>
                  <a:pt x="0" y="347"/>
                </a:cubicBezTo>
                <a:cubicBezTo>
                  <a:pt x="0" y="538"/>
                  <a:pt x="155" y="693"/>
                  <a:pt x="346" y="693"/>
                </a:cubicBezTo>
                <a:cubicBezTo>
                  <a:pt x="538" y="693"/>
                  <a:pt x="693" y="538"/>
                  <a:pt x="693" y="347"/>
                </a:cubicBezTo>
                <a:cubicBezTo>
                  <a:pt x="693" y="155"/>
                  <a:pt x="538" y="0"/>
                  <a:pt x="346" y="0"/>
                </a:cubicBezTo>
                <a:close/>
                <a:moveTo>
                  <a:pt x="346" y="674"/>
                </a:moveTo>
                <a:cubicBezTo>
                  <a:pt x="165" y="674"/>
                  <a:pt x="19" y="527"/>
                  <a:pt x="19" y="347"/>
                </a:cubicBezTo>
                <a:cubicBezTo>
                  <a:pt x="19" y="166"/>
                  <a:pt x="165" y="19"/>
                  <a:pt x="346" y="19"/>
                </a:cubicBezTo>
                <a:cubicBezTo>
                  <a:pt x="527" y="19"/>
                  <a:pt x="674" y="166"/>
                  <a:pt x="674" y="347"/>
                </a:cubicBezTo>
                <a:cubicBezTo>
                  <a:pt x="674" y="527"/>
                  <a:pt x="527" y="674"/>
                  <a:pt x="346" y="6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dirty="0">
              <a:solidFill>
                <a:srgbClr val="505050"/>
              </a:solidFill>
            </a:endParaRPr>
          </a:p>
        </p:txBody>
      </p:sp>
      <p:sp>
        <p:nvSpPr>
          <p:cNvPr id="62" name="Rectangle 61"/>
          <p:cNvSpPr/>
          <p:nvPr/>
        </p:nvSpPr>
        <p:spPr bwMode="auto">
          <a:xfrm>
            <a:off x="7944575" y="1686756"/>
            <a:ext cx="3975845" cy="4204445"/>
          </a:xfrm>
          <a:prstGeom prst="rect">
            <a:avLst/>
          </a:prstGeom>
          <a:noFill/>
          <a:ln>
            <a:solidFill>
              <a:srgbClr val="00827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1567" spc="-29" dirty="0" err="1">
              <a:solidFill>
                <a:srgbClr val="787878"/>
              </a:solidFill>
            </a:endParaRPr>
          </a:p>
        </p:txBody>
      </p:sp>
      <p:pic>
        <p:nvPicPr>
          <p:cNvPr id="63" name="Picture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45380" y="2387013"/>
            <a:ext cx="1844842" cy="427742"/>
          </a:xfrm>
          <a:prstGeom prst="rect">
            <a:avLst/>
          </a:prstGeom>
        </p:spPr>
      </p:pic>
      <p:sp>
        <p:nvSpPr>
          <p:cNvPr id="64" name="Rectangle 63"/>
          <p:cNvSpPr/>
          <p:nvPr/>
        </p:nvSpPr>
        <p:spPr>
          <a:xfrm>
            <a:off x="1393172" y="2718595"/>
            <a:ext cx="1408527" cy="241156"/>
          </a:xfrm>
          <a:prstGeom prst="rect">
            <a:avLst/>
          </a:prstGeom>
          <a:ln>
            <a:noFill/>
          </a:ln>
        </p:spPr>
        <p:txBody>
          <a:bodyPr wrap="none" lIns="0" tIns="0" rIns="0" bIns="0" anchor="ctr">
            <a:spAutoFit/>
          </a:bodyPr>
          <a:lstStyle/>
          <a:p>
            <a:pPr algn="ctr" defTabSz="1096069" fontAlgn="base">
              <a:spcAft>
                <a:spcPct val="0"/>
              </a:spcAft>
            </a:pPr>
            <a:r>
              <a:rPr lang="en-US" sz="1567" dirty="0">
                <a:ln>
                  <a:solidFill>
                    <a:srgbClr val="FFFFFF">
                      <a:alpha val="0"/>
                    </a:srgbClr>
                  </a:solidFill>
                </a:ln>
                <a:solidFill>
                  <a:srgbClr val="FFFFFF"/>
                </a:solidFill>
              </a:rPr>
              <a:t>Active Directory</a:t>
            </a:r>
          </a:p>
        </p:txBody>
      </p:sp>
      <p:pic>
        <p:nvPicPr>
          <p:cNvPr id="65" name="Picture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035399" y="1336214"/>
            <a:ext cx="1741907" cy="553340"/>
          </a:xfrm>
          <a:prstGeom prst="rect">
            <a:avLst/>
          </a:prstGeom>
        </p:spPr>
      </p:pic>
    </p:spTree>
    <p:extLst>
      <p:ext uri="{BB962C8B-B14F-4D97-AF65-F5344CB8AC3E}">
        <p14:creationId xmlns:p14="http://schemas.microsoft.com/office/powerpoint/2010/main" val="631832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4"/>
                                        </p:tgtEl>
                                        <p:attrNameLst>
                                          <p:attrName>style.visibility</p:attrName>
                                        </p:attrNameLst>
                                      </p:cBhvr>
                                      <p:to>
                                        <p:strVal val="visible"/>
                                      </p:to>
                                    </p:set>
                                    <p:animEffect transition="in" filter="fade">
                                      <p:cBhvr>
                                        <p:cTn id="7" dur="500"/>
                                        <p:tgtEl>
                                          <p:spTgt spid="27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fade">
                                      <p:cBhvr>
                                        <p:cTn id="10" dur="500"/>
                                        <p:tgtEl>
                                          <p:spTgt spid="6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1"/>
                                        </p:tgtEl>
                                        <p:attrNameLst>
                                          <p:attrName>style.visibility</p:attrName>
                                        </p:attrNameLst>
                                      </p:cBhvr>
                                      <p:to>
                                        <p:strVal val="visible"/>
                                      </p:to>
                                    </p:set>
                                    <p:animEffect transition="in" filter="fade">
                                      <p:cBhvr>
                                        <p:cTn id="13" dur="500"/>
                                        <p:tgtEl>
                                          <p:spTgt spid="61"/>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233"/>
                                        </p:tgtEl>
                                        <p:attrNameLst>
                                          <p:attrName>style.visibility</p:attrName>
                                        </p:attrNameLst>
                                      </p:cBhvr>
                                      <p:to>
                                        <p:strVal val="visible"/>
                                      </p:to>
                                    </p:set>
                                    <p:animEffect transition="in" filter="fade">
                                      <p:cBhvr>
                                        <p:cTn id="17" dur="500"/>
                                        <p:tgtEl>
                                          <p:spTgt spid="233"/>
                                        </p:tgtEl>
                                      </p:cBhvr>
                                    </p:animEffect>
                                  </p:childTnLst>
                                </p:cTn>
                              </p:par>
                            </p:childTnLst>
                          </p:cTn>
                        </p:par>
                        <p:par>
                          <p:cTn id="18" fill="hold">
                            <p:stCondLst>
                              <p:cond delay="1000"/>
                            </p:stCondLst>
                            <p:childTnLst>
                              <p:par>
                                <p:cTn id="19" presetID="22" presetClass="entr" presetSubtype="4" fill="hold" nodeType="afterEffect">
                                  <p:stCondLst>
                                    <p:cond delay="0"/>
                                  </p:stCondLst>
                                  <p:childTnLst>
                                    <p:set>
                                      <p:cBhvr>
                                        <p:cTn id="20" dur="1" fill="hold">
                                          <p:stCondLst>
                                            <p:cond delay="0"/>
                                          </p:stCondLst>
                                        </p:cTn>
                                        <p:tgtEl>
                                          <p:spTgt spid="248"/>
                                        </p:tgtEl>
                                        <p:attrNameLst>
                                          <p:attrName>style.visibility</p:attrName>
                                        </p:attrNameLst>
                                      </p:cBhvr>
                                      <p:to>
                                        <p:strVal val="visible"/>
                                      </p:to>
                                    </p:set>
                                    <p:animEffect transition="in" filter="wipe(down)">
                                      <p:cBhvr>
                                        <p:cTn id="21" dur="500"/>
                                        <p:tgtEl>
                                          <p:spTgt spid="248"/>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238"/>
                                        </p:tgtEl>
                                        <p:attrNameLst>
                                          <p:attrName>style.visibility</p:attrName>
                                        </p:attrNameLst>
                                      </p:cBhvr>
                                      <p:to>
                                        <p:strVal val="visible"/>
                                      </p:to>
                                    </p:set>
                                    <p:animEffect transition="in" filter="fade">
                                      <p:cBhvr>
                                        <p:cTn id="25" dur="500"/>
                                        <p:tgtEl>
                                          <p:spTgt spid="238"/>
                                        </p:tgtEl>
                                      </p:cBhvr>
                                    </p:animEffec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269"/>
                                        </p:tgtEl>
                                        <p:attrNameLst>
                                          <p:attrName>style.visibility</p:attrName>
                                        </p:attrNameLst>
                                      </p:cBhvr>
                                      <p:to>
                                        <p:strVal val="visible"/>
                                      </p:to>
                                    </p:set>
                                    <p:animEffect transition="in" filter="fade">
                                      <p:cBhvr>
                                        <p:cTn id="29" dur="500"/>
                                        <p:tgtEl>
                                          <p:spTgt spid="269"/>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xit" presetSubtype="0" fill="hold" grpId="1" nodeType="clickEffect">
                                  <p:stCondLst>
                                    <p:cond delay="0"/>
                                  </p:stCondLst>
                                  <p:childTnLst>
                                    <p:set>
                                      <p:cBhvr>
                                        <p:cTn id="33" dur="1" fill="hold">
                                          <p:stCondLst>
                                            <p:cond delay="0"/>
                                          </p:stCondLst>
                                        </p:cTn>
                                        <p:tgtEl>
                                          <p:spTgt spid="269"/>
                                        </p:tgtEl>
                                        <p:attrNameLst>
                                          <p:attrName>style.visibility</p:attrName>
                                        </p:attrNameLst>
                                      </p:cBhvr>
                                      <p:to>
                                        <p:strVal val="hidden"/>
                                      </p:to>
                                    </p:set>
                                  </p:childTnLst>
                                </p:cTn>
                              </p:par>
                              <p:par>
                                <p:cTn id="34" presetID="1" presetClass="exit" presetSubtype="0" fill="hold" nodeType="withEffect">
                                  <p:stCondLst>
                                    <p:cond delay="0"/>
                                  </p:stCondLst>
                                  <p:childTnLst>
                                    <p:set>
                                      <p:cBhvr>
                                        <p:cTn id="35" dur="1" fill="hold">
                                          <p:stCondLst>
                                            <p:cond delay="0"/>
                                          </p:stCondLst>
                                        </p:cTn>
                                        <p:tgtEl>
                                          <p:spTgt spid="248"/>
                                        </p:tgtEl>
                                        <p:attrNameLst>
                                          <p:attrName>style.visibility</p:attrName>
                                        </p:attrNameLst>
                                      </p:cBhvr>
                                      <p:to>
                                        <p:strVal val="hidden"/>
                                      </p:to>
                                    </p:set>
                                  </p:childTnLst>
                                </p:cTn>
                              </p:par>
                              <p:par>
                                <p:cTn id="36" presetID="1" presetClass="exit" presetSubtype="0" fill="hold" nodeType="withEffect">
                                  <p:stCondLst>
                                    <p:cond delay="0"/>
                                  </p:stCondLst>
                                  <p:childTnLst>
                                    <p:set>
                                      <p:cBhvr>
                                        <p:cTn id="37" dur="1" fill="hold">
                                          <p:stCondLst>
                                            <p:cond delay="0"/>
                                          </p:stCondLst>
                                        </p:cTn>
                                        <p:tgtEl>
                                          <p:spTgt spid="238"/>
                                        </p:tgtEl>
                                        <p:attrNameLst>
                                          <p:attrName>style.visibility</p:attrName>
                                        </p:attrNameLst>
                                      </p:cBhvr>
                                      <p:to>
                                        <p:strVal val="hidden"/>
                                      </p:to>
                                    </p:set>
                                  </p:childTnLst>
                                </p:cTn>
                              </p:par>
                            </p:childTnLst>
                          </p:cTn>
                        </p:par>
                        <p:par>
                          <p:cTn id="38" fill="hold">
                            <p:stCondLst>
                              <p:cond delay="0"/>
                            </p:stCondLst>
                            <p:childTnLst>
                              <p:par>
                                <p:cTn id="39" presetID="10" presetClass="entr" presetSubtype="0" fill="hold" grpId="0" nodeType="afterEffect">
                                  <p:stCondLst>
                                    <p:cond delay="0"/>
                                  </p:stCondLst>
                                  <p:childTnLst>
                                    <p:set>
                                      <p:cBhvr>
                                        <p:cTn id="40" dur="1" fill="hold">
                                          <p:stCondLst>
                                            <p:cond delay="0"/>
                                          </p:stCondLst>
                                        </p:cTn>
                                        <p:tgtEl>
                                          <p:spTgt spid="279"/>
                                        </p:tgtEl>
                                        <p:attrNameLst>
                                          <p:attrName>style.visibility</p:attrName>
                                        </p:attrNameLst>
                                      </p:cBhvr>
                                      <p:to>
                                        <p:strVal val="visible"/>
                                      </p:to>
                                    </p:set>
                                    <p:animEffect transition="in" filter="fade">
                                      <p:cBhvr>
                                        <p:cTn id="41" dur="500"/>
                                        <p:tgtEl>
                                          <p:spTgt spid="279"/>
                                        </p:tgtEl>
                                      </p:cBhvr>
                                    </p:animEffect>
                                  </p:childTnLst>
                                </p:cTn>
                              </p:par>
                            </p:childTnLst>
                          </p:cTn>
                        </p:par>
                        <p:par>
                          <p:cTn id="42" fill="hold">
                            <p:stCondLst>
                              <p:cond delay="500"/>
                            </p:stCondLst>
                            <p:childTnLst>
                              <p:par>
                                <p:cTn id="43" presetID="22" presetClass="entr" presetSubtype="4" fill="hold" nodeType="afterEffect">
                                  <p:stCondLst>
                                    <p:cond delay="0"/>
                                  </p:stCondLst>
                                  <p:childTnLst>
                                    <p:set>
                                      <p:cBhvr>
                                        <p:cTn id="44" dur="1" fill="hold">
                                          <p:stCondLst>
                                            <p:cond delay="0"/>
                                          </p:stCondLst>
                                        </p:cTn>
                                        <p:tgtEl>
                                          <p:spTgt spid="248"/>
                                        </p:tgtEl>
                                        <p:attrNameLst>
                                          <p:attrName>style.visibility</p:attrName>
                                        </p:attrNameLst>
                                      </p:cBhvr>
                                      <p:to>
                                        <p:strVal val="visible"/>
                                      </p:to>
                                    </p:set>
                                    <p:animEffect transition="in" filter="wipe(down)">
                                      <p:cBhvr>
                                        <p:cTn id="45" dur="500"/>
                                        <p:tgtEl>
                                          <p:spTgt spid="248"/>
                                        </p:tgtEl>
                                      </p:cBhvr>
                                    </p:animEffect>
                                  </p:childTnLst>
                                </p:cTn>
                              </p:par>
                            </p:childTnLst>
                          </p:cTn>
                        </p:par>
                        <p:par>
                          <p:cTn id="46" fill="hold">
                            <p:stCondLst>
                              <p:cond delay="1000"/>
                            </p:stCondLst>
                            <p:childTnLst>
                              <p:par>
                                <p:cTn id="47" presetID="10" presetClass="entr" presetSubtype="0" fill="hold" nodeType="afterEffect">
                                  <p:stCondLst>
                                    <p:cond delay="0"/>
                                  </p:stCondLst>
                                  <p:childTnLst>
                                    <p:set>
                                      <p:cBhvr>
                                        <p:cTn id="48" dur="1" fill="hold">
                                          <p:stCondLst>
                                            <p:cond delay="0"/>
                                          </p:stCondLst>
                                        </p:cTn>
                                        <p:tgtEl>
                                          <p:spTgt spid="238"/>
                                        </p:tgtEl>
                                        <p:attrNameLst>
                                          <p:attrName>style.visibility</p:attrName>
                                        </p:attrNameLst>
                                      </p:cBhvr>
                                      <p:to>
                                        <p:strVal val="visible"/>
                                      </p:to>
                                    </p:set>
                                    <p:animEffect transition="in" filter="fade">
                                      <p:cBhvr>
                                        <p:cTn id="49" dur="500"/>
                                        <p:tgtEl>
                                          <p:spTgt spid="238"/>
                                        </p:tgtEl>
                                      </p:cBhvr>
                                    </p:animEffect>
                                  </p:childTnLst>
                                </p:cTn>
                              </p:par>
                              <p:par>
                                <p:cTn id="50" presetID="10" presetClass="entr" presetSubtype="0" fill="hold" nodeType="withEffect">
                                  <p:stCondLst>
                                    <p:cond delay="0"/>
                                  </p:stCondLst>
                                  <p:childTnLst>
                                    <p:set>
                                      <p:cBhvr>
                                        <p:cTn id="51" dur="1" fill="hold">
                                          <p:stCondLst>
                                            <p:cond delay="0"/>
                                          </p:stCondLst>
                                        </p:cTn>
                                        <p:tgtEl>
                                          <p:spTgt spid="51"/>
                                        </p:tgtEl>
                                        <p:attrNameLst>
                                          <p:attrName>style.visibility</p:attrName>
                                        </p:attrNameLst>
                                      </p:cBhvr>
                                      <p:to>
                                        <p:strVal val="visible"/>
                                      </p:to>
                                    </p:set>
                                    <p:animEffect transition="in" filter="fade">
                                      <p:cBhvr>
                                        <p:cTn id="52" dur="500"/>
                                        <p:tgtEl>
                                          <p:spTgt spid="51"/>
                                        </p:tgtEl>
                                      </p:cBhvr>
                                    </p:animEffect>
                                  </p:childTnLst>
                                </p:cTn>
                              </p:par>
                              <p:par>
                                <p:cTn id="53" presetID="10" presetClass="entr" presetSubtype="0" fill="hold" nodeType="withEffect">
                                  <p:stCondLst>
                                    <p:cond delay="0"/>
                                  </p:stCondLst>
                                  <p:childTnLst>
                                    <p:set>
                                      <p:cBhvr>
                                        <p:cTn id="54" dur="1" fill="hold">
                                          <p:stCondLst>
                                            <p:cond delay="0"/>
                                          </p:stCondLst>
                                        </p:cTn>
                                        <p:tgtEl>
                                          <p:spTgt spid="57"/>
                                        </p:tgtEl>
                                        <p:attrNameLst>
                                          <p:attrName>style.visibility</p:attrName>
                                        </p:attrNameLst>
                                      </p:cBhvr>
                                      <p:to>
                                        <p:strVal val="visible"/>
                                      </p:to>
                                    </p:set>
                                    <p:animEffect transition="in" filter="fade">
                                      <p:cBhvr>
                                        <p:cTn id="55" dur="500"/>
                                        <p:tgtEl>
                                          <p:spTgt spid="57"/>
                                        </p:tgtEl>
                                      </p:cBhvr>
                                    </p:animEffect>
                                  </p:childTnLst>
                                </p:cTn>
                              </p:par>
                            </p:childTnLst>
                          </p:cTn>
                        </p:par>
                        <p:par>
                          <p:cTn id="56" fill="hold">
                            <p:stCondLst>
                              <p:cond delay="1500"/>
                            </p:stCondLst>
                            <p:childTnLst>
                              <p:par>
                                <p:cTn id="57" presetID="22" presetClass="entr" presetSubtype="1" fill="hold" nodeType="afterEffect">
                                  <p:stCondLst>
                                    <p:cond delay="0"/>
                                  </p:stCondLst>
                                  <p:childTnLst>
                                    <p:set>
                                      <p:cBhvr>
                                        <p:cTn id="58" dur="1" fill="hold">
                                          <p:stCondLst>
                                            <p:cond delay="0"/>
                                          </p:stCondLst>
                                        </p:cTn>
                                        <p:tgtEl>
                                          <p:spTgt spid="253"/>
                                        </p:tgtEl>
                                        <p:attrNameLst>
                                          <p:attrName>style.visibility</p:attrName>
                                        </p:attrNameLst>
                                      </p:cBhvr>
                                      <p:to>
                                        <p:strVal val="visible"/>
                                      </p:to>
                                    </p:set>
                                    <p:animEffect transition="in" filter="wipe(up)">
                                      <p:cBhvr>
                                        <p:cTn id="59" dur="500"/>
                                        <p:tgtEl>
                                          <p:spTgt spid="253"/>
                                        </p:tgtEl>
                                      </p:cBhvr>
                                    </p:animEffect>
                                  </p:childTnLst>
                                </p:cTn>
                              </p:par>
                              <p:par>
                                <p:cTn id="60" presetID="22" presetClass="entr" presetSubtype="1" fill="hold" nodeType="withEffect">
                                  <p:stCondLst>
                                    <p:cond delay="0"/>
                                  </p:stCondLst>
                                  <p:childTnLst>
                                    <p:set>
                                      <p:cBhvr>
                                        <p:cTn id="61" dur="1" fill="hold">
                                          <p:stCondLst>
                                            <p:cond delay="0"/>
                                          </p:stCondLst>
                                        </p:cTn>
                                        <p:tgtEl>
                                          <p:spTgt spid="265"/>
                                        </p:tgtEl>
                                        <p:attrNameLst>
                                          <p:attrName>style.visibility</p:attrName>
                                        </p:attrNameLst>
                                      </p:cBhvr>
                                      <p:to>
                                        <p:strVal val="visible"/>
                                      </p:to>
                                    </p:set>
                                    <p:animEffect transition="in" filter="wipe(up)">
                                      <p:cBhvr>
                                        <p:cTn id="62" dur="500"/>
                                        <p:tgtEl>
                                          <p:spTgt spid="265"/>
                                        </p:tgtEl>
                                      </p:cBhvr>
                                    </p:animEffect>
                                  </p:childTnLst>
                                </p:cTn>
                              </p:par>
                            </p:childTnLst>
                          </p:cTn>
                        </p:par>
                        <p:par>
                          <p:cTn id="63" fill="hold">
                            <p:stCondLst>
                              <p:cond delay="2000"/>
                            </p:stCondLst>
                            <p:childTnLst>
                              <p:par>
                                <p:cTn id="64" presetID="10" presetClass="entr" presetSubtype="0" fill="hold" nodeType="afterEffect">
                                  <p:stCondLst>
                                    <p:cond delay="0"/>
                                  </p:stCondLst>
                                  <p:childTnLst>
                                    <p:set>
                                      <p:cBhvr>
                                        <p:cTn id="65" dur="1" fill="hold">
                                          <p:stCondLst>
                                            <p:cond delay="0"/>
                                          </p:stCondLst>
                                        </p:cTn>
                                        <p:tgtEl>
                                          <p:spTgt spid="228"/>
                                        </p:tgtEl>
                                        <p:attrNameLst>
                                          <p:attrName>style.visibility</p:attrName>
                                        </p:attrNameLst>
                                      </p:cBhvr>
                                      <p:to>
                                        <p:strVal val="visible"/>
                                      </p:to>
                                    </p:set>
                                    <p:animEffect transition="in" filter="fade">
                                      <p:cBhvr>
                                        <p:cTn id="66" dur="500"/>
                                        <p:tgtEl>
                                          <p:spTgt spid="228"/>
                                        </p:tgtEl>
                                      </p:cBhvr>
                                    </p:animEffect>
                                  </p:childTnLst>
                                </p:cTn>
                              </p:par>
                            </p:childTnLst>
                          </p:cTn>
                        </p:par>
                        <p:par>
                          <p:cTn id="67" fill="hold">
                            <p:stCondLst>
                              <p:cond delay="2500"/>
                            </p:stCondLst>
                            <p:childTnLst>
                              <p:par>
                                <p:cTn id="68" presetID="10" presetClass="entr" presetSubtype="0" fill="hold" nodeType="afterEffect">
                                  <p:stCondLst>
                                    <p:cond delay="0"/>
                                  </p:stCondLst>
                                  <p:childTnLst>
                                    <p:set>
                                      <p:cBhvr>
                                        <p:cTn id="69" dur="1" fill="hold">
                                          <p:stCondLst>
                                            <p:cond delay="0"/>
                                          </p:stCondLst>
                                        </p:cTn>
                                        <p:tgtEl>
                                          <p:spTgt spid="281"/>
                                        </p:tgtEl>
                                        <p:attrNameLst>
                                          <p:attrName>style.visibility</p:attrName>
                                        </p:attrNameLst>
                                      </p:cBhvr>
                                      <p:to>
                                        <p:strVal val="visible"/>
                                      </p:to>
                                    </p:set>
                                    <p:animEffect transition="in" filter="fade">
                                      <p:cBhvr>
                                        <p:cTn id="70" dur="500"/>
                                        <p:tgtEl>
                                          <p:spTgt spid="281"/>
                                        </p:tgtEl>
                                      </p:cBhvr>
                                    </p:animEffect>
                                  </p:childTnLst>
                                </p:cTn>
                              </p:par>
                            </p:childTnLst>
                          </p:cTn>
                        </p:par>
                        <p:par>
                          <p:cTn id="71" fill="hold">
                            <p:stCondLst>
                              <p:cond delay="3000"/>
                            </p:stCondLst>
                            <p:childTnLst>
                              <p:par>
                                <p:cTn id="72" presetID="10" presetClass="entr" presetSubtype="0" fill="hold" grpId="2" nodeType="afterEffect">
                                  <p:stCondLst>
                                    <p:cond delay="0"/>
                                  </p:stCondLst>
                                  <p:childTnLst>
                                    <p:set>
                                      <p:cBhvr>
                                        <p:cTn id="73" dur="1" fill="hold">
                                          <p:stCondLst>
                                            <p:cond delay="0"/>
                                          </p:stCondLst>
                                        </p:cTn>
                                        <p:tgtEl>
                                          <p:spTgt spid="269"/>
                                        </p:tgtEl>
                                        <p:attrNameLst>
                                          <p:attrName>style.visibility</p:attrName>
                                        </p:attrNameLst>
                                      </p:cBhvr>
                                      <p:to>
                                        <p:strVal val="visible"/>
                                      </p:to>
                                    </p:set>
                                    <p:animEffect transition="in" filter="fade">
                                      <p:cBhvr>
                                        <p:cTn id="74" dur="500"/>
                                        <p:tgtEl>
                                          <p:spTgt spid="26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70"/>
                                        </p:tgtEl>
                                        <p:attrNameLst>
                                          <p:attrName>style.visibility</p:attrName>
                                        </p:attrNameLst>
                                      </p:cBhvr>
                                      <p:to>
                                        <p:strVal val="visible"/>
                                      </p:to>
                                    </p:set>
                                    <p:animEffect transition="in" filter="fade">
                                      <p:cBhvr>
                                        <p:cTn id="77" dur="500"/>
                                        <p:tgtEl>
                                          <p:spTgt spid="270"/>
                                        </p:tgtEl>
                                      </p:cBhvr>
                                    </p:animEffect>
                                  </p:childTnLst>
                                </p:cTn>
                              </p:par>
                            </p:childTnLst>
                          </p:cTn>
                        </p:par>
                      </p:childTnLst>
                    </p:cTn>
                  </p:par>
                  <p:par>
                    <p:cTn id="78" fill="hold">
                      <p:stCondLst>
                        <p:cond delay="indefinite"/>
                      </p:stCondLst>
                      <p:childTnLst>
                        <p:par>
                          <p:cTn id="79" fill="hold">
                            <p:stCondLst>
                              <p:cond delay="0"/>
                            </p:stCondLst>
                            <p:childTnLst>
                              <p:par>
                                <p:cTn id="80" presetID="1" presetClass="exit" presetSubtype="0" fill="hold" nodeType="clickEffect">
                                  <p:stCondLst>
                                    <p:cond delay="0"/>
                                  </p:stCondLst>
                                  <p:childTnLst>
                                    <p:set>
                                      <p:cBhvr>
                                        <p:cTn id="81" dur="1" fill="hold">
                                          <p:stCondLst>
                                            <p:cond delay="0"/>
                                          </p:stCondLst>
                                        </p:cTn>
                                        <p:tgtEl>
                                          <p:spTgt spid="248"/>
                                        </p:tgtEl>
                                        <p:attrNameLst>
                                          <p:attrName>style.visibility</p:attrName>
                                        </p:attrNameLst>
                                      </p:cBhvr>
                                      <p:to>
                                        <p:strVal val="hidden"/>
                                      </p:to>
                                    </p:set>
                                  </p:childTnLst>
                                </p:cTn>
                              </p:par>
                              <p:par>
                                <p:cTn id="82" presetID="1" presetClass="exit" presetSubtype="0" fill="hold" nodeType="withEffect">
                                  <p:stCondLst>
                                    <p:cond delay="0"/>
                                  </p:stCondLst>
                                  <p:childTnLst>
                                    <p:set>
                                      <p:cBhvr>
                                        <p:cTn id="83" dur="1" fill="hold">
                                          <p:stCondLst>
                                            <p:cond delay="0"/>
                                          </p:stCondLst>
                                        </p:cTn>
                                        <p:tgtEl>
                                          <p:spTgt spid="238"/>
                                        </p:tgtEl>
                                        <p:attrNameLst>
                                          <p:attrName>style.visibility</p:attrName>
                                        </p:attrNameLst>
                                      </p:cBhvr>
                                      <p:to>
                                        <p:strVal val="hidden"/>
                                      </p:to>
                                    </p:set>
                                  </p:childTnLst>
                                </p:cTn>
                              </p:par>
                              <p:par>
                                <p:cTn id="84" presetID="1" presetClass="exit" presetSubtype="0" fill="hold" nodeType="withEffect">
                                  <p:stCondLst>
                                    <p:cond delay="0"/>
                                  </p:stCondLst>
                                  <p:childTnLst>
                                    <p:set>
                                      <p:cBhvr>
                                        <p:cTn id="85" dur="1" fill="hold">
                                          <p:stCondLst>
                                            <p:cond delay="0"/>
                                          </p:stCondLst>
                                        </p:cTn>
                                        <p:tgtEl>
                                          <p:spTgt spid="265"/>
                                        </p:tgtEl>
                                        <p:attrNameLst>
                                          <p:attrName>style.visibility</p:attrName>
                                        </p:attrNameLst>
                                      </p:cBhvr>
                                      <p:to>
                                        <p:strVal val="hidden"/>
                                      </p:to>
                                    </p:set>
                                  </p:childTnLst>
                                </p:cTn>
                              </p:par>
                              <p:par>
                                <p:cTn id="86" presetID="1" presetClass="exit" presetSubtype="0" fill="hold" nodeType="withEffect">
                                  <p:stCondLst>
                                    <p:cond delay="0"/>
                                  </p:stCondLst>
                                  <p:childTnLst>
                                    <p:set>
                                      <p:cBhvr>
                                        <p:cTn id="87" dur="1" fill="hold">
                                          <p:stCondLst>
                                            <p:cond delay="0"/>
                                          </p:stCondLst>
                                        </p:cTn>
                                        <p:tgtEl>
                                          <p:spTgt spid="228"/>
                                        </p:tgtEl>
                                        <p:attrNameLst>
                                          <p:attrName>style.visibility</p:attrName>
                                        </p:attrNameLst>
                                      </p:cBhvr>
                                      <p:to>
                                        <p:strVal val="hidden"/>
                                      </p:to>
                                    </p:set>
                                  </p:childTnLst>
                                </p:cTn>
                              </p:par>
                              <p:par>
                                <p:cTn id="88" presetID="1" presetClass="exit" presetSubtype="0" fill="hold" grpId="3" nodeType="withEffect">
                                  <p:stCondLst>
                                    <p:cond delay="0"/>
                                  </p:stCondLst>
                                  <p:childTnLst>
                                    <p:set>
                                      <p:cBhvr>
                                        <p:cTn id="89" dur="1" fill="hold">
                                          <p:stCondLst>
                                            <p:cond delay="0"/>
                                          </p:stCondLst>
                                        </p:cTn>
                                        <p:tgtEl>
                                          <p:spTgt spid="269"/>
                                        </p:tgtEl>
                                        <p:attrNameLst>
                                          <p:attrName>style.visibility</p:attrName>
                                        </p:attrNameLst>
                                      </p:cBhvr>
                                      <p:to>
                                        <p:strVal val="hidden"/>
                                      </p:to>
                                    </p:set>
                                  </p:childTnLst>
                                </p:cTn>
                              </p:par>
                              <p:par>
                                <p:cTn id="90" presetID="1" presetClass="exit" presetSubtype="0" fill="hold" grpId="1" nodeType="withEffect">
                                  <p:stCondLst>
                                    <p:cond delay="0"/>
                                  </p:stCondLst>
                                  <p:childTnLst>
                                    <p:set>
                                      <p:cBhvr>
                                        <p:cTn id="91" dur="1" fill="hold">
                                          <p:stCondLst>
                                            <p:cond delay="0"/>
                                          </p:stCondLst>
                                        </p:cTn>
                                        <p:tgtEl>
                                          <p:spTgt spid="270"/>
                                        </p:tgtEl>
                                        <p:attrNameLst>
                                          <p:attrName>style.visibility</p:attrName>
                                        </p:attrNameLst>
                                      </p:cBhvr>
                                      <p:to>
                                        <p:strVal val="hidden"/>
                                      </p:to>
                                    </p:set>
                                  </p:childTnLst>
                                </p:cTn>
                              </p:par>
                              <p:par>
                                <p:cTn id="92" presetID="1" presetClass="exit" presetSubtype="0" fill="hold" nodeType="withEffect">
                                  <p:stCondLst>
                                    <p:cond delay="0"/>
                                  </p:stCondLst>
                                  <p:childTnLst>
                                    <p:set>
                                      <p:cBhvr>
                                        <p:cTn id="93" dur="1" fill="hold">
                                          <p:stCondLst>
                                            <p:cond delay="0"/>
                                          </p:stCondLst>
                                        </p:cTn>
                                        <p:tgtEl>
                                          <p:spTgt spid="253"/>
                                        </p:tgtEl>
                                        <p:attrNameLst>
                                          <p:attrName>style.visibility</p:attrName>
                                        </p:attrNameLst>
                                      </p:cBhvr>
                                      <p:to>
                                        <p:strVal val="hidden"/>
                                      </p:to>
                                    </p:set>
                                  </p:childTnLst>
                                </p:cTn>
                              </p:par>
                              <p:par>
                                <p:cTn id="94" presetID="1" presetClass="exit" presetSubtype="0" fill="hold" nodeType="withEffect">
                                  <p:stCondLst>
                                    <p:cond delay="0"/>
                                  </p:stCondLst>
                                  <p:childTnLst>
                                    <p:set>
                                      <p:cBhvr>
                                        <p:cTn id="95" dur="1" fill="hold">
                                          <p:stCondLst>
                                            <p:cond delay="0"/>
                                          </p:stCondLst>
                                        </p:cTn>
                                        <p:tgtEl>
                                          <p:spTgt spid="281"/>
                                        </p:tgtEl>
                                        <p:attrNameLst>
                                          <p:attrName>style.visibility</p:attrName>
                                        </p:attrNameLst>
                                      </p:cBhvr>
                                      <p:to>
                                        <p:strVal val="hidden"/>
                                      </p:to>
                                    </p:set>
                                  </p:childTnLst>
                                </p:cTn>
                              </p:par>
                              <p:par>
                                <p:cTn id="96" presetID="1" presetClass="exit" presetSubtype="0" fill="hold" nodeType="withEffect">
                                  <p:stCondLst>
                                    <p:cond delay="0"/>
                                  </p:stCondLst>
                                  <p:childTnLst>
                                    <p:set>
                                      <p:cBhvr>
                                        <p:cTn id="97" dur="1" fill="hold">
                                          <p:stCondLst>
                                            <p:cond delay="0"/>
                                          </p:stCondLst>
                                        </p:cTn>
                                        <p:tgtEl>
                                          <p:spTgt spid="51"/>
                                        </p:tgtEl>
                                        <p:attrNameLst>
                                          <p:attrName>style.visibility</p:attrName>
                                        </p:attrNameLst>
                                      </p:cBhvr>
                                      <p:to>
                                        <p:strVal val="hidden"/>
                                      </p:to>
                                    </p:set>
                                  </p:childTnLst>
                                </p:cTn>
                              </p:par>
                              <p:par>
                                <p:cTn id="98" presetID="1" presetClass="exit" presetSubtype="0" fill="hold" nodeType="withEffect">
                                  <p:stCondLst>
                                    <p:cond delay="0"/>
                                  </p:stCondLst>
                                  <p:childTnLst>
                                    <p:set>
                                      <p:cBhvr>
                                        <p:cTn id="99" dur="1" fill="hold">
                                          <p:stCondLst>
                                            <p:cond delay="0"/>
                                          </p:stCondLst>
                                        </p:cTn>
                                        <p:tgtEl>
                                          <p:spTgt spid="57"/>
                                        </p:tgtEl>
                                        <p:attrNameLst>
                                          <p:attrName>style.visibility</p:attrName>
                                        </p:attrNameLst>
                                      </p:cBhvr>
                                      <p:to>
                                        <p:strVal val="hidden"/>
                                      </p:to>
                                    </p:set>
                                  </p:childTnLst>
                                </p:cTn>
                              </p:par>
                            </p:childTnLst>
                          </p:cTn>
                        </p:par>
                        <p:par>
                          <p:cTn id="100" fill="hold">
                            <p:stCondLst>
                              <p:cond delay="0"/>
                            </p:stCondLst>
                            <p:childTnLst>
                              <p:par>
                                <p:cTn id="101" presetID="10" presetClass="entr" presetSubtype="0" fill="hold" grpId="0" nodeType="afterEffect">
                                  <p:stCondLst>
                                    <p:cond delay="0"/>
                                  </p:stCondLst>
                                  <p:childTnLst>
                                    <p:set>
                                      <p:cBhvr>
                                        <p:cTn id="102" dur="1" fill="hold">
                                          <p:stCondLst>
                                            <p:cond delay="0"/>
                                          </p:stCondLst>
                                        </p:cTn>
                                        <p:tgtEl>
                                          <p:spTgt spid="278"/>
                                        </p:tgtEl>
                                        <p:attrNameLst>
                                          <p:attrName>style.visibility</p:attrName>
                                        </p:attrNameLst>
                                      </p:cBhvr>
                                      <p:to>
                                        <p:strVal val="visible"/>
                                      </p:to>
                                    </p:set>
                                    <p:animEffect transition="in" filter="fade">
                                      <p:cBhvr>
                                        <p:cTn id="103" dur="500"/>
                                        <p:tgtEl>
                                          <p:spTgt spid="278"/>
                                        </p:tgtEl>
                                      </p:cBhvr>
                                    </p:animEffect>
                                  </p:childTnLst>
                                </p:cTn>
                              </p:par>
                            </p:childTnLst>
                          </p:cTn>
                        </p:par>
                        <p:par>
                          <p:cTn id="104" fill="hold">
                            <p:stCondLst>
                              <p:cond delay="500"/>
                            </p:stCondLst>
                            <p:childTnLst>
                              <p:par>
                                <p:cTn id="105" presetID="22" presetClass="entr" presetSubtype="4" fill="hold" nodeType="afterEffect">
                                  <p:stCondLst>
                                    <p:cond delay="0"/>
                                  </p:stCondLst>
                                  <p:childTnLst>
                                    <p:set>
                                      <p:cBhvr>
                                        <p:cTn id="106" dur="1" fill="hold">
                                          <p:stCondLst>
                                            <p:cond delay="0"/>
                                          </p:stCondLst>
                                        </p:cTn>
                                        <p:tgtEl>
                                          <p:spTgt spid="248"/>
                                        </p:tgtEl>
                                        <p:attrNameLst>
                                          <p:attrName>style.visibility</p:attrName>
                                        </p:attrNameLst>
                                      </p:cBhvr>
                                      <p:to>
                                        <p:strVal val="visible"/>
                                      </p:to>
                                    </p:set>
                                    <p:animEffect transition="in" filter="wipe(down)">
                                      <p:cBhvr>
                                        <p:cTn id="107" dur="500"/>
                                        <p:tgtEl>
                                          <p:spTgt spid="248"/>
                                        </p:tgtEl>
                                      </p:cBhvr>
                                    </p:animEffect>
                                  </p:childTnLst>
                                </p:cTn>
                              </p:par>
                            </p:childTnLst>
                          </p:cTn>
                        </p:par>
                        <p:par>
                          <p:cTn id="108" fill="hold">
                            <p:stCondLst>
                              <p:cond delay="1000"/>
                            </p:stCondLst>
                            <p:childTnLst>
                              <p:par>
                                <p:cTn id="109" presetID="10" presetClass="entr" presetSubtype="0" fill="hold" nodeType="afterEffect">
                                  <p:stCondLst>
                                    <p:cond delay="0"/>
                                  </p:stCondLst>
                                  <p:childTnLst>
                                    <p:set>
                                      <p:cBhvr>
                                        <p:cTn id="110" dur="1" fill="hold">
                                          <p:stCondLst>
                                            <p:cond delay="0"/>
                                          </p:stCondLst>
                                        </p:cTn>
                                        <p:tgtEl>
                                          <p:spTgt spid="238"/>
                                        </p:tgtEl>
                                        <p:attrNameLst>
                                          <p:attrName>style.visibility</p:attrName>
                                        </p:attrNameLst>
                                      </p:cBhvr>
                                      <p:to>
                                        <p:strVal val="visible"/>
                                      </p:to>
                                    </p:set>
                                    <p:animEffect transition="in" filter="fade">
                                      <p:cBhvr>
                                        <p:cTn id="111" dur="500"/>
                                        <p:tgtEl>
                                          <p:spTgt spid="238"/>
                                        </p:tgtEl>
                                      </p:cBhvr>
                                    </p:animEffect>
                                  </p:childTnLst>
                                </p:cTn>
                              </p:par>
                              <p:par>
                                <p:cTn id="112" presetID="10" presetClass="entr" presetSubtype="0" fill="hold" nodeType="withEffect">
                                  <p:stCondLst>
                                    <p:cond delay="0"/>
                                  </p:stCondLst>
                                  <p:childTnLst>
                                    <p:set>
                                      <p:cBhvr>
                                        <p:cTn id="113" dur="1" fill="hold">
                                          <p:stCondLst>
                                            <p:cond delay="0"/>
                                          </p:stCondLst>
                                        </p:cTn>
                                        <p:tgtEl>
                                          <p:spTgt spid="51"/>
                                        </p:tgtEl>
                                        <p:attrNameLst>
                                          <p:attrName>style.visibility</p:attrName>
                                        </p:attrNameLst>
                                      </p:cBhvr>
                                      <p:to>
                                        <p:strVal val="visible"/>
                                      </p:to>
                                    </p:set>
                                    <p:animEffect transition="in" filter="fade">
                                      <p:cBhvr>
                                        <p:cTn id="114" dur="500"/>
                                        <p:tgtEl>
                                          <p:spTgt spid="51"/>
                                        </p:tgtEl>
                                      </p:cBhvr>
                                    </p:animEffect>
                                  </p:childTnLst>
                                </p:cTn>
                              </p:par>
                              <p:par>
                                <p:cTn id="115" presetID="10" presetClass="entr" presetSubtype="0" fill="hold" nodeType="withEffect">
                                  <p:stCondLst>
                                    <p:cond delay="0"/>
                                  </p:stCondLst>
                                  <p:childTnLst>
                                    <p:set>
                                      <p:cBhvr>
                                        <p:cTn id="116" dur="1" fill="hold">
                                          <p:stCondLst>
                                            <p:cond delay="0"/>
                                          </p:stCondLst>
                                        </p:cTn>
                                        <p:tgtEl>
                                          <p:spTgt spid="57"/>
                                        </p:tgtEl>
                                        <p:attrNameLst>
                                          <p:attrName>style.visibility</p:attrName>
                                        </p:attrNameLst>
                                      </p:cBhvr>
                                      <p:to>
                                        <p:strVal val="visible"/>
                                      </p:to>
                                    </p:set>
                                    <p:animEffect transition="in" filter="fade">
                                      <p:cBhvr>
                                        <p:cTn id="117" dur="500"/>
                                        <p:tgtEl>
                                          <p:spTgt spid="57"/>
                                        </p:tgtEl>
                                      </p:cBhvr>
                                    </p:animEffect>
                                  </p:childTnLst>
                                </p:cTn>
                              </p:par>
                            </p:childTnLst>
                          </p:cTn>
                        </p:par>
                        <p:par>
                          <p:cTn id="118" fill="hold">
                            <p:stCondLst>
                              <p:cond delay="1500"/>
                            </p:stCondLst>
                            <p:childTnLst>
                              <p:par>
                                <p:cTn id="119" presetID="22" presetClass="entr" presetSubtype="1" fill="hold" nodeType="afterEffect">
                                  <p:stCondLst>
                                    <p:cond delay="0"/>
                                  </p:stCondLst>
                                  <p:childTnLst>
                                    <p:set>
                                      <p:cBhvr>
                                        <p:cTn id="120" dur="1" fill="hold">
                                          <p:stCondLst>
                                            <p:cond delay="0"/>
                                          </p:stCondLst>
                                        </p:cTn>
                                        <p:tgtEl>
                                          <p:spTgt spid="268"/>
                                        </p:tgtEl>
                                        <p:attrNameLst>
                                          <p:attrName>style.visibility</p:attrName>
                                        </p:attrNameLst>
                                      </p:cBhvr>
                                      <p:to>
                                        <p:strVal val="visible"/>
                                      </p:to>
                                    </p:set>
                                    <p:animEffect transition="in" filter="wipe(up)">
                                      <p:cBhvr>
                                        <p:cTn id="121" dur="500"/>
                                        <p:tgtEl>
                                          <p:spTgt spid="268"/>
                                        </p:tgtEl>
                                      </p:cBhvr>
                                    </p:animEffect>
                                  </p:childTnLst>
                                </p:cTn>
                              </p:par>
                              <p:par>
                                <p:cTn id="122" presetID="22" presetClass="entr" presetSubtype="1" fill="hold" nodeType="withEffect">
                                  <p:stCondLst>
                                    <p:cond delay="0"/>
                                  </p:stCondLst>
                                  <p:childTnLst>
                                    <p:set>
                                      <p:cBhvr>
                                        <p:cTn id="123" dur="1" fill="hold">
                                          <p:stCondLst>
                                            <p:cond delay="0"/>
                                          </p:stCondLst>
                                        </p:cTn>
                                        <p:tgtEl>
                                          <p:spTgt spid="253"/>
                                        </p:tgtEl>
                                        <p:attrNameLst>
                                          <p:attrName>style.visibility</p:attrName>
                                        </p:attrNameLst>
                                      </p:cBhvr>
                                      <p:to>
                                        <p:strVal val="visible"/>
                                      </p:to>
                                    </p:set>
                                    <p:animEffect transition="in" filter="wipe(up)">
                                      <p:cBhvr>
                                        <p:cTn id="124" dur="500"/>
                                        <p:tgtEl>
                                          <p:spTgt spid="253"/>
                                        </p:tgtEl>
                                      </p:cBhvr>
                                    </p:animEffect>
                                  </p:childTnLst>
                                </p:cTn>
                              </p:par>
                              <p:par>
                                <p:cTn id="125" presetID="22" presetClass="entr" presetSubtype="4" fill="hold" nodeType="withEffect">
                                  <p:stCondLst>
                                    <p:cond delay="0"/>
                                  </p:stCondLst>
                                  <p:childTnLst>
                                    <p:set>
                                      <p:cBhvr>
                                        <p:cTn id="126" dur="1" fill="hold">
                                          <p:stCondLst>
                                            <p:cond delay="0"/>
                                          </p:stCondLst>
                                        </p:cTn>
                                        <p:tgtEl>
                                          <p:spTgt spid="265"/>
                                        </p:tgtEl>
                                        <p:attrNameLst>
                                          <p:attrName>style.visibility</p:attrName>
                                        </p:attrNameLst>
                                      </p:cBhvr>
                                      <p:to>
                                        <p:strVal val="visible"/>
                                      </p:to>
                                    </p:set>
                                    <p:animEffect transition="in" filter="wipe(down)">
                                      <p:cBhvr>
                                        <p:cTn id="127" dur="500"/>
                                        <p:tgtEl>
                                          <p:spTgt spid="265"/>
                                        </p:tgtEl>
                                      </p:cBhvr>
                                    </p:animEffect>
                                  </p:childTnLst>
                                </p:cTn>
                              </p:par>
                            </p:childTnLst>
                          </p:cTn>
                        </p:par>
                        <p:par>
                          <p:cTn id="128" fill="hold">
                            <p:stCondLst>
                              <p:cond delay="2000"/>
                            </p:stCondLst>
                            <p:childTnLst>
                              <p:par>
                                <p:cTn id="129" presetID="10" presetClass="entr" presetSubtype="0" fill="hold" nodeType="afterEffect">
                                  <p:stCondLst>
                                    <p:cond delay="0"/>
                                  </p:stCondLst>
                                  <p:childTnLst>
                                    <p:set>
                                      <p:cBhvr>
                                        <p:cTn id="130" dur="1" fill="hold">
                                          <p:stCondLst>
                                            <p:cond delay="0"/>
                                          </p:stCondLst>
                                        </p:cTn>
                                        <p:tgtEl>
                                          <p:spTgt spid="228"/>
                                        </p:tgtEl>
                                        <p:attrNameLst>
                                          <p:attrName>style.visibility</p:attrName>
                                        </p:attrNameLst>
                                      </p:cBhvr>
                                      <p:to>
                                        <p:strVal val="visible"/>
                                      </p:to>
                                    </p:set>
                                    <p:animEffect transition="in" filter="fade">
                                      <p:cBhvr>
                                        <p:cTn id="131" dur="500"/>
                                        <p:tgtEl>
                                          <p:spTgt spid="228"/>
                                        </p:tgtEl>
                                      </p:cBhvr>
                                    </p:animEffect>
                                  </p:childTnLst>
                                </p:cTn>
                              </p:par>
                              <p:par>
                                <p:cTn id="132" presetID="10" presetClass="entr" presetSubtype="0" fill="hold" nodeType="withEffect">
                                  <p:stCondLst>
                                    <p:cond delay="0"/>
                                  </p:stCondLst>
                                  <p:childTnLst>
                                    <p:set>
                                      <p:cBhvr>
                                        <p:cTn id="133" dur="1" fill="hold">
                                          <p:stCondLst>
                                            <p:cond delay="0"/>
                                          </p:stCondLst>
                                        </p:cTn>
                                        <p:tgtEl>
                                          <p:spTgt spid="281"/>
                                        </p:tgtEl>
                                        <p:attrNameLst>
                                          <p:attrName>style.visibility</p:attrName>
                                        </p:attrNameLst>
                                      </p:cBhvr>
                                      <p:to>
                                        <p:strVal val="visible"/>
                                      </p:to>
                                    </p:set>
                                    <p:animEffect transition="in" filter="fade">
                                      <p:cBhvr>
                                        <p:cTn id="134" dur="500"/>
                                        <p:tgtEl>
                                          <p:spTgt spid="281"/>
                                        </p:tgtEl>
                                      </p:cBhvr>
                                    </p:animEffect>
                                  </p:childTnLst>
                                </p:cTn>
                              </p:par>
                            </p:childTnLst>
                          </p:cTn>
                        </p:par>
                        <p:par>
                          <p:cTn id="135" fill="hold">
                            <p:stCondLst>
                              <p:cond delay="2500"/>
                            </p:stCondLst>
                            <p:childTnLst>
                              <p:par>
                                <p:cTn id="136" presetID="10" presetClass="entr" presetSubtype="0" fill="hold" grpId="2" nodeType="afterEffect">
                                  <p:stCondLst>
                                    <p:cond delay="0"/>
                                  </p:stCondLst>
                                  <p:childTnLst>
                                    <p:set>
                                      <p:cBhvr>
                                        <p:cTn id="137" dur="1" fill="hold">
                                          <p:stCondLst>
                                            <p:cond delay="0"/>
                                          </p:stCondLst>
                                        </p:cTn>
                                        <p:tgtEl>
                                          <p:spTgt spid="270"/>
                                        </p:tgtEl>
                                        <p:attrNameLst>
                                          <p:attrName>style.visibility</p:attrName>
                                        </p:attrNameLst>
                                      </p:cBhvr>
                                      <p:to>
                                        <p:strVal val="visible"/>
                                      </p:to>
                                    </p:set>
                                    <p:animEffect transition="in" filter="fade">
                                      <p:cBhvr>
                                        <p:cTn id="138" dur="500"/>
                                        <p:tgtEl>
                                          <p:spTgt spid="270"/>
                                        </p:tgtEl>
                                      </p:cBhvr>
                                    </p:animEffect>
                                  </p:childTnLst>
                                </p:cTn>
                              </p:par>
                            </p:childTnLst>
                          </p:cTn>
                        </p:par>
                      </p:childTnLst>
                    </p:cTn>
                  </p:par>
                  <p:par>
                    <p:cTn id="139" fill="hold">
                      <p:stCondLst>
                        <p:cond delay="indefinite"/>
                      </p:stCondLst>
                      <p:childTnLst>
                        <p:par>
                          <p:cTn id="140" fill="hold">
                            <p:stCondLst>
                              <p:cond delay="0"/>
                            </p:stCondLst>
                            <p:childTnLst>
                              <p:par>
                                <p:cTn id="141" presetID="1" presetClass="exit" presetSubtype="0" fill="hold" nodeType="clickEffect">
                                  <p:stCondLst>
                                    <p:cond delay="0"/>
                                  </p:stCondLst>
                                  <p:childTnLst>
                                    <p:set>
                                      <p:cBhvr>
                                        <p:cTn id="142" dur="1" fill="hold">
                                          <p:stCondLst>
                                            <p:cond delay="0"/>
                                          </p:stCondLst>
                                        </p:cTn>
                                        <p:tgtEl>
                                          <p:spTgt spid="248"/>
                                        </p:tgtEl>
                                        <p:attrNameLst>
                                          <p:attrName>style.visibility</p:attrName>
                                        </p:attrNameLst>
                                      </p:cBhvr>
                                      <p:to>
                                        <p:strVal val="hidden"/>
                                      </p:to>
                                    </p:set>
                                  </p:childTnLst>
                                </p:cTn>
                              </p:par>
                              <p:par>
                                <p:cTn id="143" presetID="1" presetClass="exit" presetSubtype="0" fill="hold" nodeType="withEffect">
                                  <p:stCondLst>
                                    <p:cond delay="0"/>
                                  </p:stCondLst>
                                  <p:childTnLst>
                                    <p:set>
                                      <p:cBhvr>
                                        <p:cTn id="144" dur="1" fill="hold">
                                          <p:stCondLst>
                                            <p:cond delay="0"/>
                                          </p:stCondLst>
                                        </p:cTn>
                                        <p:tgtEl>
                                          <p:spTgt spid="238"/>
                                        </p:tgtEl>
                                        <p:attrNameLst>
                                          <p:attrName>style.visibility</p:attrName>
                                        </p:attrNameLst>
                                      </p:cBhvr>
                                      <p:to>
                                        <p:strVal val="hidden"/>
                                      </p:to>
                                    </p:set>
                                  </p:childTnLst>
                                </p:cTn>
                              </p:par>
                              <p:par>
                                <p:cTn id="145" presetID="1" presetClass="exit" presetSubtype="0" fill="hold" nodeType="withEffect">
                                  <p:stCondLst>
                                    <p:cond delay="0"/>
                                  </p:stCondLst>
                                  <p:childTnLst>
                                    <p:set>
                                      <p:cBhvr>
                                        <p:cTn id="146" dur="1" fill="hold">
                                          <p:stCondLst>
                                            <p:cond delay="0"/>
                                          </p:stCondLst>
                                        </p:cTn>
                                        <p:tgtEl>
                                          <p:spTgt spid="268"/>
                                        </p:tgtEl>
                                        <p:attrNameLst>
                                          <p:attrName>style.visibility</p:attrName>
                                        </p:attrNameLst>
                                      </p:cBhvr>
                                      <p:to>
                                        <p:strVal val="hidden"/>
                                      </p:to>
                                    </p:set>
                                  </p:childTnLst>
                                </p:cTn>
                              </p:par>
                              <p:par>
                                <p:cTn id="147" presetID="1" presetClass="exit" presetSubtype="0" fill="hold" nodeType="withEffect">
                                  <p:stCondLst>
                                    <p:cond delay="0"/>
                                  </p:stCondLst>
                                  <p:childTnLst>
                                    <p:set>
                                      <p:cBhvr>
                                        <p:cTn id="148" dur="1" fill="hold">
                                          <p:stCondLst>
                                            <p:cond delay="0"/>
                                          </p:stCondLst>
                                        </p:cTn>
                                        <p:tgtEl>
                                          <p:spTgt spid="228"/>
                                        </p:tgtEl>
                                        <p:attrNameLst>
                                          <p:attrName>style.visibility</p:attrName>
                                        </p:attrNameLst>
                                      </p:cBhvr>
                                      <p:to>
                                        <p:strVal val="hidden"/>
                                      </p:to>
                                    </p:set>
                                  </p:childTnLst>
                                </p:cTn>
                              </p:par>
                              <p:par>
                                <p:cTn id="149" presetID="1" presetClass="exit" presetSubtype="0" fill="hold" nodeType="withEffect">
                                  <p:stCondLst>
                                    <p:cond delay="0"/>
                                  </p:stCondLst>
                                  <p:childTnLst>
                                    <p:set>
                                      <p:cBhvr>
                                        <p:cTn id="150" dur="1" fill="hold">
                                          <p:stCondLst>
                                            <p:cond delay="0"/>
                                          </p:stCondLst>
                                        </p:cTn>
                                        <p:tgtEl>
                                          <p:spTgt spid="281"/>
                                        </p:tgtEl>
                                        <p:attrNameLst>
                                          <p:attrName>style.visibility</p:attrName>
                                        </p:attrNameLst>
                                      </p:cBhvr>
                                      <p:to>
                                        <p:strVal val="hidden"/>
                                      </p:to>
                                    </p:set>
                                  </p:childTnLst>
                                </p:cTn>
                              </p:par>
                              <p:par>
                                <p:cTn id="151" presetID="1" presetClass="exit" presetSubtype="0" fill="hold" nodeType="withEffect">
                                  <p:stCondLst>
                                    <p:cond delay="0"/>
                                  </p:stCondLst>
                                  <p:childTnLst>
                                    <p:set>
                                      <p:cBhvr>
                                        <p:cTn id="152" dur="1" fill="hold">
                                          <p:stCondLst>
                                            <p:cond delay="0"/>
                                          </p:stCondLst>
                                        </p:cTn>
                                        <p:tgtEl>
                                          <p:spTgt spid="265"/>
                                        </p:tgtEl>
                                        <p:attrNameLst>
                                          <p:attrName>style.visibility</p:attrName>
                                        </p:attrNameLst>
                                      </p:cBhvr>
                                      <p:to>
                                        <p:strVal val="hidden"/>
                                      </p:to>
                                    </p:set>
                                  </p:childTnLst>
                                </p:cTn>
                              </p:par>
                              <p:par>
                                <p:cTn id="153" presetID="1" presetClass="exit" presetSubtype="0" fill="hold" nodeType="withEffect">
                                  <p:stCondLst>
                                    <p:cond delay="0"/>
                                  </p:stCondLst>
                                  <p:childTnLst>
                                    <p:set>
                                      <p:cBhvr>
                                        <p:cTn id="154" dur="1" fill="hold">
                                          <p:stCondLst>
                                            <p:cond delay="0"/>
                                          </p:stCondLst>
                                        </p:cTn>
                                        <p:tgtEl>
                                          <p:spTgt spid="253"/>
                                        </p:tgtEl>
                                        <p:attrNameLst>
                                          <p:attrName>style.visibility</p:attrName>
                                        </p:attrNameLst>
                                      </p:cBhvr>
                                      <p:to>
                                        <p:strVal val="hidden"/>
                                      </p:to>
                                    </p:set>
                                  </p:childTnLst>
                                </p:cTn>
                              </p:par>
                              <p:par>
                                <p:cTn id="155" presetID="1" presetClass="exit" presetSubtype="0" fill="hold" grpId="3" nodeType="withEffect">
                                  <p:stCondLst>
                                    <p:cond delay="0"/>
                                  </p:stCondLst>
                                  <p:childTnLst>
                                    <p:set>
                                      <p:cBhvr>
                                        <p:cTn id="156" dur="1" fill="hold">
                                          <p:stCondLst>
                                            <p:cond delay="0"/>
                                          </p:stCondLst>
                                        </p:cTn>
                                        <p:tgtEl>
                                          <p:spTgt spid="270"/>
                                        </p:tgtEl>
                                        <p:attrNameLst>
                                          <p:attrName>style.visibility</p:attrName>
                                        </p:attrNameLst>
                                      </p:cBhvr>
                                      <p:to>
                                        <p:strVal val="hidden"/>
                                      </p:to>
                                    </p:set>
                                  </p:childTnLst>
                                </p:cTn>
                              </p:par>
                              <p:par>
                                <p:cTn id="157" presetID="1" presetClass="exit" presetSubtype="0" fill="hold" nodeType="withEffect">
                                  <p:stCondLst>
                                    <p:cond delay="0"/>
                                  </p:stCondLst>
                                  <p:childTnLst>
                                    <p:set>
                                      <p:cBhvr>
                                        <p:cTn id="158" dur="1" fill="hold">
                                          <p:stCondLst>
                                            <p:cond delay="0"/>
                                          </p:stCondLst>
                                        </p:cTn>
                                        <p:tgtEl>
                                          <p:spTgt spid="51"/>
                                        </p:tgtEl>
                                        <p:attrNameLst>
                                          <p:attrName>style.visibility</p:attrName>
                                        </p:attrNameLst>
                                      </p:cBhvr>
                                      <p:to>
                                        <p:strVal val="hidden"/>
                                      </p:to>
                                    </p:set>
                                  </p:childTnLst>
                                </p:cTn>
                              </p:par>
                              <p:par>
                                <p:cTn id="159" presetID="1" presetClass="exit" presetSubtype="0" fill="hold" nodeType="withEffect">
                                  <p:stCondLst>
                                    <p:cond delay="0"/>
                                  </p:stCondLst>
                                  <p:childTnLst>
                                    <p:set>
                                      <p:cBhvr>
                                        <p:cTn id="160" dur="1" fill="hold">
                                          <p:stCondLst>
                                            <p:cond delay="0"/>
                                          </p:stCondLst>
                                        </p:cTn>
                                        <p:tgtEl>
                                          <p:spTgt spid="57"/>
                                        </p:tgtEl>
                                        <p:attrNameLst>
                                          <p:attrName>style.visibility</p:attrName>
                                        </p:attrNameLst>
                                      </p:cBhvr>
                                      <p:to>
                                        <p:strVal val="hidden"/>
                                      </p:to>
                                    </p:set>
                                  </p:childTnLst>
                                </p:cTn>
                              </p:par>
                            </p:childTnLst>
                          </p:cTn>
                        </p:par>
                        <p:par>
                          <p:cTn id="161" fill="hold">
                            <p:stCondLst>
                              <p:cond delay="0"/>
                            </p:stCondLst>
                            <p:childTnLst>
                              <p:par>
                                <p:cTn id="162" presetID="10" presetClass="entr" presetSubtype="0" fill="hold" grpId="0" nodeType="afterEffect">
                                  <p:stCondLst>
                                    <p:cond delay="0"/>
                                  </p:stCondLst>
                                  <p:childTnLst>
                                    <p:set>
                                      <p:cBhvr>
                                        <p:cTn id="163" dur="1" fill="hold">
                                          <p:stCondLst>
                                            <p:cond delay="0"/>
                                          </p:stCondLst>
                                        </p:cTn>
                                        <p:tgtEl>
                                          <p:spTgt spid="280"/>
                                        </p:tgtEl>
                                        <p:attrNameLst>
                                          <p:attrName>style.visibility</p:attrName>
                                        </p:attrNameLst>
                                      </p:cBhvr>
                                      <p:to>
                                        <p:strVal val="visible"/>
                                      </p:to>
                                    </p:set>
                                    <p:animEffect transition="in" filter="fade">
                                      <p:cBhvr>
                                        <p:cTn id="164" dur="500"/>
                                        <p:tgtEl>
                                          <p:spTgt spid="280"/>
                                        </p:tgtEl>
                                      </p:cBhvr>
                                    </p:animEffect>
                                  </p:childTnLst>
                                </p:cTn>
                              </p:par>
                            </p:childTnLst>
                          </p:cTn>
                        </p:par>
                        <p:par>
                          <p:cTn id="165" fill="hold">
                            <p:stCondLst>
                              <p:cond delay="500"/>
                            </p:stCondLst>
                            <p:childTnLst>
                              <p:par>
                                <p:cTn id="166" presetID="22" presetClass="entr" presetSubtype="1" fill="hold" nodeType="afterEffect">
                                  <p:stCondLst>
                                    <p:cond delay="0"/>
                                  </p:stCondLst>
                                  <p:childTnLst>
                                    <p:set>
                                      <p:cBhvr>
                                        <p:cTn id="167" dur="1" fill="hold">
                                          <p:stCondLst>
                                            <p:cond delay="0"/>
                                          </p:stCondLst>
                                        </p:cTn>
                                        <p:tgtEl>
                                          <p:spTgt spid="298"/>
                                        </p:tgtEl>
                                        <p:attrNameLst>
                                          <p:attrName>style.visibility</p:attrName>
                                        </p:attrNameLst>
                                      </p:cBhvr>
                                      <p:to>
                                        <p:strVal val="visible"/>
                                      </p:to>
                                    </p:set>
                                    <p:animEffect transition="in" filter="wipe(up)">
                                      <p:cBhvr>
                                        <p:cTn id="168" dur="500"/>
                                        <p:tgtEl>
                                          <p:spTgt spid="298"/>
                                        </p:tgtEl>
                                      </p:cBhvr>
                                    </p:animEffect>
                                  </p:childTnLst>
                                </p:cTn>
                              </p:par>
                            </p:childTnLst>
                          </p:cTn>
                        </p:par>
                        <p:par>
                          <p:cTn id="169" fill="hold">
                            <p:stCondLst>
                              <p:cond delay="1000"/>
                            </p:stCondLst>
                            <p:childTnLst>
                              <p:par>
                                <p:cTn id="170" presetID="10" presetClass="entr" presetSubtype="0" fill="hold" nodeType="afterEffect">
                                  <p:stCondLst>
                                    <p:cond delay="0"/>
                                  </p:stCondLst>
                                  <p:childTnLst>
                                    <p:set>
                                      <p:cBhvr>
                                        <p:cTn id="171" dur="1" fill="hold">
                                          <p:stCondLst>
                                            <p:cond delay="0"/>
                                          </p:stCondLst>
                                        </p:cTn>
                                        <p:tgtEl>
                                          <p:spTgt spid="228"/>
                                        </p:tgtEl>
                                        <p:attrNameLst>
                                          <p:attrName>style.visibility</p:attrName>
                                        </p:attrNameLst>
                                      </p:cBhvr>
                                      <p:to>
                                        <p:strVal val="visible"/>
                                      </p:to>
                                    </p:set>
                                    <p:animEffect transition="in" filter="fade">
                                      <p:cBhvr>
                                        <p:cTn id="172" dur="500"/>
                                        <p:tgtEl>
                                          <p:spTgt spid="228"/>
                                        </p:tgtEl>
                                      </p:cBhvr>
                                    </p:animEffect>
                                  </p:childTnLst>
                                </p:cTn>
                              </p:par>
                              <p:par>
                                <p:cTn id="173" presetID="10" presetClass="entr" presetSubtype="0" fill="hold" nodeType="withEffect">
                                  <p:stCondLst>
                                    <p:cond delay="0"/>
                                  </p:stCondLst>
                                  <p:childTnLst>
                                    <p:set>
                                      <p:cBhvr>
                                        <p:cTn id="174" dur="1" fill="hold">
                                          <p:stCondLst>
                                            <p:cond delay="0"/>
                                          </p:stCondLst>
                                        </p:cTn>
                                        <p:tgtEl>
                                          <p:spTgt spid="281"/>
                                        </p:tgtEl>
                                        <p:attrNameLst>
                                          <p:attrName>style.visibility</p:attrName>
                                        </p:attrNameLst>
                                      </p:cBhvr>
                                      <p:to>
                                        <p:strVal val="visible"/>
                                      </p:to>
                                    </p:set>
                                    <p:animEffect transition="in" filter="fade">
                                      <p:cBhvr>
                                        <p:cTn id="175" dur="500"/>
                                        <p:tgtEl>
                                          <p:spTgt spid="281"/>
                                        </p:tgtEl>
                                      </p:cBhvr>
                                    </p:animEffect>
                                  </p:childTnLst>
                                </p:cTn>
                              </p:par>
                            </p:childTnLst>
                          </p:cTn>
                        </p:par>
                        <p:par>
                          <p:cTn id="176" fill="hold">
                            <p:stCondLst>
                              <p:cond delay="1500"/>
                            </p:stCondLst>
                            <p:childTnLst>
                              <p:par>
                                <p:cTn id="177" presetID="22" presetClass="entr" presetSubtype="4" fill="hold" nodeType="afterEffect">
                                  <p:stCondLst>
                                    <p:cond delay="0"/>
                                  </p:stCondLst>
                                  <p:childTnLst>
                                    <p:set>
                                      <p:cBhvr>
                                        <p:cTn id="178" dur="1" fill="hold">
                                          <p:stCondLst>
                                            <p:cond delay="0"/>
                                          </p:stCondLst>
                                        </p:cTn>
                                        <p:tgtEl>
                                          <p:spTgt spid="271"/>
                                        </p:tgtEl>
                                        <p:attrNameLst>
                                          <p:attrName>style.visibility</p:attrName>
                                        </p:attrNameLst>
                                      </p:cBhvr>
                                      <p:to>
                                        <p:strVal val="visible"/>
                                      </p:to>
                                    </p:set>
                                    <p:animEffect transition="in" filter="wipe(down)">
                                      <p:cBhvr>
                                        <p:cTn id="179" dur="500"/>
                                        <p:tgtEl>
                                          <p:spTgt spid="271"/>
                                        </p:tgtEl>
                                      </p:cBhvr>
                                    </p:animEffect>
                                  </p:childTnLst>
                                </p:cTn>
                              </p:par>
                            </p:childTnLst>
                          </p:cTn>
                        </p:par>
                        <p:par>
                          <p:cTn id="180" fill="hold">
                            <p:stCondLst>
                              <p:cond delay="2000"/>
                            </p:stCondLst>
                            <p:childTnLst>
                              <p:par>
                                <p:cTn id="181" presetID="10" presetClass="entr" presetSubtype="0" fill="hold" nodeType="afterEffect">
                                  <p:stCondLst>
                                    <p:cond delay="0"/>
                                  </p:stCondLst>
                                  <p:childTnLst>
                                    <p:set>
                                      <p:cBhvr>
                                        <p:cTn id="182" dur="1" fill="hold">
                                          <p:stCondLst>
                                            <p:cond delay="0"/>
                                          </p:stCondLst>
                                        </p:cTn>
                                        <p:tgtEl>
                                          <p:spTgt spid="5"/>
                                        </p:tgtEl>
                                        <p:attrNameLst>
                                          <p:attrName>style.visibility</p:attrName>
                                        </p:attrNameLst>
                                      </p:cBhvr>
                                      <p:to>
                                        <p:strVal val="visible"/>
                                      </p:to>
                                    </p:set>
                                    <p:animEffect transition="in" filter="fade">
                                      <p:cBhvr>
                                        <p:cTn id="183" dur="500"/>
                                        <p:tgtEl>
                                          <p:spTgt spid="5"/>
                                        </p:tgtEl>
                                      </p:cBhvr>
                                    </p:animEffect>
                                  </p:childTnLst>
                                </p:cTn>
                              </p:par>
                            </p:childTnLst>
                          </p:cTn>
                        </p:par>
                        <p:par>
                          <p:cTn id="184" fill="hold">
                            <p:stCondLst>
                              <p:cond delay="2500"/>
                            </p:stCondLst>
                            <p:childTnLst>
                              <p:par>
                                <p:cTn id="185" presetID="10" presetClass="entr" presetSubtype="0" fill="hold" grpId="0" nodeType="afterEffect">
                                  <p:stCondLst>
                                    <p:cond delay="0"/>
                                  </p:stCondLst>
                                  <p:childTnLst>
                                    <p:set>
                                      <p:cBhvr>
                                        <p:cTn id="186" dur="1" fill="hold">
                                          <p:stCondLst>
                                            <p:cond delay="0"/>
                                          </p:stCondLst>
                                        </p:cTn>
                                        <p:tgtEl>
                                          <p:spTgt spid="272"/>
                                        </p:tgtEl>
                                        <p:attrNameLst>
                                          <p:attrName>style.visibility</p:attrName>
                                        </p:attrNameLst>
                                      </p:cBhvr>
                                      <p:to>
                                        <p:strVal val="visible"/>
                                      </p:to>
                                    </p:set>
                                    <p:animEffect transition="in" filter="fade">
                                      <p:cBhvr>
                                        <p:cTn id="187" dur="500"/>
                                        <p:tgtEl>
                                          <p:spTgt spid="272"/>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273"/>
                                        </p:tgtEl>
                                        <p:attrNameLst>
                                          <p:attrName>style.visibility</p:attrName>
                                        </p:attrNameLst>
                                      </p:cBhvr>
                                      <p:to>
                                        <p:strVal val="visible"/>
                                      </p:to>
                                    </p:set>
                                    <p:animEffect transition="in" filter="fade">
                                      <p:cBhvr>
                                        <p:cTn id="190" dur="500"/>
                                        <p:tgtEl>
                                          <p:spTgt spid="2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3" grpId="0" animBg="1"/>
      <p:bldP spid="269" grpId="0"/>
      <p:bldP spid="269" grpId="1"/>
      <p:bldP spid="269" grpId="2"/>
      <p:bldP spid="269" grpId="3"/>
      <p:bldP spid="270" grpId="0"/>
      <p:bldP spid="270" grpId="1"/>
      <p:bldP spid="270" grpId="2"/>
      <p:bldP spid="270" grpId="3"/>
      <p:bldP spid="272" grpId="0"/>
      <p:bldP spid="273" grpId="0"/>
      <p:bldP spid="274" grpId="0"/>
      <p:bldP spid="278" grpId="0"/>
      <p:bldP spid="279" grpId="0"/>
      <p:bldP spid="280" grpId="0"/>
      <p:bldP spid="61" grpId="0" animBg="1"/>
      <p:bldP spid="6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4751905" y="1188841"/>
            <a:ext cx="7168514" cy="5075028"/>
          </a:xfrm>
        </p:spPr>
        <p:txBody>
          <a:bodyPr/>
          <a:lstStyle/>
          <a:p>
            <a:pPr marL="0" indent="0">
              <a:spcBef>
                <a:spcPts val="0"/>
              </a:spcBef>
              <a:spcAft>
                <a:spcPts val="1764"/>
              </a:spcAft>
              <a:buNone/>
            </a:pPr>
            <a:r>
              <a:rPr lang="en-US" sz="3135" dirty="0">
                <a:gradFill>
                  <a:gsLst>
                    <a:gs pos="6195">
                      <a:schemeClr val="bg1"/>
                    </a:gs>
                    <a:gs pos="100000">
                      <a:schemeClr val="bg1"/>
                    </a:gs>
                  </a:gsLst>
                  <a:lin ang="5400000" scaled="0"/>
                </a:gradFill>
                <a:latin typeface="+mj-lt"/>
              </a:rPr>
              <a:t>A </a:t>
            </a:r>
            <a:r>
              <a:rPr lang="en-US" sz="3135" dirty="0">
                <a:solidFill>
                  <a:schemeClr val="bg1"/>
                </a:solidFill>
                <a:latin typeface="+mj-lt"/>
              </a:rPr>
              <a:t>comprehensive</a:t>
            </a:r>
            <a:r>
              <a:rPr lang="en-US" sz="3135" dirty="0">
                <a:gradFill>
                  <a:gsLst>
                    <a:gs pos="6195">
                      <a:schemeClr val="bg1"/>
                    </a:gs>
                    <a:gs pos="100000">
                      <a:schemeClr val="bg1"/>
                    </a:gs>
                  </a:gsLst>
                  <a:lin ang="5400000" scaled="0"/>
                </a:gradFill>
                <a:latin typeface="+mj-lt"/>
              </a:rPr>
              <a:t> identity and access management cloud solution.  </a:t>
            </a:r>
          </a:p>
          <a:p>
            <a:pPr marL="0" indent="0">
              <a:spcBef>
                <a:spcPts val="0"/>
              </a:spcBef>
              <a:spcAft>
                <a:spcPts val="1764"/>
              </a:spcAft>
              <a:buNone/>
            </a:pPr>
            <a:r>
              <a:rPr lang="en-US" sz="3135" dirty="0">
                <a:gradFill>
                  <a:gsLst>
                    <a:gs pos="6195">
                      <a:schemeClr val="bg1"/>
                    </a:gs>
                    <a:gs pos="100000">
                      <a:schemeClr val="bg1"/>
                    </a:gs>
                  </a:gsLst>
                  <a:lin ang="5400000" scaled="0"/>
                </a:gradFill>
                <a:latin typeface="+mj-lt"/>
              </a:rPr>
              <a:t>It combines directory services, advanced identity governance, application access management and a rich standards-based platform for developers</a:t>
            </a:r>
          </a:p>
          <a:p>
            <a:pPr marL="0" indent="0">
              <a:spcBef>
                <a:spcPts val="0"/>
              </a:spcBef>
              <a:spcAft>
                <a:spcPts val="1764"/>
              </a:spcAft>
              <a:buNone/>
            </a:pPr>
            <a:r>
              <a:rPr lang="en-US" sz="3135" b="1" dirty="0">
                <a:gradFill>
                  <a:gsLst>
                    <a:gs pos="6195">
                      <a:schemeClr val="bg2"/>
                    </a:gs>
                    <a:gs pos="100000">
                      <a:schemeClr val="bg2"/>
                    </a:gs>
                  </a:gsLst>
                  <a:lin ang="5400000" scaled="0"/>
                </a:gradFill>
                <a:latin typeface="+mj-lt"/>
              </a:rPr>
              <a:t>Azure Active Directory Premium is an advanced offering that includes IAM capabilities for on-premises, hybrid and cloud environments</a:t>
            </a:r>
          </a:p>
        </p:txBody>
      </p:sp>
      <p:sp>
        <p:nvSpPr>
          <p:cNvPr id="2" name="Rectangle 1"/>
          <p:cNvSpPr/>
          <p:nvPr/>
        </p:nvSpPr>
        <p:spPr bwMode="auto">
          <a:xfrm>
            <a:off x="2454" y="1866"/>
            <a:ext cx="4792098" cy="685427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15" name="Freeform 128"/>
          <p:cNvSpPr>
            <a:spLocks noChangeAspect="1"/>
          </p:cNvSpPr>
          <p:nvPr/>
        </p:nvSpPr>
        <p:spPr bwMode="black">
          <a:xfrm>
            <a:off x="454456" y="1454908"/>
            <a:ext cx="4107236" cy="226889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38100">
            <a:noFill/>
          </a:ln>
          <a:extLst/>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sp>
        <p:nvSpPr>
          <p:cNvPr id="16" name="Freeform 128"/>
          <p:cNvSpPr>
            <a:spLocks noChangeAspect="1"/>
          </p:cNvSpPr>
          <p:nvPr/>
        </p:nvSpPr>
        <p:spPr bwMode="black">
          <a:xfrm>
            <a:off x="456800" y="2858662"/>
            <a:ext cx="4107234" cy="226889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38100">
            <a:solidFill>
              <a:schemeClr val="tx1"/>
            </a:solidFill>
          </a:ln>
          <a:extLst/>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pic>
        <p:nvPicPr>
          <p:cNvPr id="14" name="Picture 13" descr="Windows Azure Active Directory"/>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858513" y="3062746"/>
            <a:ext cx="1504055" cy="1504055"/>
          </a:xfrm>
          <a:prstGeom prst="rect">
            <a:avLst/>
          </a:prstGeom>
          <a:noFill/>
          <a:ln>
            <a:noFill/>
          </a:ln>
        </p:spPr>
      </p:pic>
      <p:sp>
        <p:nvSpPr>
          <p:cNvPr id="5" name="Title 4"/>
          <p:cNvSpPr>
            <a:spLocks noGrp="1"/>
          </p:cNvSpPr>
          <p:nvPr>
            <p:ph type="title"/>
          </p:nvPr>
        </p:nvSpPr>
        <p:spPr/>
        <p:txBody>
          <a:bodyPr/>
          <a:lstStyle/>
          <a:p>
            <a:r>
              <a:rPr lang="en-US" sz="3919" dirty="0">
                <a:gradFill>
                  <a:gsLst>
                    <a:gs pos="6195">
                      <a:schemeClr val="bg2"/>
                    </a:gs>
                    <a:gs pos="100000">
                      <a:schemeClr val="bg2"/>
                    </a:gs>
                  </a:gsLst>
                  <a:lin ang="5400000" scaled="0"/>
                </a:gradFill>
              </a:rPr>
              <a:t>What is Azure Active Directory?</a:t>
            </a:r>
          </a:p>
        </p:txBody>
      </p:sp>
    </p:spTree>
    <p:extLst>
      <p:ext uri="{BB962C8B-B14F-4D97-AF65-F5344CB8AC3E}">
        <p14:creationId xmlns:p14="http://schemas.microsoft.com/office/powerpoint/2010/main" val="4942974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decel="100000" fill="hold" grpId="0" nodeType="withEffect">
                                  <p:stCondLst>
                                    <p:cond delay="0"/>
                                  </p:stCondLst>
                                  <p:childTnLst>
                                    <p:animScale>
                                      <p:cBhvr>
                                        <p:cTn id="6" dur="700" fill="hold"/>
                                        <p:tgtEl>
                                          <p:spTgt spid="16"/>
                                        </p:tgtEl>
                                      </p:cBhvr>
                                      <p:by x="85000" y="85000"/>
                                    </p:animScale>
                                  </p:childTnLst>
                                </p:cTn>
                              </p:par>
                              <p:par>
                                <p:cTn id="7" presetID="42" presetClass="path" presetSubtype="0" decel="100000" fill="hold" grpId="1" nodeType="withEffect">
                                  <p:stCondLst>
                                    <p:cond delay="0"/>
                                  </p:stCondLst>
                                  <p:childTnLst>
                                    <p:animMotion origin="layout" path="M 1.89175E-6 1.69768E-6 L -0.21381 0.10917 " pathEditMode="relative" rAng="0" ptsTypes="AA">
                                      <p:cBhvr>
                                        <p:cTn id="8" dur="700" fill="hold"/>
                                        <p:tgtEl>
                                          <p:spTgt spid="16"/>
                                        </p:tgtEl>
                                        <p:attrNameLst>
                                          <p:attrName>ppt_x</p:attrName>
                                          <p:attrName>ppt_y</p:attrName>
                                        </p:attrNameLst>
                                      </p:cBhvr>
                                      <p:rCtr x="-10684" y="5561"/>
                                    </p:animMotion>
                                  </p:childTnLst>
                                </p:cTn>
                              </p:par>
                              <p:par>
                                <p:cTn id="9" presetID="6" presetClass="emph" presetSubtype="0" decel="100000" fill="hold" grpId="0" nodeType="withEffect">
                                  <p:stCondLst>
                                    <p:cond delay="0"/>
                                  </p:stCondLst>
                                  <p:childTnLst>
                                    <p:animScale>
                                      <p:cBhvr>
                                        <p:cTn id="10" dur="700" fill="hold"/>
                                        <p:tgtEl>
                                          <p:spTgt spid="15"/>
                                        </p:tgtEl>
                                      </p:cBhvr>
                                      <p:by x="85000" y="85000"/>
                                    </p:animScale>
                                  </p:childTnLst>
                                </p:cTn>
                              </p:par>
                              <p:par>
                                <p:cTn id="11" presetID="42" presetClass="path" presetSubtype="0" decel="100000" fill="hold" grpId="1" nodeType="withEffect">
                                  <p:stCondLst>
                                    <p:cond delay="0"/>
                                  </p:stCondLst>
                                  <p:childTnLst>
                                    <p:animMotion origin="layout" path="M 3.3495E-6 -2.86882E-6 L -0.3841 0.0261 " pathEditMode="relative" rAng="0" ptsTypes="AA">
                                      <p:cBhvr>
                                        <p:cTn id="12" dur="700" fill="hold"/>
                                        <p:tgtEl>
                                          <p:spTgt spid="15"/>
                                        </p:tgtEl>
                                        <p:attrNameLst>
                                          <p:attrName>ppt_x</p:attrName>
                                          <p:attrName>ppt_y</p:attrName>
                                        </p:attrNameLst>
                                      </p:cBhvr>
                                      <p:rCtr x="-19211" y="1294"/>
                                    </p:animMotion>
                                  </p:childTnLst>
                                </p:cTn>
                              </p:par>
                            </p:childTnLst>
                          </p:cTn>
                        </p:par>
                        <p:par>
                          <p:cTn id="13" fill="hold">
                            <p:stCondLst>
                              <p:cond delay="700"/>
                            </p:stCondLst>
                            <p:childTnLst>
                              <p:par>
                                <p:cTn id="14" presetID="53" presetClass="entr" presetSubtype="16" fill="hold" nodeType="afterEffect">
                                  <p:stCondLst>
                                    <p:cond delay="0"/>
                                  </p:stCondLst>
                                  <p:childTnLst>
                                    <p:set>
                                      <p:cBhvr>
                                        <p:cTn id="15" dur="1" fill="hold">
                                          <p:stCondLst>
                                            <p:cond delay="0"/>
                                          </p:stCondLst>
                                        </p:cTn>
                                        <p:tgtEl>
                                          <p:spTgt spid="14"/>
                                        </p:tgtEl>
                                        <p:attrNameLst>
                                          <p:attrName>style.visibility</p:attrName>
                                        </p:attrNameLst>
                                      </p:cBhvr>
                                      <p:to>
                                        <p:strVal val="visible"/>
                                      </p:to>
                                    </p:set>
                                    <p:anim calcmode="lin" valueType="num">
                                      <p:cBhvr>
                                        <p:cTn id="16" dur="250" fill="hold"/>
                                        <p:tgtEl>
                                          <p:spTgt spid="14"/>
                                        </p:tgtEl>
                                        <p:attrNameLst>
                                          <p:attrName>ppt_w</p:attrName>
                                        </p:attrNameLst>
                                      </p:cBhvr>
                                      <p:tavLst>
                                        <p:tav tm="0">
                                          <p:val>
                                            <p:fltVal val="0"/>
                                          </p:val>
                                        </p:tav>
                                        <p:tav tm="100000">
                                          <p:val>
                                            <p:strVal val="#ppt_w"/>
                                          </p:val>
                                        </p:tav>
                                      </p:tavLst>
                                    </p:anim>
                                    <p:anim calcmode="lin" valueType="num">
                                      <p:cBhvr>
                                        <p:cTn id="17" dur="250" fill="hold"/>
                                        <p:tgtEl>
                                          <p:spTgt spid="14"/>
                                        </p:tgtEl>
                                        <p:attrNameLst>
                                          <p:attrName>ppt_h</p:attrName>
                                        </p:attrNameLst>
                                      </p:cBhvr>
                                      <p:tavLst>
                                        <p:tav tm="0">
                                          <p:val>
                                            <p:fltVal val="0"/>
                                          </p:val>
                                        </p:tav>
                                        <p:tav tm="100000">
                                          <p:val>
                                            <p:strVal val="#ppt_h"/>
                                          </p:val>
                                        </p:tav>
                                      </p:tavLst>
                                    </p:anim>
                                    <p:animEffect transition="in" filter="fade">
                                      <p:cBhvr>
                                        <p:cTn id="18" dur="250"/>
                                        <p:tgtEl>
                                          <p:spTgt spid="14"/>
                                        </p:tgtEl>
                                      </p:cBhvr>
                                    </p:animEffect>
                                  </p:childTnLst>
                                </p:cTn>
                              </p:par>
                              <p:par>
                                <p:cTn id="19" presetID="6" presetClass="emph" presetSubtype="0" decel="100000" fill="hold" nodeType="withEffect">
                                  <p:stCondLst>
                                    <p:cond delay="200"/>
                                  </p:stCondLst>
                                  <p:childTnLst>
                                    <p:animScale>
                                      <p:cBhvr>
                                        <p:cTn id="20" dur="250" fill="hold"/>
                                        <p:tgtEl>
                                          <p:spTgt spid="14"/>
                                        </p:tgtEl>
                                      </p:cBhvr>
                                      <p:by x="110000" y="110000"/>
                                    </p:animScale>
                                  </p:childTnLst>
                                </p:cTn>
                              </p:par>
                              <p:par>
                                <p:cTn id="21" presetID="6" presetClass="emph" presetSubtype="0" decel="100000" fill="hold" nodeType="withEffect">
                                  <p:stCondLst>
                                    <p:cond delay="300"/>
                                  </p:stCondLst>
                                  <p:childTnLst>
                                    <p:animScale>
                                      <p:cBhvr>
                                        <p:cTn id="22" dur="250" fill="hold"/>
                                        <p:tgtEl>
                                          <p:spTgt spid="14"/>
                                        </p:tgtEl>
                                      </p:cBhvr>
                                      <p:by x="91000" y="91000"/>
                                    </p:animScale>
                                  </p:childTnLst>
                                </p:cTn>
                              </p:par>
                            </p:childTnLst>
                          </p:cTn>
                        </p:par>
                      </p:childTnLst>
                    </p:cTn>
                  </p:par>
                  <p:par>
                    <p:cTn id="23" fill="hold">
                      <p:stCondLst>
                        <p:cond delay="indefinite"/>
                      </p:stCondLst>
                      <p:childTnLst>
                        <p:par>
                          <p:cTn id="24" fill="hold">
                            <p:stCondLst>
                              <p:cond delay="0"/>
                            </p:stCondLst>
                            <p:childTnLst>
                              <p:par>
                                <p:cTn id="25" presetID="2" presetClass="entr" presetSubtype="8" decel="100000" fill="hold" grpId="0" nodeType="clickEffect">
                                  <p:stCondLst>
                                    <p:cond delay="0"/>
                                  </p:stCondLst>
                                  <p:childTnLst>
                                    <p:set>
                                      <p:cBhvr>
                                        <p:cTn id="26" dur="1" fill="hold">
                                          <p:stCondLst>
                                            <p:cond delay="0"/>
                                          </p:stCondLst>
                                        </p:cTn>
                                        <p:tgtEl>
                                          <p:spTgt spid="6">
                                            <p:txEl>
                                              <p:pRg st="0" end="0"/>
                                            </p:txEl>
                                          </p:spTgt>
                                        </p:tgtEl>
                                        <p:attrNameLst>
                                          <p:attrName>style.visibility</p:attrName>
                                        </p:attrNameLst>
                                      </p:cBhvr>
                                      <p:to>
                                        <p:strVal val="visible"/>
                                      </p:to>
                                    </p:set>
                                    <p:anim calcmode="lin" valueType="num">
                                      <p:cBhvr additive="base">
                                        <p:cTn id="27" dur="900" fill="hold"/>
                                        <p:tgtEl>
                                          <p:spTgt spid="6">
                                            <p:txEl>
                                              <p:pRg st="0" end="0"/>
                                            </p:txEl>
                                          </p:spTgt>
                                        </p:tgtEl>
                                        <p:attrNameLst>
                                          <p:attrName>ppt_x</p:attrName>
                                        </p:attrNameLst>
                                      </p:cBhvr>
                                      <p:tavLst>
                                        <p:tav tm="0">
                                          <p:val>
                                            <p:strVal val="0-#ppt_w/2"/>
                                          </p:val>
                                        </p:tav>
                                        <p:tav tm="100000">
                                          <p:val>
                                            <p:strVal val="#ppt_x"/>
                                          </p:val>
                                        </p:tav>
                                      </p:tavLst>
                                    </p:anim>
                                    <p:anim calcmode="lin" valueType="num">
                                      <p:cBhvr additive="base">
                                        <p:cTn id="28" dur="900" fill="hold"/>
                                        <p:tgtEl>
                                          <p:spTgt spid="6">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8" decel="100000" fill="hold" grpId="0" nodeType="clickEffect">
                                  <p:stCondLst>
                                    <p:cond delay="0"/>
                                  </p:stCondLst>
                                  <p:childTnLst>
                                    <p:set>
                                      <p:cBhvr>
                                        <p:cTn id="32" dur="1" fill="hold">
                                          <p:stCondLst>
                                            <p:cond delay="0"/>
                                          </p:stCondLst>
                                        </p:cTn>
                                        <p:tgtEl>
                                          <p:spTgt spid="6">
                                            <p:txEl>
                                              <p:pRg st="1" end="1"/>
                                            </p:txEl>
                                          </p:spTgt>
                                        </p:tgtEl>
                                        <p:attrNameLst>
                                          <p:attrName>style.visibility</p:attrName>
                                        </p:attrNameLst>
                                      </p:cBhvr>
                                      <p:to>
                                        <p:strVal val="visible"/>
                                      </p:to>
                                    </p:set>
                                    <p:anim calcmode="lin" valueType="num">
                                      <p:cBhvr additive="base">
                                        <p:cTn id="33" dur="900" fill="hold"/>
                                        <p:tgtEl>
                                          <p:spTgt spid="6">
                                            <p:txEl>
                                              <p:pRg st="1" end="1"/>
                                            </p:txEl>
                                          </p:spTgt>
                                        </p:tgtEl>
                                        <p:attrNameLst>
                                          <p:attrName>ppt_x</p:attrName>
                                        </p:attrNameLst>
                                      </p:cBhvr>
                                      <p:tavLst>
                                        <p:tav tm="0">
                                          <p:val>
                                            <p:strVal val="0-#ppt_w/2"/>
                                          </p:val>
                                        </p:tav>
                                        <p:tav tm="100000">
                                          <p:val>
                                            <p:strVal val="#ppt_x"/>
                                          </p:val>
                                        </p:tav>
                                      </p:tavLst>
                                    </p:anim>
                                    <p:anim calcmode="lin" valueType="num">
                                      <p:cBhvr additive="base">
                                        <p:cTn id="34" dur="900" fill="hold"/>
                                        <p:tgtEl>
                                          <p:spTgt spid="6">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grpId="0" nodeType="clickEffect">
                                  <p:stCondLst>
                                    <p:cond delay="0"/>
                                  </p:stCondLst>
                                  <p:childTnLst>
                                    <p:set>
                                      <p:cBhvr>
                                        <p:cTn id="38" dur="1" fill="hold">
                                          <p:stCondLst>
                                            <p:cond delay="0"/>
                                          </p:stCondLst>
                                        </p:cTn>
                                        <p:tgtEl>
                                          <p:spTgt spid="6">
                                            <p:txEl>
                                              <p:pRg st="2" end="2"/>
                                            </p:txEl>
                                          </p:spTgt>
                                        </p:tgtEl>
                                        <p:attrNameLst>
                                          <p:attrName>style.visibility</p:attrName>
                                        </p:attrNameLst>
                                      </p:cBhvr>
                                      <p:to>
                                        <p:strVal val="visible"/>
                                      </p:to>
                                    </p:set>
                                    <p:anim calcmode="lin" valueType="num">
                                      <p:cBhvr additive="base">
                                        <p:cTn id="39" dur="900" fill="hold"/>
                                        <p:tgtEl>
                                          <p:spTgt spid="6">
                                            <p:txEl>
                                              <p:pRg st="2" end="2"/>
                                            </p:txEl>
                                          </p:spTgt>
                                        </p:tgtEl>
                                        <p:attrNameLst>
                                          <p:attrName>ppt_x</p:attrName>
                                        </p:attrNameLst>
                                      </p:cBhvr>
                                      <p:tavLst>
                                        <p:tav tm="0">
                                          <p:val>
                                            <p:strVal val="0-#ppt_w/2"/>
                                          </p:val>
                                        </p:tav>
                                        <p:tav tm="100000">
                                          <p:val>
                                            <p:strVal val="#ppt_x"/>
                                          </p:val>
                                        </p:tav>
                                      </p:tavLst>
                                    </p:anim>
                                    <p:anim calcmode="lin" valueType="num">
                                      <p:cBhvr additive="base">
                                        <p:cTn id="40" dur="900" fill="hold"/>
                                        <p:tgtEl>
                                          <p:spTgt spid="6">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15" grpId="0" animBg="1"/>
      <p:bldP spid="15" grpId="1" animBg="1"/>
      <p:bldP spid="16" grpId="0" animBg="1"/>
      <p:bldP spid="16"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1157" y="225883"/>
            <a:ext cx="10925450" cy="542777"/>
          </a:xfrm>
        </p:spPr>
        <p:txBody>
          <a:bodyPr/>
          <a:lstStyle/>
          <a:p>
            <a:r>
              <a:rPr lang="en-US" sz="3919" dirty="0">
                <a:solidFill>
                  <a:srgbClr val="06796F"/>
                </a:solidFill>
              </a:rPr>
              <a:t>Common Identity with Sync and Federation</a:t>
            </a:r>
          </a:p>
        </p:txBody>
      </p:sp>
      <p:cxnSp>
        <p:nvCxnSpPr>
          <p:cNvPr id="577" name="Straight Arrow Connector 576"/>
          <p:cNvCxnSpPr/>
          <p:nvPr/>
        </p:nvCxnSpPr>
        <p:spPr>
          <a:xfrm flipH="1" flipV="1">
            <a:off x="3423755" y="5355544"/>
            <a:ext cx="913233" cy="306892"/>
          </a:xfrm>
          <a:prstGeom prst="straightConnector1">
            <a:avLst/>
          </a:prstGeom>
          <a:ln w="25400" cap="rnd" cmpd="sng">
            <a:solidFill>
              <a:srgbClr val="0070C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817" name="Rectangle 816"/>
          <p:cNvSpPr/>
          <p:nvPr/>
        </p:nvSpPr>
        <p:spPr bwMode="auto">
          <a:xfrm>
            <a:off x="7648137" y="2525512"/>
            <a:ext cx="4274289" cy="868186"/>
          </a:xfrm>
          <a:prstGeom prst="rect">
            <a:avLst/>
          </a:prstGeom>
          <a:ln>
            <a:noFill/>
          </a:ln>
        </p:spPr>
        <p:txBody>
          <a:bodyPr vert="horz" wrap="square" lIns="0" tIns="0" rIns="0" bIns="0" rtlCol="0">
            <a:spAutoFit/>
          </a:bodyPr>
          <a:lstStyle/>
          <a:p>
            <a:pPr defTabSz="914188">
              <a:lnSpc>
                <a:spcPct val="90000"/>
              </a:lnSpc>
              <a:spcBef>
                <a:spcPts val="1175"/>
              </a:spcBef>
            </a:pPr>
            <a:r>
              <a:rPr lang="en-US" sz="1567" spc="-29" dirty="0">
                <a:solidFill>
                  <a:srgbClr val="F2F2F2">
                    <a:lumMod val="50000"/>
                  </a:srgbClr>
                </a:solidFill>
              </a:rPr>
              <a:t>User attributes are synchronized </a:t>
            </a:r>
            <a:r>
              <a:rPr lang="en-US" sz="1567" b="1" spc="-29" dirty="0">
                <a:solidFill>
                  <a:srgbClr val="06796F"/>
                </a:solidFill>
              </a:rPr>
              <a:t>including the password hash</a:t>
            </a:r>
            <a:r>
              <a:rPr lang="en-US" sz="1567" spc="-29" dirty="0">
                <a:solidFill>
                  <a:srgbClr val="F2F2F2">
                    <a:lumMod val="50000"/>
                  </a:srgbClr>
                </a:solidFill>
              </a:rPr>
              <a:t>, Authentication can be completed against </a:t>
            </a:r>
            <a:r>
              <a:rPr lang="en-US" sz="1567" u="sng" spc="-29" dirty="0">
                <a:solidFill>
                  <a:srgbClr val="F2F2F2">
                    <a:lumMod val="50000"/>
                  </a:srgbClr>
                </a:solidFill>
              </a:rPr>
              <a:t>either</a:t>
            </a:r>
            <a:r>
              <a:rPr lang="en-US" sz="1567" spc="-29" dirty="0">
                <a:solidFill>
                  <a:srgbClr val="F2F2F2">
                    <a:lumMod val="50000"/>
                  </a:srgbClr>
                </a:solidFill>
              </a:rPr>
              <a:t> </a:t>
            </a:r>
            <a:r>
              <a:rPr lang="en-US" sz="1567" b="1" spc="-29" dirty="0">
                <a:solidFill>
                  <a:srgbClr val="06796F"/>
                </a:solidFill>
              </a:rPr>
              <a:t>Azure </a:t>
            </a:r>
            <a:r>
              <a:rPr lang="en-US" sz="1567" u="sng" spc="-29" dirty="0">
                <a:solidFill>
                  <a:srgbClr val="F2F2F2">
                    <a:lumMod val="50000"/>
                  </a:srgbClr>
                </a:solidFill>
              </a:rPr>
              <a:t>or</a:t>
            </a:r>
            <a:r>
              <a:rPr lang="en-US" sz="1567" b="1" spc="-29" dirty="0">
                <a:solidFill>
                  <a:srgbClr val="06796F"/>
                </a:solidFill>
              </a:rPr>
              <a:t> Windows Server Active Directory</a:t>
            </a:r>
          </a:p>
        </p:txBody>
      </p:sp>
      <p:cxnSp>
        <p:nvCxnSpPr>
          <p:cNvPr id="512" name="Straight Arrow Connector 511"/>
          <p:cNvCxnSpPr/>
          <p:nvPr/>
        </p:nvCxnSpPr>
        <p:spPr>
          <a:xfrm flipH="1">
            <a:off x="5856615" y="5379858"/>
            <a:ext cx="1280977" cy="399027"/>
          </a:xfrm>
          <a:prstGeom prst="straightConnector1">
            <a:avLst/>
          </a:prstGeom>
          <a:ln w="25400" cap="rnd" cmpd="sng">
            <a:solidFill>
              <a:srgbClr val="0070C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480" name="Rectangle 479"/>
          <p:cNvSpPr/>
          <p:nvPr/>
        </p:nvSpPr>
        <p:spPr>
          <a:xfrm>
            <a:off x="4711447" y="4860115"/>
            <a:ext cx="720923" cy="361381"/>
          </a:xfrm>
          <a:prstGeom prst="rect">
            <a:avLst/>
          </a:prstGeom>
          <a:ln>
            <a:noFill/>
          </a:ln>
        </p:spPr>
        <p:txBody>
          <a:bodyPr wrap="square" lIns="0" tIns="0" rIns="0" bIns="0" anchor="ctr">
            <a:spAutoFit/>
          </a:bodyPr>
          <a:lstStyle/>
          <a:p>
            <a:pPr algn="ctr" defTabSz="1074454" fontAlgn="base">
              <a:spcAft>
                <a:spcPct val="0"/>
              </a:spcAft>
            </a:pPr>
            <a:r>
              <a:rPr lang="en-US" sz="1174" dirty="0">
                <a:ln>
                  <a:solidFill>
                    <a:srgbClr val="FFFFFF">
                      <a:alpha val="0"/>
                    </a:srgbClr>
                  </a:solidFill>
                </a:ln>
                <a:solidFill>
                  <a:srgbClr val="00188F"/>
                </a:solidFill>
              </a:rPr>
              <a:t>Identity Sync</a:t>
            </a:r>
          </a:p>
        </p:txBody>
      </p:sp>
      <p:grpSp>
        <p:nvGrpSpPr>
          <p:cNvPr id="504" name="Group 503"/>
          <p:cNvGrpSpPr/>
          <p:nvPr/>
        </p:nvGrpSpPr>
        <p:grpSpPr>
          <a:xfrm>
            <a:off x="4535027" y="5379861"/>
            <a:ext cx="892301" cy="1151022"/>
            <a:chOff x="7099380" y="2441962"/>
            <a:chExt cx="867823" cy="1119446"/>
          </a:xfrm>
        </p:grpSpPr>
        <p:sp>
          <p:nvSpPr>
            <p:cNvPr id="505" name="Rectangle 504"/>
            <p:cNvSpPr/>
            <p:nvPr/>
          </p:nvSpPr>
          <p:spPr>
            <a:xfrm>
              <a:off x="7231528" y="3385675"/>
              <a:ext cx="735675" cy="175733"/>
            </a:xfrm>
            <a:prstGeom prst="rect">
              <a:avLst/>
            </a:prstGeom>
            <a:ln>
              <a:noFill/>
            </a:ln>
          </p:spPr>
          <p:txBody>
            <a:bodyPr wrap="square" lIns="0" tIns="0" rIns="0" bIns="0" anchor="ctr">
              <a:spAutoFit/>
            </a:bodyPr>
            <a:lstStyle/>
            <a:p>
              <a:pPr algn="ctr" defTabSz="1074454" fontAlgn="base">
                <a:spcAft>
                  <a:spcPct val="0"/>
                </a:spcAft>
              </a:pPr>
              <a:r>
                <a:rPr lang="en-US" sz="1174" dirty="0">
                  <a:ln>
                    <a:solidFill>
                      <a:srgbClr val="FFFFFF">
                        <a:alpha val="0"/>
                      </a:srgbClr>
                    </a:solidFill>
                  </a:ln>
                  <a:solidFill>
                    <a:srgbClr val="00188F"/>
                  </a:solidFill>
                </a:rPr>
                <a:t>AD FS</a:t>
              </a:r>
            </a:p>
          </p:txBody>
        </p:sp>
        <p:grpSp>
          <p:nvGrpSpPr>
            <p:cNvPr id="506" name="Group 505"/>
            <p:cNvGrpSpPr/>
            <p:nvPr/>
          </p:nvGrpSpPr>
          <p:grpSpPr>
            <a:xfrm>
              <a:off x="7099380" y="2441962"/>
              <a:ext cx="776661" cy="927326"/>
              <a:chOff x="7348547" y="1211262"/>
              <a:chExt cx="1530784" cy="1827743"/>
            </a:xfrm>
          </p:grpSpPr>
          <p:sp>
            <p:nvSpPr>
              <p:cNvPr id="507" name="Freeform 836"/>
              <p:cNvSpPr>
                <a:spLocks noEditPoints="1"/>
              </p:cNvSpPr>
              <p:nvPr/>
            </p:nvSpPr>
            <p:spPr bwMode="auto">
              <a:xfrm>
                <a:off x="7915734" y="1211262"/>
                <a:ext cx="963597" cy="182774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0070C0"/>
              </a:solidFill>
              <a:ln w="0">
                <a:noFill/>
                <a:prstDash val="solid"/>
                <a:round/>
                <a:headEnd/>
                <a:tailEnd/>
              </a:ln>
            </p:spPr>
            <p:txBody>
              <a:bodyPr vert="horz" wrap="square" lIns="89606" tIns="44804" rIns="89606" bIns="44804" numCol="1" anchor="t" anchorCtr="0" compatLnSpc="1">
                <a:prstTxWarp prst="textNoShape">
                  <a:avLst/>
                </a:prstTxWarp>
              </a:bodyPr>
              <a:lstStyle/>
              <a:p>
                <a:pPr defTabSz="914188"/>
                <a:endParaRPr lang="en-GB" sz="1764">
                  <a:solidFill>
                    <a:srgbClr val="000000"/>
                  </a:solidFill>
                </a:endParaRPr>
              </a:p>
            </p:txBody>
          </p:sp>
          <p:grpSp>
            <p:nvGrpSpPr>
              <p:cNvPr id="508" name="Group 507"/>
              <p:cNvGrpSpPr/>
              <p:nvPr/>
            </p:nvGrpSpPr>
            <p:grpSpPr>
              <a:xfrm>
                <a:off x="7348547" y="1752940"/>
                <a:ext cx="1348570" cy="888065"/>
                <a:chOff x="6873117" y="2094811"/>
                <a:chExt cx="1134713" cy="747235"/>
              </a:xfrm>
            </p:grpSpPr>
            <p:sp>
              <p:nvSpPr>
                <p:cNvPr id="509" name="Freeform 508"/>
                <p:cNvSpPr>
                  <a:spLocks noEditPoints="1"/>
                </p:cNvSpPr>
                <p:nvPr/>
              </p:nvSpPr>
              <p:spPr bwMode="auto">
                <a:xfrm>
                  <a:off x="6873117" y="2094811"/>
                  <a:ext cx="1134713" cy="747235"/>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89606" tIns="44804" rIns="89606" bIns="44804" numCol="1" anchor="t" anchorCtr="0" compatLnSpc="1">
                  <a:prstTxWarp prst="textNoShape">
                    <a:avLst/>
                  </a:prstTxWarp>
                </a:bodyPr>
                <a:lstStyle/>
                <a:p>
                  <a:pPr defTabSz="914188"/>
                  <a:endParaRPr lang="en-GB" sz="1764">
                    <a:solidFill>
                      <a:srgbClr val="000000"/>
                    </a:solidFill>
                  </a:endParaRPr>
                </a:p>
              </p:txBody>
            </p:sp>
            <p:sp>
              <p:nvSpPr>
                <p:cNvPr id="510" name="Freeform 509"/>
                <p:cNvSpPr>
                  <a:spLocks noEditPoints="1"/>
                </p:cNvSpPr>
                <p:nvPr/>
              </p:nvSpPr>
              <p:spPr bwMode="auto">
                <a:xfrm>
                  <a:off x="7008706" y="2301509"/>
                  <a:ext cx="871374" cy="456777"/>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188"/>
                  <a:endParaRPr lang="en-GB" sz="1764">
                    <a:solidFill>
                      <a:srgbClr val="000000"/>
                    </a:solidFill>
                  </a:endParaRPr>
                </a:p>
              </p:txBody>
            </p:sp>
            <p:sp>
              <p:nvSpPr>
                <p:cNvPr id="511" name="Freeform 510"/>
                <p:cNvSpPr>
                  <a:spLocks noEditPoints="1"/>
                </p:cNvSpPr>
                <p:nvPr/>
              </p:nvSpPr>
              <p:spPr bwMode="auto">
                <a:xfrm>
                  <a:off x="7096084" y="2355744"/>
                  <a:ext cx="696014" cy="335051"/>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270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14188"/>
                  <a:endParaRPr lang="en-GB" sz="1764">
                    <a:solidFill>
                      <a:srgbClr val="000000"/>
                    </a:solidFill>
                  </a:endParaRPr>
                </a:p>
              </p:txBody>
            </p:sp>
          </p:grpSp>
        </p:grpSp>
      </p:grpSp>
      <p:grpSp>
        <p:nvGrpSpPr>
          <p:cNvPr id="14" name="Group 13"/>
          <p:cNvGrpSpPr/>
          <p:nvPr/>
        </p:nvGrpSpPr>
        <p:grpSpPr>
          <a:xfrm>
            <a:off x="1290022" y="1557085"/>
            <a:ext cx="1661161" cy="1084064"/>
            <a:chOff x="4180433" y="3009950"/>
            <a:chExt cx="1695153" cy="1106246"/>
          </a:xfrm>
        </p:grpSpPr>
        <p:grpSp>
          <p:nvGrpSpPr>
            <p:cNvPr id="6" name="Group 5"/>
            <p:cNvGrpSpPr/>
            <p:nvPr/>
          </p:nvGrpSpPr>
          <p:grpSpPr>
            <a:xfrm>
              <a:off x="4180433" y="3665675"/>
              <a:ext cx="1695153" cy="450521"/>
              <a:chOff x="3002667" y="5699193"/>
              <a:chExt cx="1695153" cy="450521"/>
            </a:xfrm>
          </p:grpSpPr>
          <p:sp>
            <p:nvSpPr>
              <p:cNvPr id="114" name="Rectangle 113"/>
              <p:cNvSpPr/>
              <p:nvPr/>
            </p:nvSpPr>
            <p:spPr>
              <a:xfrm>
                <a:off x="3351065" y="5965195"/>
                <a:ext cx="1156250" cy="184519"/>
              </a:xfrm>
              <a:prstGeom prst="rect">
                <a:avLst/>
              </a:prstGeom>
              <a:ln>
                <a:noFill/>
              </a:ln>
            </p:spPr>
            <p:txBody>
              <a:bodyPr wrap="square" lIns="0" tIns="0" rIns="0" bIns="0" anchor="ctr">
                <a:spAutoFit/>
              </a:bodyPr>
              <a:lstStyle/>
              <a:p>
                <a:pPr algn="ctr" defTabSz="1074661" fontAlgn="base">
                  <a:spcBef>
                    <a:spcPts val="1411"/>
                  </a:spcBef>
                  <a:spcAft>
                    <a:spcPct val="0"/>
                  </a:spcAft>
                </a:pPr>
                <a:r>
                  <a:rPr lang="en-US" sz="1175" dirty="0">
                    <a:ln>
                      <a:solidFill>
                        <a:srgbClr val="FFFFFF">
                          <a:alpha val="0"/>
                        </a:srgbClr>
                      </a:solidFill>
                    </a:ln>
                    <a:solidFill>
                      <a:srgbClr val="00188F"/>
                    </a:solidFill>
                  </a:rPr>
                  <a:t>Active Directory</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02667" y="5699193"/>
                <a:ext cx="1695153" cy="398452"/>
              </a:xfrm>
              <a:prstGeom prst="rect">
                <a:avLst/>
              </a:prstGeom>
            </p:spPr>
          </p:pic>
        </p:grpSp>
        <p:pic>
          <p:nvPicPr>
            <p:cNvPr id="1210" name="Picture 120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5105" y="3009950"/>
              <a:ext cx="1044032" cy="690827"/>
            </a:xfrm>
            <a:prstGeom prst="rect">
              <a:avLst/>
            </a:prstGeom>
          </p:spPr>
        </p:pic>
      </p:grpSp>
      <p:cxnSp>
        <p:nvCxnSpPr>
          <p:cNvPr id="476" name="Straight Arrow Connector 475"/>
          <p:cNvCxnSpPr/>
          <p:nvPr/>
        </p:nvCxnSpPr>
        <p:spPr>
          <a:xfrm flipH="1" flipV="1">
            <a:off x="5835599" y="2099152"/>
            <a:ext cx="1207908" cy="2566"/>
          </a:xfrm>
          <a:prstGeom prst="straightConnector1">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7" name="Straight Arrow Connector 476"/>
          <p:cNvCxnSpPr/>
          <p:nvPr/>
        </p:nvCxnSpPr>
        <p:spPr>
          <a:xfrm>
            <a:off x="3714732" y="2115663"/>
            <a:ext cx="622255" cy="1"/>
          </a:xfrm>
          <a:prstGeom prst="straightConnector1">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9" name="Rectangle 478"/>
          <p:cNvSpPr/>
          <p:nvPr/>
        </p:nvSpPr>
        <p:spPr>
          <a:xfrm>
            <a:off x="4352955" y="2554812"/>
            <a:ext cx="1339475" cy="361381"/>
          </a:xfrm>
          <a:prstGeom prst="rect">
            <a:avLst/>
          </a:prstGeom>
          <a:ln>
            <a:noFill/>
          </a:ln>
        </p:spPr>
        <p:txBody>
          <a:bodyPr wrap="square" lIns="0" tIns="0" rIns="0" bIns="0" anchor="ctr">
            <a:spAutoFit/>
          </a:bodyPr>
          <a:lstStyle/>
          <a:p>
            <a:pPr algn="ctr" defTabSz="1074454" fontAlgn="base">
              <a:spcAft>
                <a:spcPct val="0"/>
              </a:spcAft>
            </a:pPr>
            <a:r>
              <a:rPr lang="en-US" sz="1174" dirty="0">
                <a:ln>
                  <a:solidFill>
                    <a:srgbClr val="FFFFFF">
                      <a:alpha val="0"/>
                    </a:srgbClr>
                  </a:solidFill>
                </a:ln>
                <a:solidFill>
                  <a:srgbClr val="00188F"/>
                </a:solidFill>
              </a:rPr>
              <a:t>Identity Sync with password hash sync</a:t>
            </a:r>
          </a:p>
        </p:txBody>
      </p:sp>
      <p:sp>
        <p:nvSpPr>
          <p:cNvPr id="552" name="Rectangle 551"/>
          <p:cNvSpPr/>
          <p:nvPr/>
        </p:nvSpPr>
        <p:spPr bwMode="auto">
          <a:xfrm>
            <a:off x="7660611" y="5673713"/>
            <a:ext cx="3677148" cy="868186"/>
          </a:xfrm>
          <a:prstGeom prst="rect">
            <a:avLst/>
          </a:prstGeom>
          <a:ln>
            <a:noFill/>
          </a:ln>
        </p:spPr>
        <p:txBody>
          <a:bodyPr vert="horz" wrap="square" lIns="0" tIns="0" rIns="0" bIns="0" rtlCol="0">
            <a:spAutoFit/>
          </a:bodyPr>
          <a:lstStyle/>
          <a:p>
            <a:pPr defTabSz="914188">
              <a:lnSpc>
                <a:spcPct val="90000"/>
              </a:lnSpc>
              <a:spcBef>
                <a:spcPts val="1175"/>
              </a:spcBef>
            </a:pPr>
            <a:r>
              <a:rPr lang="en-US" sz="1567" spc="-29" dirty="0">
                <a:solidFill>
                  <a:srgbClr val="F2F2F2">
                    <a:lumMod val="50000"/>
                  </a:srgbClr>
                </a:solidFill>
              </a:rPr>
              <a:t>User attributes are synchronized, </a:t>
            </a:r>
            <a:r>
              <a:rPr lang="en-US" sz="1567" b="1" spc="-29" dirty="0">
                <a:solidFill>
                  <a:srgbClr val="06796F"/>
                </a:solidFill>
              </a:rPr>
              <a:t>Authentication is passed back through federation </a:t>
            </a:r>
            <a:r>
              <a:rPr lang="en-US" sz="1567" spc="-29" dirty="0">
                <a:solidFill>
                  <a:srgbClr val="F2F2F2">
                    <a:lumMod val="50000"/>
                  </a:srgbClr>
                </a:solidFill>
              </a:rPr>
              <a:t>and completed against </a:t>
            </a:r>
            <a:r>
              <a:rPr lang="en-US" sz="1567" b="1" spc="-29" dirty="0">
                <a:solidFill>
                  <a:srgbClr val="06796F"/>
                </a:solidFill>
              </a:rPr>
              <a:t>Windows Server Active Directory</a:t>
            </a:r>
          </a:p>
        </p:txBody>
      </p:sp>
      <p:grpSp>
        <p:nvGrpSpPr>
          <p:cNvPr id="553" name="Group 552"/>
          <p:cNvGrpSpPr/>
          <p:nvPr/>
        </p:nvGrpSpPr>
        <p:grpSpPr>
          <a:xfrm>
            <a:off x="1371520" y="4452371"/>
            <a:ext cx="1661161" cy="1084064"/>
            <a:chOff x="4180433" y="3009950"/>
            <a:chExt cx="1695153" cy="1106246"/>
          </a:xfrm>
        </p:grpSpPr>
        <p:grpSp>
          <p:nvGrpSpPr>
            <p:cNvPr id="554" name="Group 553"/>
            <p:cNvGrpSpPr/>
            <p:nvPr/>
          </p:nvGrpSpPr>
          <p:grpSpPr>
            <a:xfrm>
              <a:off x="4180433" y="3665675"/>
              <a:ext cx="1695153" cy="450521"/>
              <a:chOff x="3002667" y="5699193"/>
              <a:chExt cx="1695153" cy="450521"/>
            </a:xfrm>
          </p:grpSpPr>
          <p:sp>
            <p:nvSpPr>
              <p:cNvPr id="556" name="Rectangle 555"/>
              <p:cNvSpPr/>
              <p:nvPr/>
            </p:nvSpPr>
            <p:spPr>
              <a:xfrm>
                <a:off x="3351065" y="5965195"/>
                <a:ext cx="1156250" cy="184519"/>
              </a:xfrm>
              <a:prstGeom prst="rect">
                <a:avLst/>
              </a:prstGeom>
              <a:ln>
                <a:noFill/>
              </a:ln>
            </p:spPr>
            <p:txBody>
              <a:bodyPr wrap="square" lIns="0" tIns="0" rIns="0" bIns="0" anchor="ctr">
                <a:spAutoFit/>
              </a:bodyPr>
              <a:lstStyle/>
              <a:p>
                <a:pPr algn="ctr" defTabSz="1074661" fontAlgn="base">
                  <a:spcBef>
                    <a:spcPts val="1411"/>
                  </a:spcBef>
                  <a:spcAft>
                    <a:spcPct val="0"/>
                  </a:spcAft>
                </a:pPr>
                <a:r>
                  <a:rPr lang="en-US" sz="1175" dirty="0">
                    <a:ln>
                      <a:solidFill>
                        <a:srgbClr val="FFFFFF">
                          <a:alpha val="0"/>
                        </a:srgbClr>
                      </a:solidFill>
                    </a:ln>
                    <a:solidFill>
                      <a:srgbClr val="00188F"/>
                    </a:solidFill>
                  </a:rPr>
                  <a:t>Active Directory</a:t>
                </a:r>
              </a:p>
            </p:txBody>
          </p:sp>
          <p:pic>
            <p:nvPicPr>
              <p:cNvPr id="557" name="Picture 55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02667" y="5699193"/>
                <a:ext cx="1695153" cy="398452"/>
              </a:xfrm>
              <a:prstGeom prst="rect">
                <a:avLst/>
              </a:prstGeom>
            </p:spPr>
          </p:pic>
        </p:grpSp>
        <p:pic>
          <p:nvPicPr>
            <p:cNvPr id="555" name="Picture 55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5105" y="3009950"/>
              <a:ext cx="1044032" cy="690827"/>
            </a:xfrm>
            <a:prstGeom prst="rect">
              <a:avLst/>
            </a:prstGeom>
          </p:spPr>
        </p:pic>
      </p:grpSp>
      <p:cxnSp>
        <p:nvCxnSpPr>
          <p:cNvPr id="113" name="Straight Arrow Connector 112"/>
          <p:cNvCxnSpPr/>
          <p:nvPr/>
        </p:nvCxnSpPr>
        <p:spPr>
          <a:xfrm flipH="1" flipV="1">
            <a:off x="999795" y="3751503"/>
            <a:ext cx="10181606" cy="10250"/>
          </a:xfrm>
          <a:prstGeom prst="straightConnector1">
            <a:avLst/>
          </a:prstGeom>
          <a:ln w="25400" cap="rnd" cmpd="sng">
            <a:solidFill>
              <a:srgbClr val="06796F"/>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p:nvPr/>
        </p:nvCxnSpPr>
        <p:spPr>
          <a:xfrm flipH="1" flipV="1">
            <a:off x="5835599" y="4423119"/>
            <a:ext cx="1301992" cy="262524"/>
          </a:xfrm>
          <a:prstGeom prst="straightConnector1">
            <a:avLst/>
          </a:prstGeom>
          <a:ln w="25400" cap="rnd" cmpd="sng">
            <a:solidFill>
              <a:srgbClr val="0070C0"/>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flipV="1">
            <a:off x="3423755" y="4439629"/>
            <a:ext cx="913233" cy="267976"/>
          </a:xfrm>
          <a:prstGeom prst="straightConnector1">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3" name="Rectangle 122"/>
          <p:cNvSpPr/>
          <p:nvPr/>
        </p:nvSpPr>
        <p:spPr bwMode="auto">
          <a:xfrm>
            <a:off x="555930" y="1038043"/>
            <a:ext cx="2395252" cy="217047"/>
          </a:xfrm>
          <a:prstGeom prst="rect">
            <a:avLst/>
          </a:prstGeom>
          <a:ln>
            <a:noFill/>
          </a:ln>
        </p:spPr>
        <p:txBody>
          <a:bodyPr vert="horz" wrap="square" lIns="0" tIns="0" rIns="0" bIns="0" rtlCol="0">
            <a:spAutoFit/>
          </a:bodyPr>
          <a:lstStyle/>
          <a:p>
            <a:pPr defTabSz="914188">
              <a:lnSpc>
                <a:spcPct val="90000"/>
              </a:lnSpc>
              <a:spcBef>
                <a:spcPts val="1175"/>
              </a:spcBef>
            </a:pPr>
            <a:r>
              <a:rPr lang="en-US" sz="1567" b="1" spc="-29" dirty="0">
                <a:solidFill>
                  <a:srgbClr val="06796F"/>
                </a:solidFill>
              </a:rPr>
              <a:t>Synchronization</a:t>
            </a:r>
          </a:p>
        </p:txBody>
      </p:sp>
      <p:sp>
        <p:nvSpPr>
          <p:cNvPr id="124" name="Rectangle 123"/>
          <p:cNvSpPr/>
          <p:nvPr/>
        </p:nvSpPr>
        <p:spPr bwMode="auto">
          <a:xfrm>
            <a:off x="555930" y="3927507"/>
            <a:ext cx="2541246" cy="217047"/>
          </a:xfrm>
          <a:prstGeom prst="rect">
            <a:avLst/>
          </a:prstGeom>
          <a:ln>
            <a:noFill/>
          </a:ln>
        </p:spPr>
        <p:txBody>
          <a:bodyPr vert="horz" wrap="square" lIns="0" tIns="0" rIns="0" bIns="0" rtlCol="0">
            <a:spAutoFit/>
          </a:bodyPr>
          <a:lstStyle/>
          <a:p>
            <a:pPr defTabSz="914188">
              <a:lnSpc>
                <a:spcPct val="90000"/>
              </a:lnSpc>
              <a:spcBef>
                <a:spcPts val="1175"/>
              </a:spcBef>
            </a:pPr>
            <a:r>
              <a:rPr lang="en-US" sz="1567" b="1" spc="-29" dirty="0">
                <a:solidFill>
                  <a:srgbClr val="06796F"/>
                </a:solidFill>
              </a:rPr>
              <a:t>Federation</a:t>
            </a:r>
          </a:p>
        </p:txBody>
      </p:sp>
      <p:sp>
        <p:nvSpPr>
          <p:cNvPr id="118" name="Rectangle 117"/>
          <p:cNvSpPr/>
          <p:nvPr/>
        </p:nvSpPr>
        <p:spPr bwMode="auto">
          <a:xfrm>
            <a:off x="913600" y="5824213"/>
            <a:ext cx="3005123" cy="868469"/>
          </a:xfrm>
          <a:prstGeom prst="rect">
            <a:avLst/>
          </a:prstGeom>
          <a:ln>
            <a:noFill/>
          </a:ln>
        </p:spPr>
        <p:txBody>
          <a:bodyPr vert="horz" wrap="square" lIns="0" tIns="0" rIns="0" bIns="0" rtlCol="0">
            <a:spAutoFit/>
          </a:bodyPr>
          <a:lstStyle/>
          <a:p>
            <a:pPr defTabSz="914188">
              <a:lnSpc>
                <a:spcPct val="90000"/>
              </a:lnSpc>
              <a:spcBef>
                <a:spcPts val="1175"/>
              </a:spcBef>
            </a:pPr>
            <a:r>
              <a:rPr lang="en-US" sz="1567" b="1" spc="-29" dirty="0">
                <a:solidFill>
                  <a:srgbClr val="06796F"/>
                </a:solidFill>
              </a:rPr>
              <a:t>AD FS </a:t>
            </a:r>
            <a:r>
              <a:rPr lang="en-US" sz="1567" spc="-29" dirty="0">
                <a:solidFill>
                  <a:srgbClr val="F2F2F2">
                    <a:lumMod val="50000"/>
                  </a:srgbClr>
                </a:solidFill>
              </a:rPr>
              <a:t>provides </a:t>
            </a:r>
            <a:r>
              <a:rPr lang="en-US" sz="1567" b="1" spc="-29" dirty="0">
                <a:solidFill>
                  <a:srgbClr val="06796F"/>
                </a:solidFill>
              </a:rPr>
              <a:t>conditional access </a:t>
            </a:r>
            <a:r>
              <a:rPr lang="en-US" sz="1567" spc="-29" dirty="0">
                <a:solidFill>
                  <a:srgbClr val="F2F2F2">
                    <a:lumMod val="50000"/>
                  </a:srgbClr>
                </a:solidFill>
              </a:rPr>
              <a:t>to resources, </a:t>
            </a:r>
            <a:r>
              <a:rPr lang="en-US" sz="1567" b="1" spc="-29" dirty="0">
                <a:solidFill>
                  <a:srgbClr val="06796F"/>
                </a:solidFill>
              </a:rPr>
              <a:t>Work Place Join </a:t>
            </a:r>
            <a:r>
              <a:rPr lang="en-US" sz="1567" spc="-29" dirty="0">
                <a:solidFill>
                  <a:srgbClr val="F2F2F2">
                    <a:lumMod val="50000"/>
                  </a:srgbClr>
                </a:solidFill>
              </a:rPr>
              <a:t>for device registration and integrated  </a:t>
            </a:r>
            <a:r>
              <a:rPr lang="en-US" sz="1567" b="1" spc="-29" dirty="0">
                <a:solidFill>
                  <a:srgbClr val="06796F"/>
                </a:solidFill>
              </a:rPr>
              <a:t>Multi-Factor Authentication</a:t>
            </a:r>
            <a:endParaRPr lang="en-US" sz="1567" spc="-29" dirty="0">
              <a:solidFill>
                <a:srgbClr val="F2F2F2">
                  <a:lumMod val="50000"/>
                </a:srgbClr>
              </a:solidFill>
            </a:endParaRPr>
          </a:p>
        </p:txBody>
      </p:sp>
      <p:grpSp>
        <p:nvGrpSpPr>
          <p:cNvPr id="119" name="Group 4"/>
          <p:cNvGrpSpPr>
            <a:grpSpLocks noChangeAspect="1"/>
          </p:cNvGrpSpPr>
          <p:nvPr/>
        </p:nvGrpSpPr>
        <p:grpSpPr bwMode="auto">
          <a:xfrm>
            <a:off x="8243847" y="4766007"/>
            <a:ext cx="636718" cy="632705"/>
            <a:chOff x="3125" y="1415"/>
            <a:chExt cx="1586" cy="1576"/>
          </a:xfrm>
          <a:solidFill>
            <a:schemeClr val="tx2"/>
          </a:solidFill>
        </p:grpSpPr>
        <p:sp>
          <p:nvSpPr>
            <p:cNvPr id="12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188"/>
              <a:endParaRPr lang="en-US" sz="1764">
                <a:solidFill>
                  <a:srgbClr val="000000"/>
                </a:solidFill>
              </a:endParaRPr>
            </a:p>
          </p:txBody>
        </p:sp>
        <p:sp>
          <p:nvSpPr>
            <p:cNvPr id="12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188"/>
              <a:endParaRPr lang="en-US" sz="1764">
                <a:solidFill>
                  <a:srgbClr val="000000"/>
                </a:solidFill>
              </a:endParaRPr>
            </a:p>
          </p:txBody>
        </p:sp>
        <p:sp>
          <p:nvSpPr>
            <p:cNvPr id="12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188"/>
              <a:endParaRPr lang="en-US" sz="1764">
                <a:solidFill>
                  <a:srgbClr val="000000"/>
                </a:solidFill>
              </a:endParaRPr>
            </a:p>
          </p:txBody>
        </p:sp>
      </p:grpSp>
      <p:sp>
        <p:nvSpPr>
          <p:cNvPr id="127" name="Rectangle 126"/>
          <p:cNvSpPr/>
          <p:nvPr/>
        </p:nvSpPr>
        <p:spPr bwMode="auto">
          <a:xfrm>
            <a:off x="816206" y="2843809"/>
            <a:ext cx="3014886" cy="651140"/>
          </a:xfrm>
          <a:prstGeom prst="rect">
            <a:avLst/>
          </a:prstGeom>
          <a:ln>
            <a:noFill/>
          </a:ln>
        </p:spPr>
        <p:txBody>
          <a:bodyPr vert="horz" wrap="square" lIns="0" tIns="0" rIns="0" bIns="0" rtlCol="0">
            <a:spAutoFit/>
          </a:bodyPr>
          <a:lstStyle/>
          <a:p>
            <a:pPr defTabSz="914188">
              <a:lnSpc>
                <a:spcPct val="90000"/>
              </a:lnSpc>
              <a:spcBef>
                <a:spcPts val="1175"/>
              </a:spcBef>
            </a:pPr>
            <a:r>
              <a:rPr lang="en-US" sz="1567" b="1" spc="-29" dirty="0">
                <a:solidFill>
                  <a:srgbClr val="06796F"/>
                </a:solidFill>
              </a:rPr>
              <a:t>*Write back </a:t>
            </a:r>
            <a:r>
              <a:rPr lang="en-US" sz="1567" spc="-29" dirty="0">
                <a:solidFill>
                  <a:srgbClr val="F2F2F2">
                    <a:lumMod val="50000"/>
                  </a:srgbClr>
                </a:solidFill>
              </a:rPr>
              <a:t>of attributes to support cloud first and co-existence</a:t>
            </a:r>
          </a:p>
        </p:txBody>
      </p:sp>
      <p:grpSp>
        <p:nvGrpSpPr>
          <p:cNvPr id="151" name="Group 150"/>
          <p:cNvGrpSpPr/>
          <p:nvPr/>
        </p:nvGrpSpPr>
        <p:grpSpPr>
          <a:xfrm>
            <a:off x="4538012" y="1571681"/>
            <a:ext cx="747422" cy="953483"/>
            <a:chOff x="7426355" y="4211026"/>
            <a:chExt cx="762716" cy="972993"/>
          </a:xfrm>
        </p:grpSpPr>
        <p:sp>
          <p:nvSpPr>
            <p:cNvPr id="152" name="Freeform 836"/>
            <p:cNvSpPr>
              <a:spLocks noEditPoints="1"/>
            </p:cNvSpPr>
            <p:nvPr/>
          </p:nvSpPr>
          <p:spPr bwMode="auto">
            <a:xfrm>
              <a:off x="7676103" y="4211026"/>
              <a:ext cx="512968" cy="97299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0070C0"/>
            </a:solidFill>
            <a:ln w="0">
              <a:noFill/>
              <a:prstDash val="solid"/>
              <a:round/>
              <a:headEnd/>
              <a:tailEnd/>
            </a:ln>
          </p:spPr>
          <p:txBody>
            <a:bodyPr vert="horz" wrap="square" lIns="89606" tIns="44804" rIns="89606" bIns="44804" numCol="1" anchor="t" anchorCtr="0" compatLnSpc="1">
              <a:prstTxWarp prst="textNoShape">
                <a:avLst/>
              </a:prstTxWarp>
            </a:bodyPr>
            <a:lstStyle/>
            <a:p>
              <a:pPr defTabSz="914188"/>
              <a:endParaRPr lang="en-GB" sz="1764">
                <a:solidFill>
                  <a:srgbClr val="000000"/>
                </a:solidFill>
              </a:endParaRPr>
            </a:p>
          </p:txBody>
        </p:sp>
        <p:grpSp>
          <p:nvGrpSpPr>
            <p:cNvPr id="153" name="Group 152"/>
            <p:cNvGrpSpPr>
              <a:grpSpLocks noChangeAspect="1"/>
            </p:cNvGrpSpPr>
            <p:nvPr/>
          </p:nvGrpSpPr>
          <p:grpSpPr>
            <a:xfrm rot="900000">
              <a:off x="7426355" y="4400390"/>
              <a:ext cx="499495" cy="493247"/>
              <a:chOff x="3242937" y="2319398"/>
              <a:chExt cx="796924" cy="786956"/>
            </a:xfrm>
          </p:grpSpPr>
          <p:sp>
            <p:nvSpPr>
              <p:cNvPr id="154" name="Oval 153"/>
              <p:cNvSpPr/>
              <p:nvPr/>
            </p:nvSpPr>
            <p:spPr bwMode="auto">
              <a:xfrm>
                <a:off x="3247921" y="2319398"/>
                <a:ext cx="786956" cy="78695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FFFFFF"/>
                      </a:gs>
                      <a:gs pos="10417">
                        <a:srgbClr val="FFFFFF"/>
                      </a:gs>
                    </a:gsLst>
                    <a:lin ang="5400000" scaled="0"/>
                  </a:gradFill>
                </a:endParaRPr>
              </a:p>
            </p:txBody>
          </p:sp>
          <p:sp>
            <p:nvSpPr>
              <p:cNvPr id="155" name="Freeform 31"/>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1"/>
              </a:solidFill>
              <a:ln>
                <a:solidFill>
                  <a:schemeClr val="accent1"/>
                </a:solidFill>
              </a:ln>
            </p:spPr>
            <p:txBody>
              <a:bodyPr vert="horz" wrap="square" lIns="89606" tIns="44804" rIns="89606" bIns="44804" numCol="1" anchor="t" anchorCtr="0" compatLnSpc="1">
                <a:prstTxWarp prst="textNoShape">
                  <a:avLst/>
                </a:prstTxWarp>
              </a:bodyPr>
              <a:lstStyle/>
              <a:p>
                <a:pPr defTabSz="914188"/>
                <a:endParaRPr lang="en-US" sz="1764">
                  <a:solidFill>
                    <a:srgbClr val="000000"/>
                  </a:solidFill>
                </a:endParaRPr>
              </a:p>
            </p:txBody>
          </p:sp>
        </p:grpSp>
      </p:grpSp>
      <p:grpSp>
        <p:nvGrpSpPr>
          <p:cNvPr id="156" name="Group 155"/>
          <p:cNvGrpSpPr/>
          <p:nvPr/>
        </p:nvGrpSpPr>
        <p:grpSpPr>
          <a:xfrm>
            <a:off x="4595788" y="3886849"/>
            <a:ext cx="747422" cy="953483"/>
            <a:chOff x="7426355" y="4211026"/>
            <a:chExt cx="762716" cy="972993"/>
          </a:xfrm>
        </p:grpSpPr>
        <p:sp>
          <p:nvSpPr>
            <p:cNvPr id="157" name="Freeform 836"/>
            <p:cNvSpPr>
              <a:spLocks noEditPoints="1"/>
            </p:cNvSpPr>
            <p:nvPr/>
          </p:nvSpPr>
          <p:spPr bwMode="auto">
            <a:xfrm>
              <a:off x="7676103" y="4211026"/>
              <a:ext cx="512968" cy="97299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0070C0"/>
            </a:solidFill>
            <a:ln w="0">
              <a:noFill/>
              <a:prstDash val="solid"/>
              <a:round/>
              <a:headEnd/>
              <a:tailEnd/>
            </a:ln>
          </p:spPr>
          <p:txBody>
            <a:bodyPr vert="horz" wrap="square" lIns="89606" tIns="44804" rIns="89606" bIns="44804" numCol="1" anchor="t" anchorCtr="0" compatLnSpc="1">
              <a:prstTxWarp prst="textNoShape">
                <a:avLst/>
              </a:prstTxWarp>
            </a:bodyPr>
            <a:lstStyle/>
            <a:p>
              <a:pPr defTabSz="914188"/>
              <a:endParaRPr lang="en-GB" sz="1764">
                <a:solidFill>
                  <a:srgbClr val="000000"/>
                </a:solidFill>
              </a:endParaRPr>
            </a:p>
          </p:txBody>
        </p:sp>
        <p:grpSp>
          <p:nvGrpSpPr>
            <p:cNvPr id="158" name="Group 157"/>
            <p:cNvGrpSpPr>
              <a:grpSpLocks noChangeAspect="1"/>
            </p:cNvGrpSpPr>
            <p:nvPr/>
          </p:nvGrpSpPr>
          <p:grpSpPr>
            <a:xfrm rot="900000">
              <a:off x="7426355" y="4400390"/>
              <a:ext cx="499495" cy="493247"/>
              <a:chOff x="3242937" y="2319398"/>
              <a:chExt cx="796924" cy="786956"/>
            </a:xfrm>
          </p:grpSpPr>
          <p:sp>
            <p:nvSpPr>
              <p:cNvPr id="159" name="Oval 158"/>
              <p:cNvSpPr/>
              <p:nvPr/>
            </p:nvSpPr>
            <p:spPr bwMode="auto">
              <a:xfrm>
                <a:off x="3247921" y="2319398"/>
                <a:ext cx="786956" cy="78695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FFFFFF"/>
                      </a:gs>
                      <a:gs pos="10417">
                        <a:srgbClr val="FFFFFF"/>
                      </a:gs>
                    </a:gsLst>
                    <a:lin ang="5400000" scaled="0"/>
                  </a:gradFill>
                </a:endParaRPr>
              </a:p>
            </p:txBody>
          </p:sp>
          <p:sp>
            <p:nvSpPr>
              <p:cNvPr id="160" name="Freeform 31"/>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1"/>
              </a:solidFill>
              <a:ln>
                <a:solidFill>
                  <a:schemeClr val="accent1"/>
                </a:solidFill>
              </a:ln>
            </p:spPr>
            <p:txBody>
              <a:bodyPr vert="horz" wrap="square" lIns="89606" tIns="44804" rIns="89606" bIns="44804" numCol="1" anchor="t" anchorCtr="0" compatLnSpc="1">
                <a:prstTxWarp prst="textNoShape">
                  <a:avLst/>
                </a:prstTxWarp>
              </a:bodyPr>
              <a:lstStyle/>
              <a:p>
                <a:pPr defTabSz="914188"/>
                <a:endParaRPr lang="en-US" sz="1764">
                  <a:solidFill>
                    <a:srgbClr val="000000"/>
                  </a:solidFill>
                </a:endParaRPr>
              </a:p>
            </p:txBody>
          </p:sp>
        </p:grpSp>
      </p:grpSp>
      <p:grpSp>
        <p:nvGrpSpPr>
          <p:cNvPr id="5" name="Group 4"/>
          <p:cNvGrpSpPr/>
          <p:nvPr/>
        </p:nvGrpSpPr>
        <p:grpSpPr>
          <a:xfrm>
            <a:off x="7943543" y="1109977"/>
            <a:ext cx="2634270" cy="1350279"/>
            <a:chOff x="8103584" y="1130785"/>
            <a:chExt cx="2688174" cy="1377910"/>
          </a:xfrm>
        </p:grpSpPr>
        <p:grpSp>
          <p:nvGrpSpPr>
            <p:cNvPr id="12" name="Group 11"/>
            <p:cNvGrpSpPr/>
            <p:nvPr/>
          </p:nvGrpSpPr>
          <p:grpSpPr>
            <a:xfrm>
              <a:off x="8103584" y="1130785"/>
              <a:ext cx="2688174" cy="1377910"/>
              <a:chOff x="410848" y="1513542"/>
              <a:chExt cx="2688174" cy="1377910"/>
            </a:xfrm>
          </p:grpSpPr>
          <p:sp>
            <p:nvSpPr>
              <p:cNvPr id="112" name="Freeform 111"/>
              <p:cNvSpPr>
                <a:spLocks noChangeAspect="1"/>
              </p:cNvSpPr>
              <p:nvPr/>
            </p:nvSpPr>
            <p:spPr bwMode="auto">
              <a:xfrm>
                <a:off x="410848" y="1513542"/>
                <a:ext cx="2688174" cy="1377910"/>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1972" tIns="0" rIns="111972" bIns="55985"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19449" fontAlgn="base">
                  <a:spcBef>
                    <a:spcPct val="0"/>
                  </a:spcBef>
                  <a:spcAft>
                    <a:spcPct val="0"/>
                  </a:spcAft>
                  <a:defRPr/>
                </a:pPr>
                <a:endParaRPr lang="en-US" sz="1899" b="1" kern="0" dirty="0">
                  <a:solidFill>
                    <a:srgbClr val="505050"/>
                  </a:solidFill>
                </a:endParaRPr>
              </a:p>
            </p:txBody>
          </p:sp>
          <p:grpSp>
            <p:nvGrpSpPr>
              <p:cNvPr id="126" name="Group 125"/>
              <p:cNvGrpSpPr/>
              <p:nvPr/>
            </p:nvGrpSpPr>
            <p:grpSpPr>
              <a:xfrm>
                <a:off x="826905" y="2207415"/>
                <a:ext cx="616075" cy="360031"/>
                <a:chOff x="4189334" y="3417458"/>
                <a:chExt cx="616075" cy="360031"/>
              </a:xfrm>
            </p:grpSpPr>
            <p:sp>
              <p:nvSpPr>
                <p:cNvPr id="129" name="Oval 128"/>
                <p:cNvSpPr>
                  <a:spLocks noChangeAspect="1" noChangeArrowheads="1"/>
                </p:cNvSpPr>
                <p:nvPr/>
              </p:nvSpPr>
              <p:spPr bwMode="auto">
                <a:xfrm>
                  <a:off x="4395727" y="3453834"/>
                  <a:ext cx="75936" cy="70021"/>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130" name="Oval 129"/>
                <p:cNvSpPr>
                  <a:spLocks noChangeAspect="1" noChangeArrowheads="1"/>
                </p:cNvSpPr>
                <p:nvPr/>
              </p:nvSpPr>
              <p:spPr bwMode="auto">
                <a:xfrm flipH="1">
                  <a:off x="4519932" y="3453848"/>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131" name="Oval 130"/>
                <p:cNvSpPr>
                  <a:spLocks noChangeAspect="1" noChangeArrowheads="1"/>
                </p:cNvSpPr>
                <p:nvPr/>
              </p:nvSpPr>
              <p:spPr bwMode="auto">
                <a:xfrm>
                  <a:off x="4395727" y="3707453"/>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132" name="Oval 131"/>
                <p:cNvSpPr>
                  <a:spLocks noChangeAspect="1" noChangeArrowheads="1"/>
                </p:cNvSpPr>
                <p:nvPr/>
              </p:nvSpPr>
              <p:spPr bwMode="auto">
                <a:xfrm flipH="1">
                  <a:off x="4519932" y="3707467"/>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133" name="Oval 132"/>
                <p:cNvSpPr>
                  <a:spLocks noChangeAspect="1" noChangeArrowheads="1"/>
                </p:cNvSpPr>
                <p:nvPr/>
              </p:nvSpPr>
              <p:spPr bwMode="auto">
                <a:xfrm flipH="1">
                  <a:off x="4624703"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134" name="Oval 133"/>
                <p:cNvSpPr>
                  <a:spLocks noChangeAspect="1" noChangeArrowheads="1"/>
                </p:cNvSpPr>
                <p:nvPr/>
              </p:nvSpPr>
              <p:spPr bwMode="auto">
                <a:xfrm>
                  <a:off x="4292530"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135" name="Oval 134"/>
                <p:cNvSpPr>
                  <a:spLocks noChangeAspect="1" noChangeArrowheads="1"/>
                </p:cNvSpPr>
                <p:nvPr/>
              </p:nvSpPr>
              <p:spPr bwMode="auto">
                <a:xfrm flipH="1">
                  <a:off x="472947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136" name="Oval 135"/>
                <p:cNvSpPr>
                  <a:spLocks noChangeAspect="1" noChangeArrowheads="1"/>
                </p:cNvSpPr>
                <p:nvPr/>
              </p:nvSpPr>
              <p:spPr bwMode="auto">
                <a:xfrm flipH="1">
                  <a:off x="418933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137" name="Arc 136"/>
                <p:cNvSpPr/>
                <p:nvPr/>
              </p:nvSpPr>
              <p:spPr>
                <a:xfrm rot="5012506">
                  <a:off x="4401070"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64" dirty="0">
                    <a:ln>
                      <a:solidFill>
                        <a:srgbClr val="FFFFFF">
                          <a:alpha val="0"/>
                        </a:srgbClr>
                      </a:solidFill>
                    </a:ln>
                    <a:solidFill>
                      <a:srgbClr val="292929"/>
                    </a:solidFill>
                  </a:endParaRPr>
                </a:p>
              </p:txBody>
            </p:sp>
            <p:sp>
              <p:nvSpPr>
                <p:cNvPr id="138" name="Arc 137"/>
                <p:cNvSpPr/>
                <p:nvPr/>
              </p:nvSpPr>
              <p:spPr>
                <a:xfrm rot="16587494" flipH="1">
                  <a:off x="4444687"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64" dirty="0">
                    <a:ln>
                      <a:solidFill>
                        <a:srgbClr val="FFFFFF">
                          <a:alpha val="0"/>
                        </a:srgbClr>
                      </a:solidFill>
                    </a:ln>
                    <a:solidFill>
                      <a:srgbClr val="292929"/>
                    </a:solidFill>
                  </a:endParaRPr>
                </a:p>
              </p:txBody>
            </p:sp>
            <p:sp>
              <p:nvSpPr>
                <p:cNvPr id="139" name="Arc 138"/>
                <p:cNvSpPr/>
                <p:nvPr/>
              </p:nvSpPr>
              <p:spPr>
                <a:xfrm rot="7395384">
                  <a:off x="4414927" y="3402642"/>
                  <a:ext cx="115444" cy="145075"/>
                </a:xfrm>
                <a:prstGeom prst="arc">
                  <a:avLst>
                    <a:gd name="adj1" fmla="val 16200000"/>
                    <a:gd name="adj2" fmla="val 21459126"/>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64" dirty="0">
                    <a:ln>
                      <a:solidFill>
                        <a:srgbClr val="FFFFFF">
                          <a:alpha val="0"/>
                        </a:srgbClr>
                      </a:solidFill>
                    </a:ln>
                    <a:solidFill>
                      <a:srgbClr val="292929"/>
                    </a:solidFill>
                  </a:endParaRPr>
                </a:p>
              </p:txBody>
            </p:sp>
            <p:cxnSp>
              <p:nvCxnSpPr>
                <p:cNvPr id="140" name="Straight Connector 139"/>
                <p:cNvCxnSpPr>
                  <a:stCxn id="129" idx="4"/>
                  <a:endCxn id="131" idx="0"/>
                </p:cNvCxnSpPr>
                <p:nvPr/>
              </p:nvCxnSpPr>
              <p:spPr>
                <a:xfrm>
                  <a:off x="4433694" y="3523856"/>
                  <a:ext cx="0" cy="183597"/>
                </a:xfrm>
                <a:prstGeom prst="line">
                  <a:avLst/>
                </a:prstGeom>
                <a:noFill/>
                <a:ln w="9525" cap="flat" cmpd="sng" algn="ctr">
                  <a:solidFill>
                    <a:srgbClr val="0070C0"/>
                  </a:solidFill>
                  <a:prstDash val="solid"/>
                </a:ln>
                <a:effectLst/>
              </p:spPr>
            </p:cxnSp>
            <p:sp>
              <p:nvSpPr>
                <p:cNvPr id="141" name="Oval 140"/>
                <p:cNvSpPr>
                  <a:spLocks noChangeAspect="1" noChangeArrowheads="1"/>
                </p:cNvSpPr>
                <p:nvPr/>
              </p:nvSpPr>
              <p:spPr bwMode="auto">
                <a:xfrm>
                  <a:off x="4395727" y="357178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cxnSp>
              <p:nvCxnSpPr>
                <p:cNvPr id="142" name="Straight Connector 141"/>
                <p:cNvCxnSpPr>
                  <a:stCxn id="130" idx="4"/>
                  <a:endCxn id="132" idx="0"/>
                </p:cNvCxnSpPr>
                <p:nvPr/>
              </p:nvCxnSpPr>
              <p:spPr>
                <a:xfrm>
                  <a:off x="4557899" y="3523870"/>
                  <a:ext cx="0" cy="183597"/>
                </a:xfrm>
                <a:prstGeom prst="line">
                  <a:avLst/>
                </a:prstGeom>
                <a:noFill/>
                <a:ln w="9525" cap="flat" cmpd="sng" algn="ctr">
                  <a:solidFill>
                    <a:srgbClr val="0070C0"/>
                  </a:solidFill>
                  <a:prstDash val="solid"/>
                </a:ln>
                <a:effectLst/>
              </p:spPr>
            </p:cxnSp>
            <p:sp>
              <p:nvSpPr>
                <p:cNvPr id="143" name="Oval 142"/>
                <p:cNvSpPr>
                  <a:spLocks noChangeAspect="1" noChangeArrowheads="1"/>
                </p:cNvSpPr>
                <p:nvPr/>
              </p:nvSpPr>
              <p:spPr bwMode="auto">
                <a:xfrm flipH="1">
                  <a:off x="4519931" y="357180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cxnSp>
              <p:nvCxnSpPr>
                <p:cNvPr id="144" name="Straight Connector 143"/>
                <p:cNvCxnSpPr>
                  <a:stCxn id="130" idx="3"/>
                  <a:endCxn id="135" idx="7"/>
                </p:cNvCxnSpPr>
                <p:nvPr/>
              </p:nvCxnSpPr>
              <p:spPr>
                <a:xfrm>
                  <a:off x="4584747" y="3513615"/>
                  <a:ext cx="155848" cy="174003"/>
                </a:xfrm>
                <a:prstGeom prst="line">
                  <a:avLst/>
                </a:prstGeom>
                <a:noFill/>
                <a:ln w="9525" cap="flat" cmpd="sng" algn="ctr">
                  <a:solidFill>
                    <a:srgbClr val="0070C0"/>
                  </a:solidFill>
                  <a:prstDash val="solid"/>
                </a:ln>
                <a:effectLst/>
              </p:spPr>
            </p:cxnSp>
            <p:sp>
              <p:nvSpPr>
                <p:cNvPr id="145" name="Oval 144"/>
                <p:cNvSpPr>
                  <a:spLocks noChangeAspect="1" noChangeArrowheads="1"/>
                </p:cNvSpPr>
                <p:nvPr/>
              </p:nvSpPr>
              <p:spPr bwMode="auto">
                <a:xfrm flipH="1">
                  <a:off x="4624703" y="356560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cxnSp>
              <p:nvCxnSpPr>
                <p:cNvPr id="146" name="Straight Connector 145"/>
                <p:cNvCxnSpPr>
                  <a:stCxn id="129" idx="3"/>
                  <a:endCxn id="136" idx="1"/>
                </p:cNvCxnSpPr>
                <p:nvPr/>
              </p:nvCxnSpPr>
              <p:spPr>
                <a:xfrm flipH="1">
                  <a:off x="4254148" y="3513602"/>
                  <a:ext cx="152699" cy="174016"/>
                </a:xfrm>
                <a:prstGeom prst="line">
                  <a:avLst/>
                </a:prstGeom>
                <a:noFill/>
                <a:ln w="9525" cap="flat" cmpd="sng" algn="ctr">
                  <a:solidFill>
                    <a:srgbClr val="0070C0"/>
                  </a:solidFill>
                  <a:prstDash val="solid"/>
                </a:ln>
                <a:effectLst/>
              </p:spPr>
            </p:cxnSp>
            <p:sp>
              <p:nvSpPr>
                <p:cNvPr id="147" name="Oval 146"/>
                <p:cNvSpPr>
                  <a:spLocks noChangeAspect="1" noChangeArrowheads="1"/>
                </p:cNvSpPr>
                <p:nvPr/>
              </p:nvSpPr>
              <p:spPr bwMode="auto">
                <a:xfrm>
                  <a:off x="4296461" y="3565599"/>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cxnSp>
              <p:nvCxnSpPr>
                <p:cNvPr id="177" name="Straight Connector 176"/>
                <p:cNvCxnSpPr>
                  <a:stCxn id="141" idx="3"/>
                  <a:endCxn id="134" idx="7"/>
                </p:cNvCxnSpPr>
                <p:nvPr/>
              </p:nvCxnSpPr>
              <p:spPr>
                <a:xfrm flipH="1">
                  <a:off x="4357345" y="3631553"/>
                  <a:ext cx="49502" cy="67921"/>
                </a:xfrm>
                <a:prstGeom prst="line">
                  <a:avLst/>
                </a:prstGeom>
                <a:noFill/>
                <a:ln w="9525" cap="flat" cmpd="sng" algn="ctr">
                  <a:solidFill>
                    <a:srgbClr val="0070C0"/>
                  </a:solidFill>
                  <a:prstDash val="solid"/>
                </a:ln>
                <a:effectLst/>
              </p:spPr>
            </p:cxnSp>
            <p:cxnSp>
              <p:nvCxnSpPr>
                <p:cNvPr id="178" name="Straight Connector 177"/>
                <p:cNvCxnSpPr>
                  <a:stCxn id="143" idx="3"/>
                  <a:endCxn id="133" idx="7"/>
                </p:cNvCxnSpPr>
                <p:nvPr/>
              </p:nvCxnSpPr>
              <p:spPr>
                <a:xfrm>
                  <a:off x="4584747" y="3631567"/>
                  <a:ext cx="51077" cy="67907"/>
                </a:xfrm>
                <a:prstGeom prst="line">
                  <a:avLst/>
                </a:prstGeom>
                <a:noFill/>
                <a:ln w="9525" cap="flat" cmpd="sng" algn="ctr">
                  <a:solidFill>
                    <a:srgbClr val="0070C0"/>
                  </a:solidFill>
                  <a:prstDash val="solid"/>
                </a:ln>
                <a:effectLst/>
              </p:spPr>
            </p:cxnSp>
          </p:grpSp>
        </p:grpSp>
        <p:grpSp>
          <p:nvGrpSpPr>
            <p:cNvPr id="125" name="Group 4"/>
            <p:cNvGrpSpPr>
              <a:grpSpLocks noChangeAspect="1"/>
            </p:cNvGrpSpPr>
            <p:nvPr/>
          </p:nvGrpSpPr>
          <p:grpSpPr bwMode="auto">
            <a:xfrm>
              <a:off x="8350516" y="1809998"/>
              <a:ext cx="648038" cy="643953"/>
              <a:chOff x="3125" y="1415"/>
              <a:chExt cx="1586" cy="1576"/>
            </a:xfrm>
            <a:solidFill>
              <a:schemeClr val="tx2"/>
            </a:solidFill>
          </p:grpSpPr>
          <p:sp>
            <p:nvSpPr>
              <p:cNvPr id="148"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188"/>
                <a:endParaRPr lang="en-US" sz="1764">
                  <a:solidFill>
                    <a:srgbClr val="000000"/>
                  </a:solidFill>
                </a:endParaRPr>
              </a:p>
            </p:txBody>
          </p:sp>
          <p:sp>
            <p:nvSpPr>
              <p:cNvPr id="149"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188"/>
                <a:endParaRPr lang="en-US" sz="1764">
                  <a:solidFill>
                    <a:srgbClr val="000000"/>
                  </a:solidFill>
                </a:endParaRPr>
              </a:p>
            </p:txBody>
          </p:sp>
          <p:sp>
            <p:nvSpPr>
              <p:cNvPr id="150"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188"/>
                <a:endParaRPr lang="en-US" sz="1764">
                  <a:solidFill>
                    <a:srgbClr val="000000"/>
                  </a:solidFill>
                </a:endParaRPr>
              </a:p>
            </p:txBody>
          </p:sp>
        </p:grpSp>
        <p:sp>
          <p:nvSpPr>
            <p:cNvPr id="109" name="Rectangle 108"/>
            <p:cNvSpPr/>
            <p:nvPr/>
          </p:nvSpPr>
          <p:spPr>
            <a:xfrm>
              <a:off x="9131599" y="1962452"/>
              <a:ext cx="1437349" cy="24609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96069" fontAlgn="base">
                <a:spcAft>
                  <a:spcPct val="0"/>
                </a:spcAft>
              </a:pPr>
              <a:r>
                <a:rPr lang="en-US" sz="1567" dirty="0">
                  <a:ln>
                    <a:solidFill>
                      <a:srgbClr val="FFFFFF">
                        <a:alpha val="0"/>
                      </a:srgbClr>
                    </a:solidFill>
                  </a:ln>
                  <a:solidFill>
                    <a:srgbClr val="FFFFFF"/>
                  </a:solidFill>
                </a:rPr>
                <a:t>Active Directory</a:t>
              </a:r>
            </a:p>
          </p:txBody>
        </p:sp>
        <p:pic>
          <p:nvPicPr>
            <p:cNvPr id="110" name="Picture 10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174" y="1590015"/>
              <a:ext cx="1882592" cy="436495"/>
            </a:xfrm>
            <a:prstGeom prst="rect">
              <a:avLst/>
            </a:prstGeom>
          </p:spPr>
        </p:pic>
      </p:grpSp>
      <p:grpSp>
        <p:nvGrpSpPr>
          <p:cNvPr id="115" name="Group 114"/>
          <p:cNvGrpSpPr/>
          <p:nvPr/>
        </p:nvGrpSpPr>
        <p:grpSpPr>
          <a:xfrm>
            <a:off x="7945517" y="4135132"/>
            <a:ext cx="2634270" cy="1350279"/>
            <a:chOff x="8103584" y="1130785"/>
            <a:chExt cx="2688174" cy="1377910"/>
          </a:xfrm>
        </p:grpSpPr>
        <p:grpSp>
          <p:nvGrpSpPr>
            <p:cNvPr id="128" name="Group 127"/>
            <p:cNvGrpSpPr/>
            <p:nvPr/>
          </p:nvGrpSpPr>
          <p:grpSpPr>
            <a:xfrm>
              <a:off x="8103584" y="1130785"/>
              <a:ext cx="2688174" cy="1377910"/>
              <a:chOff x="410848" y="1513542"/>
              <a:chExt cx="2688174" cy="1377910"/>
            </a:xfrm>
          </p:grpSpPr>
          <p:sp>
            <p:nvSpPr>
              <p:cNvPr id="167" name="Freeform 166"/>
              <p:cNvSpPr>
                <a:spLocks noChangeAspect="1"/>
              </p:cNvSpPr>
              <p:nvPr/>
            </p:nvSpPr>
            <p:spPr bwMode="auto">
              <a:xfrm>
                <a:off x="410848" y="1513542"/>
                <a:ext cx="2688174" cy="1377910"/>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1972" tIns="0" rIns="111972" bIns="55985"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19449" fontAlgn="base">
                  <a:spcBef>
                    <a:spcPct val="0"/>
                  </a:spcBef>
                  <a:spcAft>
                    <a:spcPct val="0"/>
                  </a:spcAft>
                  <a:defRPr/>
                </a:pPr>
                <a:endParaRPr lang="en-US" sz="1899" b="1" kern="0" dirty="0">
                  <a:solidFill>
                    <a:srgbClr val="505050"/>
                  </a:solidFill>
                </a:endParaRPr>
              </a:p>
            </p:txBody>
          </p:sp>
          <p:grpSp>
            <p:nvGrpSpPr>
              <p:cNvPr id="168" name="Group 167"/>
              <p:cNvGrpSpPr/>
              <p:nvPr/>
            </p:nvGrpSpPr>
            <p:grpSpPr>
              <a:xfrm>
                <a:off x="826905" y="2207415"/>
                <a:ext cx="616075" cy="360031"/>
                <a:chOff x="4189334" y="3417458"/>
                <a:chExt cx="616075" cy="360031"/>
              </a:xfrm>
            </p:grpSpPr>
            <p:sp>
              <p:nvSpPr>
                <p:cNvPr id="169" name="Oval 168"/>
                <p:cNvSpPr>
                  <a:spLocks noChangeAspect="1" noChangeArrowheads="1"/>
                </p:cNvSpPr>
                <p:nvPr/>
              </p:nvSpPr>
              <p:spPr bwMode="auto">
                <a:xfrm>
                  <a:off x="4395727" y="3453834"/>
                  <a:ext cx="75936" cy="70021"/>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170" name="Oval 169"/>
                <p:cNvSpPr>
                  <a:spLocks noChangeAspect="1" noChangeArrowheads="1"/>
                </p:cNvSpPr>
                <p:nvPr/>
              </p:nvSpPr>
              <p:spPr bwMode="auto">
                <a:xfrm flipH="1">
                  <a:off x="4519932" y="3453848"/>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171" name="Oval 170"/>
                <p:cNvSpPr>
                  <a:spLocks noChangeAspect="1" noChangeArrowheads="1"/>
                </p:cNvSpPr>
                <p:nvPr/>
              </p:nvSpPr>
              <p:spPr bwMode="auto">
                <a:xfrm>
                  <a:off x="4395727" y="3707453"/>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172" name="Oval 171"/>
                <p:cNvSpPr>
                  <a:spLocks noChangeAspect="1" noChangeArrowheads="1"/>
                </p:cNvSpPr>
                <p:nvPr/>
              </p:nvSpPr>
              <p:spPr bwMode="auto">
                <a:xfrm flipH="1">
                  <a:off x="4519932" y="3707467"/>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173" name="Oval 172"/>
                <p:cNvSpPr>
                  <a:spLocks noChangeAspect="1" noChangeArrowheads="1"/>
                </p:cNvSpPr>
                <p:nvPr/>
              </p:nvSpPr>
              <p:spPr bwMode="auto">
                <a:xfrm flipH="1">
                  <a:off x="4624703"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174" name="Oval 173"/>
                <p:cNvSpPr>
                  <a:spLocks noChangeAspect="1" noChangeArrowheads="1"/>
                </p:cNvSpPr>
                <p:nvPr/>
              </p:nvSpPr>
              <p:spPr bwMode="auto">
                <a:xfrm>
                  <a:off x="4292530"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175" name="Oval 174"/>
                <p:cNvSpPr>
                  <a:spLocks noChangeAspect="1" noChangeArrowheads="1"/>
                </p:cNvSpPr>
                <p:nvPr/>
              </p:nvSpPr>
              <p:spPr bwMode="auto">
                <a:xfrm flipH="1">
                  <a:off x="472947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176" name="Oval 175"/>
                <p:cNvSpPr>
                  <a:spLocks noChangeAspect="1" noChangeArrowheads="1"/>
                </p:cNvSpPr>
                <p:nvPr/>
              </p:nvSpPr>
              <p:spPr bwMode="auto">
                <a:xfrm flipH="1">
                  <a:off x="418933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179" name="Arc 178"/>
                <p:cNvSpPr/>
                <p:nvPr/>
              </p:nvSpPr>
              <p:spPr>
                <a:xfrm rot="5012506">
                  <a:off x="4401070"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64" dirty="0">
                    <a:ln>
                      <a:solidFill>
                        <a:srgbClr val="FFFFFF">
                          <a:alpha val="0"/>
                        </a:srgbClr>
                      </a:solidFill>
                    </a:ln>
                    <a:solidFill>
                      <a:srgbClr val="292929"/>
                    </a:solidFill>
                  </a:endParaRPr>
                </a:p>
              </p:txBody>
            </p:sp>
            <p:sp>
              <p:nvSpPr>
                <p:cNvPr id="180" name="Arc 179"/>
                <p:cNvSpPr/>
                <p:nvPr/>
              </p:nvSpPr>
              <p:spPr>
                <a:xfrm rot="16587494" flipH="1">
                  <a:off x="4444687"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64" dirty="0">
                    <a:ln>
                      <a:solidFill>
                        <a:srgbClr val="FFFFFF">
                          <a:alpha val="0"/>
                        </a:srgbClr>
                      </a:solidFill>
                    </a:ln>
                    <a:solidFill>
                      <a:srgbClr val="292929"/>
                    </a:solidFill>
                  </a:endParaRPr>
                </a:p>
              </p:txBody>
            </p:sp>
            <p:sp>
              <p:nvSpPr>
                <p:cNvPr id="181" name="Arc 180"/>
                <p:cNvSpPr/>
                <p:nvPr/>
              </p:nvSpPr>
              <p:spPr>
                <a:xfrm rot="7395384">
                  <a:off x="4414927" y="3402642"/>
                  <a:ext cx="115444" cy="145075"/>
                </a:xfrm>
                <a:prstGeom prst="arc">
                  <a:avLst>
                    <a:gd name="adj1" fmla="val 16200000"/>
                    <a:gd name="adj2" fmla="val 21459126"/>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64" dirty="0">
                    <a:ln>
                      <a:solidFill>
                        <a:srgbClr val="FFFFFF">
                          <a:alpha val="0"/>
                        </a:srgbClr>
                      </a:solidFill>
                    </a:ln>
                    <a:solidFill>
                      <a:srgbClr val="292929"/>
                    </a:solidFill>
                  </a:endParaRPr>
                </a:p>
              </p:txBody>
            </p:sp>
            <p:cxnSp>
              <p:nvCxnSpPr>
                <p:cNvPr id="182" name="Straight Connector 181"/>
                <p:cNvCxnSpPr>
                  <a:stCxn id="169" idx="4"/>
                  <a:endCxn id="171" idx="0"/>
                </p:cNvCxnSpPr>
                <p:nvPr/>
              </p:nvCxnSpPr>
              <p:spPr>
                <a:xfrm>
                  <a:off x="4433694" y="3523856"/>
                  <a:ext cx="0" cy="183597"/>
                </a:xfrm>
                <a:prstGeom prst="line">
                  <a:avLst/>
                </a:prstGeom>
                <a:noFill/>
                <a:ln w="9525" cap="flat" cmpd="sng" algn="ctr">
                  <a:solidFill>
                    <a:srgbClr val="0070C0"/>
                  </a:solidFill>
                  <a:prstDash val="solid"/>
                </a:ln>
                <a:effectLst/>
              </p:spPr>
            </p:cxnSp>
            <p:sp>
              <p:nvSpPr>
                <p:cNvPr id="183" name="Oval 182"/>
                <p:cNvSpPr>
                  <a:spLocks noChangeAspect="1" noChangeArrowheads="1"/>
                </p:cNvSpPr>
                <p:nvPr/>
              </p:nvSpPr>
              <p:spPr bwMode="auto">
                <a:xfrm>
                  <a:off x="4395727" y="357178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cxnSp>
              <p:nvCxnSpPr>
                <p:cNvPr id="184" name="Straight Connector 183"/>
                <p:cNvCxnSpPr>
                  <a:stCxn id="170" idx="4"/>
                  <a:endCxn id="172" idx="0"/>
                </p:cNvCxnSpPr>
                <p:nvPr/>
              </p:nvCxnSpPr>
              <p:spPr>
                <a:xfrm>
                  <a:off x="4557899" y="3523870"/>
                  <a:ext cx="0" cy="183597"/>
                </a:xfrm>
                <a:prstGeom prst="line">
                  <a:avLst/>
                </a:prstGeom>
                <a:noFill/>
                <a:ln w="9525" cap="flat" cmpd="sng" algn="ctr">
                  <a:solidFill>
                    <a:srgbClr val="0070C0"/>
                  </a:solidFill>
                  <a:prstDash val="solid"/>
                </a:ln>
                <a:effectLst/>
              </p:spPr>
            </p:cxnSp>
            <p:sp>
              <p:nvSpPr>
                <p:cNvPr id="185" name="Oval 184"/>
                <p:cNvSpPr>
                  <a:spLocks noChangeAspect="1" noChangeArrowheads="1"/>
                </p:cNvSpPr>
                <p:nvPr/>
              </p:nvSpPr>
              <p:spPr bwMode="auto">
                <a:xfrm flipH="1">
                  <a:off x="4519931" y="357180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cxnSp>
              <p:nvCxnSpPr>
                <p:cNvPr id="186" name="Straight Connector 185"/>
                <p:cNvCxnSpPr>
                  <a:stCxn id="170" idx="3"/>
                  <a:endCxn id="175" idx="7"/>
                </p:cNvCxnSpPr>
                <p:nvPr/>
              </p:nvCxnSpPr>
              <p:spPr>
                <a:xfrm>
                  <a:off x="4584747" y="3513615"/>
                  <a:ext cx="155848" cy="174003"/>
                </a:xfrm>
                <a:prstGeom prst="line">
                  <a:avLst/>
                </a:prstGeom>
                <a:noFill/>
                <a:ln w="9525" cap="flat" cmpd="sng" algn="ctr">
                  <a:solidFill>
                    <a:srgbClr val="0070C0"/>
                  </a:solidFill>
                  <a:prstDash val="solid"/>
                </a:ln>
                <a:effectLst/>
              </p:spPr>
            </p:cxnSp>
            <p:sp>
              <p:nvSpPr>
                <p:cNvPr id="187" name="Oval 186"/>
                <p:cNvSpPr>
                  <a:spLocks noChangeAspect="1" noChangeArrowheads="1"/>
                </p:cNvSpPr>
                <p:nvPr/>
              </p:nvSpPr>
              <p:spPr bwMode="auto">
                <a:xfrm flipH="1">
                  <a:off x="4624703" y="356560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cxnSp>
              <p:nvCxnSpPr>
                <p:cNvPr id="188" name="Straight Connector 187"/>
                <p:cNvCxnSpPr>
                  <a:stCxn id="169" idx="3"/>
                  <a:endCxn id="176" idx="1"/>
                </p:cNvCxnSpPr>
                <p:nvPr/>
              </p:nvCxnSpPr>
              <p:spPr>
                <a:xfrm flipH="1">
                  <a:off x="4254148" y="3513602"/>
                  <a:ext cx="152699" cy="174016"/>
                </a:xfrm>
                <a:prstGeom prst="line">
                  <a:avLst/>
                </a:prstGeom>
                <a:noFill/>
                <a:ln w="9525" cap="flat" cmpd="sng" algn="ctr">
                  <a:solidFill>
                    <a:srgbClr val="0070C0"/>
                  </a:solidFill>
                  <a:prstDash val="solid"/>
                </a:ln>
                <a:effectLst/>
              </p:spPr>
            </p:cxnSp>
            <p:sp>
              <p:nvSpPr>
                <p:cNvPr id="189" name="Oval 188"/>
                <p:cNvSpPr>
                  <a:spLocks noChangeAspect="1" noChangeArrowheads="1"/>
                </p:cNvSpPr>
                <p:nvPr/>
              </p:nvSpPr>
              <p:spPr bwMode="auto">
                <a:xfrm>
                  <a:off x="4296461" y="3565599"/>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cxnSp>
              <p:nvCxnSpPr>
                <p:cNvPr id="190" name="Straight Connector 189"/>
                <p:cNvCxnSpPr>
                  <a:stCxn id="183" idx="3"/>
                  <a:endCxn id="174" idx="7"/>
                </p:cNvCxnSpPr>
                <p:nvPr/>
              </p:nvCxnSpPr>
              <p:spPr>
                <a:xfrm flipH="1">
                  <a:off x="4357345" y="3631553"/>
                  <a:ext cx="49502" cy="67921"/>
                </a:xfrm>
                <a:prstGeom prst="line">
                  <a:avLst/>
                </a:prstGeom>
                <a:noFill/>
                <a:ln w="9525" cap="flat" cmpd="sng" algn="ctr">
                  <a:solidFill>
                    <a:srgbClr val="0070C0"/>
                  </a:solidFill>
                  <a:prstDash val="solid"/>
                </a:ln>
                <a:effectLst/>
              </p:spPr>
            </p:cxnSp>
            <p:cxnSp>
              <p:nvCxnSpPr>
                <p:cNvPr id="191" name="Straight Connector 190"/>
                <p:cNvCxnSpPr>
                  <a:stCxn id="185" idx="3"/>
                  <a:endCxn id="173" idx="7"/>
                </p:cNvCxnSpPr>
                <p:nvPr/>
              </p:nvCxnSpPr>
              <p:spPr>
                <a:xfrm>
                  <a:off x="4584747" y="3631567"/>
                  <a:ext cx="51077" cy="67907"/>
                </a:xfrm>
                <a:prstGeom prst="line">
                  <a:avLst/>
                </a:prstGeom>
                <a:noFill/>
                <a:ln w="9525" cap="flat" cmpd="sng" algn="ctr">
                  <a:solidFill>
                    <a:srgbClr val="0070C0"/>
                  </a:solidFill>
                  <a:prstDash val="solid"/>
                </a:ln>
                <a:effectLst/>
              </p:spPr>
            </p:cxnSp>
          </p:grpSp>
        </p:grpSp>
        <p:grpSp>
          <p:nvGrpSpPr>
            <p:cNvPr id="161" name="Group 4"/>
            <p:cNvGrpSpPr>
              <a:grpSpLocks noChangeAspect="1"/>
            </p:cNvGrpSpPr>
            <p:nvPr/>
          </p:nvGrpSpPr>
          <p:grpSpPr bwMode="auto">
            <a:xfrm>
              <a:off x="8350516" y="1809998"/>
              <a:ext cx="648038" cy="643953"/>
              <a:chOff x="3125" y="1415"/>
              <a:chExt cx="1586" cy="1576"/>
            </a:xfrm>
            <a:solidFill>
              <a:schemeClr val="tx2"/>
            </a:solidFill>
          </p:grpSpPr>
          <p:sp>
            <p:nvSpPr>
              <p:cNvPr id="164"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188"/>
                <a:endParaRPr lang="en-US" sz="1764">
                  <a:solidFill>
                    <a:srgbClr val="000000"/>
                  </a:solidFill>
                </a:endParaRPr>
              </a:p>
            </p:txBody>
          </p:sp>
          <p:sp>
            <p:nvSpPr>
              <p:cNvPr id="165"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188"/>
                <a:endParaRPr lang="en-US" sz="1764">
                  <a:solidFill>
                    <a:srgbClr val="000000"/>
                  </a:solidFill>
                </a:endParaRPr>
              </a:p>
            </p:txBody>
          </p:sp>
          <p:sp>
            <p:nvSpPr>
              <p:cNvPr id="166"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188"/>
                <a:endParaRPr lang="en-US" sz="1764">
                  <a:solidFill>
                    <a:srgbClr val="000000"/>
                  </a:solidFill>
                </a:endParaRPr>
              </a:p>
            </p:txBody>
          </p:sp>
        </p:grpSp>
        <p:sp>
          <p:nvSpPr>
            <p:cNvPr id="162" name="Rectangle 161"/>
            <p:cNvSpPr/>
            <p:nvPr/>
          </p:nvSpPr>
          <p:spPr>
            <a:xfrm>
              <a:off x="9131599" y="1962452"/>
              <a:ext cx="1437349" cy="24609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96069" fontAlgn="base">
                <a:spcAft>
                  <a:spcPct val="0"/>
                </a:spcAft>
              </a:pPr>
              <a:r>
                <a:rPr lang="en-US" sz="1567" dirty="0">
                  <a:ln>
                    <a:solidFill>
                      <a:srgbClr val="FFFFFF">
                        <a:alpha val="0"/>
                      </a:srgbClr>
                    </a:solidFill>
                  </a:ln>
                  <a:solidFill>
                    <a:srgbClr val="FFFFFF"/>
                  </a:solidFill>
                </a:rPr>
                <a:t>Active Directory</a:t>
              </a:r>
            </a:p>
          </p:txBody>
        </p:sp>
        <p:pic>
          <p:nvPicPr>
            <p:cNvPr id="163" name="Picture 16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76174" y="1590015"/>
              <a:ext cx="1882592" cy="436495"/>
            </a:xfrm>
            <a:prstGeom prst="rect">
              <a:avLst/>
            </a:prstGeom>
          </p:spPr>
        </p:pic>
      </p:grpSp>
      <p:grpSp>
        <p:nvGrpSpPr>
          <p:cNvPr id="192" name="Group 191"/>
          <p:cNvGrpSpPr/>
          <p:nvPr/>
        </p:nvGrpSpPr>
        <p:grpSpPr>
          <a:xfrm>
            <a:off x="10579787" y="6530955"/>
            <a:ext cx="1541721" cy="362412"/>
            <a:chOff x="10387173" y="77143"/>
            <a:chExt cx="1979870" cy="811427"/>
          </a:xfrm>
        </p:grpSpPr>
        <p:sp>
          <p:nvSpPr>
            <p:cNvPr id="193" name="Rectangle 192"/>
            <p:cNvSpPr/>
            <p:nvPr/>
          </p:nvSpPr>
          <p:spPr bwMode="auto">
            <a:xfrm>
              <a:off x="10387173" y="77143"/>
              <a:ext cx="1979870" cy="6934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1100" spc="-29" dirty="0" err="1">
                <a:solidFill>
                  <a:srgbClr val="FFFFFF">
                    <a:lumMod val="85000"/>
                  </a:srgbClr>
                </a:solidFill>
              </a:endParaRPr>
            </a:p>
          </p:txBody>
        </p:sp>
        <p:sp>
          <p:nvSpPr>
            <p:cNvPr id="194" name="Rectangle 193"/>
            <p:cNvSpPr/>
            <p:nvPr/>
          </p:nvSpPr>
          <p:spPr>
            <a:xfrm>
              <a:off x="10407923" y="239185"/>
              <a:ext cx="1959120" cy="649385"/>
            </a:xfrm>
            <a:prstGeom prst="rect">
              <a:avLst/>
            </a:prstGeom>
            <a:ln>
              <a:noFill/>
            </a:ln>
          </p:spPr>
          <p:txBody>
            <a:bodyPr wrap="square">
              <a:spAutoFit/>
            </a:bodyPr>
            <a:lstStyle/>
            <a:p>
              <a:pPr defTabSz="913741" fontAlgn="base">
                <a:lnSpc>
                  <a:spcPct val="90000"/>
                </a:lnSpc>
                <a:spcBef>
                  <a:spcPct val="0"/>
                </a:spcBef>
                <a:spcAft>
                  <a:spcPts val="600"/>
                </a:spcAft>
              </a:pPr>
              <a:r>
                <a:rPr lang="en-US" sz="1400" b="1" dirty="0">
                  <a:solidFill>
                    <a:srgbClr val="FFFFFF">
                      <a:lumMod val="85000"/>
                    </a:srgbClr>
                  </a:solidFill>
                </a:rPr>
                <a:t>*Coming Soon</a:t>
              </a:r>
              <a:endParaRPr lang="en-US" sz="1400" dirty="0">
                <a:solidFill>
                  <a:srgbClr val="FFFFFF">
                    <a:lumMod val="85000"/>
                  </a:srgbClr>
                </a:solidFill>
              </a:endParaRPr>
            </a:p>
          </p:txBody>
        </p:sp>
      </p:grpSp>
    </p:spTree>
    <p:extLst>
      <p:ext uri="{BB962C8B-B14F-4D97-AF65-F5344CB8AC3E}">
        <p14:creationId xmlns:p14="http://schemas.microsoft.com/office/powerpoint/2010/main" val="39051164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fade">
                                      <p:cBhvr>
                                        <p:cTn id="7" dur="500"/>
                                        <p:tgtEl>
                                          <p:spTgt spid="123"/>
                                        </p:tgtEl>
                                      </p:cBhvr>
                                    </p:animEffect>
                                  </p:childTnLst>
                                </p:cTn>
                              </p:par>
                              <p:par>
                                <p:cTn id="8" presetID="10"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477"/>
                                        </p:tgtEl>
                                        <p:attrNameLst>
                                          <p:attrName>style.visibility</p:attrName>
                                        </p:attrNameLst>
                                      </p:cBhvr>
                                      <p:to>
                                        <p:strVal val="visible"/>
                                      </p:to>
                                    </p:set>
                                    <p:animEffect transition="in" filter="wipe(left)">
                                      <p:cBhvr>
                                        <p:cTn id="14" dur="500"/>
                                        <p:tgtEl>
                                          <p:spTgt spid="477"/>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151"/>
                                        </p:tgtEl>
                                        <p:attrNameLst>
                                          <p:attrName>style.visibility</p:attrName>
                                        </p:attrNameLst>
                                      </p:cBhvr>
                                      <p:to>
                                        <p:strVal val="visible"/>
                                      </p:to>
                                    </p:set>
                                    <p:animEffect transition="in" filter="fade">
                                      <p:cBhvr>
                                        <p:cTn id="18" dur="500"/>
                                        <p:tgtEl>
                                          <p:spTgt spid="15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79"/>
                                        </p:tgtEl>
                                        <p:attrNameLst>
                                          <p:attrName>style.visibility</p:attrName>
                                        </p:attrNameLst>
                                      </p:cBhvr>
                                      <p:to>
                                        <p:strVal val="visible"/>
                                      </p:to>
                                    </p:set>
                                    <p:animEffect transition="in" filter="fade">
                                      <p:cBhvr>
                                        <p:cTn id="21" dur="500"/>
                                        <p:tgtEl>
                                          <p:spTgt spid="479"/>
                                        </p:tgtEl>
                                      </p:cBhvr>
                                    </p:animEffect>
                                  </p:childTnLst>
                                </p:cTn>
                              </p:par>
                            </p:childTnLst>
                          </p:cTn>
                        </p:par>
                        <p:par>
                          <p:cTn id="22" fill="hold">
                            <p:stCondLst>
                              <p:cond delay="1500"/>
                            </p:stCondLst>
                            <p:childTnLst>
                              <p:par>
                                <p:cTn id="23" presetID="22" presetClass="entr" presetSubtype="8" fill="hold" nodeType="afterEffect">
                                  <p:stCondLst>
                                    <p:cond delay="0"/>
                                  </p:stCondLst>
                                  <p:childTnLst>
                                    <p:set>
                                      <p:cBhvr>
                                        <p:cTn id="24" dur="1" fill="hold">
                                          <p:stCondLst>
                                            <p:cond delay="0"/>
                                          </p:stCondLst>
                                        </p:cTn>
                                        <p:tgtEl>
                                          <p:spTgt spid="476"/>
                                        </p:tgtEl>
                                        <p:attrNameLst>
                                          <p:attrName>style.visibility</p:attrName>
                                        </p:attrNameLst>
                                      </p:cBhvr>
                                      <p:to>
                                        <p:strVal val="visible"/>
                                      </p:to>
                                    </p:set>
                                    <p:animEffect transition="in" filter="wipe(left)">
                                      <p:cBhvr>
                                        <p:cTn id="25" dur="500"/>
                                        <p:tgtEl>
                                          <p:spTgt spid="476"/>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500"/>
                                        <p:tgtEl>
                                          <p:spTgt spid="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817"/>
                                        </p:tgtEl>
                                        <p:attrNameLst>
                                          <p:attrName>style.visibility</p:attrName>
                                        </p:attrNameLst>
                                      </p:cBhvr>
                                      <p:to>
                                        <p:strVal val="visible"/>
                                      </p:to>
                                    </p:set>
                                    <p:animEffect transition="in" filter="fade">
                                      <p:cBhvr>
                                        <p:cTn id="32" dur="500"/>
                                        <p:tgtEl>
                                          <p:spTgt spid="817"/>
                                        </p:tgtEl>
                                      </p:cBhvr>
                                    </p:animEffect>
                                  </p:childTnLst>
                                </p:cTn>
                              </p:par>
                            </p:childTnLst>
                          </p:cTn>
                        </p:par>
                        <p:par>
                          <p:cTn id="33" fill="hold">
                            <p:stCondLst>
                              <p:cond delay="2500"/>
                            </p:stCondLst>
                            <p:childTnLst>
                              <p:par>
                                <p:cTn id="34" presetID="10" presetClass="entr" presetSubtype="0" fill="hold" grpId="0" nodeType="afterEffect">
                                  <p:stCondLst>
                                    <p:cond delay="0"/>
                                  </p:stCondLst>
                                  <p:childTnLst>
                                    <p:set>
                                      <p:cBhvr>
                                        <p:cTn id="35" dur="1" fill="hold">
                                          <p:stCondLst>
                                            <p:cond delay="0"/>
                                          </p:stCondLst>
                                        </p:cTn>
                                        <p:tgtEl>
                                          <p:spTgt spid="127"/>
                                        </p:tgtEl>
                                        <p:attrNameLst>
                                          <p:attrName>style.visibility</p:attrName>
                                        </p:attrNameLst>
                                      </p:cBhvr>
                                      <p:to>
                                        <p:strVal val="visible"/>
                                      </p:to>
                                    </p:set>
                                    <p:animEffect transition="in" filter="fade">
                                      <p:cBhvr>
                                        <p:cTn id="36" dur="500"/>
                                        <p:tgtEl>
                                          <p:spTgt spid="127"/>
                                        </p:tgtEl>
                                      </p:cBhvr>
                                    </p:animEffect>
                                  </p:childTnLst>
                                </p:cTn>
                              </p:par>
                              <p:par>
                                <p:cTn id="37" presetID="10" presetClass="entr" presetSubtype="0" fill="hold" nodeType="withEffect">
                                  <p:stCondLst>
                                    <p:cond delay="0"/>
                                  </p:stCondLst>
                                  <p:childTnLst>
                                    <p:set>
                                      <p:cBhvr>
                                        <p:cTn id="38" dur="1" fill="hold">
                                          <p:stCondLst>
                                            <p:cond delay="0"/>
                                          </p:stCondLst>
                                        </p:cTn>
                                        <p:tgtEl>
                                          <p:spTgt spid="192"/>
                                        </p:tgtEl>
                                        <p:attrNameLst>
                                          <p:attrName>style.visibility</p:attrName>
                                        </p:attrNameLst>
                                      </p:cBhvr>
                                      <p:to>
                                        <p:strVal val="visible"/>
                                      </p:to>
                                    </p:set>
                                    <p:animEffect transition="in" filter="fade">
                                      <p:cBhvr>
                                        <p:cTn id="39" dur="500"/>
                                        <p:tgtEl>
                                          <p:spTgt spid="19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24"/>
                                        </p:tgtEl>
                                        <p:attrNameLst>
                                          <p:attrName>style.visibility</p:attrName>
                                        </p:attrNameLst>
                                      </p:cBhvr>
                                      <p:to>
                                        <p:strVal val="visible"/>
                                      </p:to>
                                    </p:set>
                                    <p:animEffect transition="in" filter="fade">
                                      <p:cBhvr>
                                        <p:cTn id="44" dur="500"/>
                                        <p:tgtEl>
                                          <p:spTgt spid="124"/>
                                        </p:tgtEl>
                                      </p:cBhvr>
                                    </p:animEffect>
                                  </p:childTnLst>
                                </p:cTn>
                              </p:par>
                              <p:par>
                                <p:cTn id="45" presetID="1" presetClass="entr" presetSubtype="0" fill="hold" nodeType="withEffect">
                                  <p:stCondLst>
                                    <p:cond delay="0"/>
                                  </p:stCondLst>
                                  <p:childTnLst>
                                    <p:set>
                                      <p:cBhvr>
                                        <p:cTn id="46" dur="1" fill="hold">
                                          <p:stCondLst>
                                            <p:cond delay="0"/>
                                          </p:stCondLst>
                                        </p:cTn>
                                        <p:tgtEl>
                                          <p:spTgt spid="113"/>
                                        </p:tgtEl>
                                        <p:attrNameLst>
                                          <p:attrName>style.visibility</p:attrName>
                                        </p:attrNameLst>
                                      </p:cBhvr>
                                      <p:to>
                                        <p:strVal val="visible"/>
                                      </p:to>
                                    </p:set>
                                  </p:childTnLst>
                                </p:cTn>
                              </p:par>
                            </p:childTnLst>
                          </p:cTn>
                        </p:par>
                        <p:par>
                          <p:cTn id="47" fill="hold">
                            <p:stCondLst>
                              <p:cond delay="500"/>
                            </p:stCondLst>
                            <p:childTnLst>
                              <p:par>
                                <p:cTn id="48" presetID="10" presetClass="entr" presetSubtype="0" fill="hold" nodeType="afterEffect">
                                  <p:stCondLst>
                                    <p:cond delay="0"/>
                                  </p:stCondLst>
                                  <p:childTnLst>
                                    <p:set>
                                      <p:cBhvr>
                                        <p:cTn id="49" dur="1" fill="hold">
                                          <p:stCondLst>
                                            <p:cond delay="0"/>
                                          </p:stCondLst>
                                        </p:cTn>
                                        <p:tgtEl>
                                          <p:spTgt spid="553"/>
                                        </p:tgtEl>
                                        <p:attrNameLst>
                                          <p:attrName>style.visibility</p:attrName>
                                        </p:attrNameLst>
                                      </p:cBhvr>
                                      <p:to>
                                        <p:strVal val="visible"/>
                                      </p:to>
                                    </p:set>
                                    <p:animEffect transition="in" filter="fade">
                                      <p:cBhvr>
                                        <p:cTn id="50" dur="500"/>
                                        <p:tgtEl>
                                          <p:spTgt spid="553"/>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17"/>
                                        </p:tgtEl>
                                        <p:attrNameLst>
                                          <p:attrName>style.visibility</p:attrName>
                                        </p:attrNameLst>
                                      </p:cBhvr>
                                      <p:to>
                                        <p:strVal val="visible"/>
                                      </p:to>
                                    </p:set>
                                    <p:animEffect transition="in" filter="wipe(left)">
                                      <p:cBhvr>
                                        <p:cTn id="54" dur="500"/>
                                        <p:tgtEl>
                                          <p:spTgt spid="117"/>
                                        </p:tgtEl>
                                      </p:cBhvr>
                                    </p:animEffect>
                                  </p:childTnLst>
                                </p:cTn>
                              </p:par>
                            </p:childTnLst>
                          </p:cTn>
                        </p:par>
                        <p:par>
                          <p:cTn id="55" fill="hold">
                            <p:stCondLst>
                              <p:cond delay="1500"/>
                            </p:stCondLst>
                            <p:childTnLst>
                              <p:par>
                                <p:cTn id="56" presetID="10" presetClass="entr" presetSubtype="0" fill="hold" nodeType="afterEffect">
                                  <p:stCondLst>
                                    <p:cond delay="0"/>
                                  </p:stCondLst>
                                  <p:childTnLst>
                                    <p:set>
                                      <p:cBhvr>
                                        <p:cTn id="57" dur="1" fill="hold">
                                          <p:stCondLst>
                                            <p:cond delay="0"/>
                                          </p:stCondLst>
                                        </p:cTn>
                                        <p:tgtEl>
                                          <p:spTgt spid="156"/>
                                        </p:tgtEl>
                                        <p:attrNameLst>
                                          <p:attrName>style.visibility</p:attrName>
                                        </p:attrNameLst>
                                      </p:cBhvr>
                                      <p:to>
                                        <p:strVal val="visible"/>
                                      </p:to>
                                    </p:set>
                                    <p:animEffect transition="in" filter="fade">
                                      <p:cBhvr>
                                        <p:cTn id="58" dur="500"/>
                                        <p:tgtEl>
                                          <p:spTgt spid="156"/>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80"/>
                                        </p:tgtEl>
                                        <p:attrNameLst>
                                          <p:attrName>style.visibility</p:attrName>
                                        </p:attrNameLst>
                                      </p:cBhvr>
                                      <p:to>
                                        <p:strVal val="visible"/>
                                      </p:to>
                                    </p:set>
                                    <p:animEffect transition="in" filter="fade">
                                      <p:cBhvr>
                                        <p:cTn id="61" dur="500"/>
                                        <p:tgtEl>
                                          <p:spTgt spid="480"/>
                                        </p:tgtEl>
                                      </p:cBhvr>
                                    </p:animEffect>
                                  </p:childTnLst>
                                </p:cTn>
                              </p:par>
                            </p:childTnLst>
                          </p:cTn>
                        </p:par>
                        <p:par>
                          <p:cTn id="62" fill="hold">
                            <p:stCondLst>
                              <p:cond delay="2000"/>
                            </p:stCondLst>
                            <p:childTnLst>
                              <p:par>
                                <p:cTn id="63" presetID="22" presetClass="entr" presetSubtype="8" fill="hold" nodeType="afterEffect">
                                  <p:stCondLst>
                                    <p:cond delay="0"/>
                                  </p:stCondLst>
                                  <p:childTnLst>
                                    <p:set>
                                      <p:cBhvr>
                                        <p:cTn id="64" dur="1" fill="hold">
                                          <p:stCondLst>
                                            <p:cond delay="0"/>
                                          </p:stCondLst>
                                        </p:cTn>
                                        <p:tgtEl>
                                          <p:spTgt spid="116"/>
                                        </p:tgtEl>
                                        <p:attrNameLst>
                                          <p:attrName>style.visibility</p:attrName>
                                        </p:attrNameLst>
                                      </p:cBhvr>
                                      <p:to>
                                        <p:strVal val="visible"/>
                                      </p:to>
                                    </p:set>
                                    <p:animEffect transition="in" filter="wipe(left)">
                                      <p:cBhvr>
                                        <p:cTn id="65" dur="500"/>
                                        <p:tgtEl>
                                          <p:spTgt spid="116"/>
                                        </p:tgtEl>
                                      </p:cBhvr>
                                    </p:animEffect>
                                  </p:childTnLst>
                                </p:cTn>
                              </p:par>
                            </p:childTnLst>
                          </p:cTn>
                        </p:par>
                        <p:par>
                          <p:cTn id="66" fill="hold">
                            <p:stCondLst>
                              <p:cond delay="2500"/>
                            </p:stCondLst>
                            <p:childTnLst>
                              <p:par>
                                <p:cTn id="67" presetID="10" presetClass="entr" presetSubtype="0" fill="hold" nodeType="afterEffect">
                                  <p:stCondLst>
                                    <p:cond delay="0"/>
                                  </p:stCondLst>
                                  <p:childTnLst>
                                    <p:set>
                                      <p:cBhvr>
                                        <p:cTn id="68" dur="1" fill="hold">
                                          <p:stCondLst>
                                            <p:cond delay="0"/>
                                          </p:stCondLst>
                                        </p:cTn>
                                        <p:tgtEl>
                                          <p:spTgt spid="115"/>
                                        </p:tgtEl>
                                        <p:attrNameLst>
                                          <p:attrName>style.visibility</p:attrName>
                                        </p:attrNameLst>
                                      </p:cBhvr>
                                      <p:to>
                                        <p:strVal val="visible"/>
                                      </p:to>
                                    </p:set>
                                    <p:animEffect transition="in" filter="fade">
                                      <p:cBhvr>
                                        <p:cTn id="69" dur="500"/>
                                        <p:tgtEl>
                                          <p:spTgt spid="115"/>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552"/>
                                        </p:tgtEl>
                                        <p:attrNameLst>
                                          <p:attrName>style.visibility</p:attrName>
                                        </p:attrNameLst>
                                      </p:cBhvr>
                                      <p:to>
                                        <p:strVal val="visible"/>
                                      </p:to>
                                    </p:set>
                                    <p:animEffect transition="in" filter="fade">
                                      <p:cBhvr>
                                        <p:cTn id="72" dur="500"/>
                                        <p:tgtEl>
                                          <p:spTgt spid="552"/>
                                        </p:tgtEl>
                                      </p:cBhvr>
                                    </p:animEffect>
                                  </p:childTnLst>
                                </p:cTn>
                              </p:par>
                              <p:par>
                                <p:cTn id="73" presetID="53" presetClass="entr" presetSubtype="16" fill="hold" nodeType="withEffect">
                                  <p:stCondLst>
                                    <p:cond delay="0"/>
                                  </p:stCondLst>
                                  <p:childTnLst>
                                    <p:set>
                                      <p:cBhvr>
                                        <p:cTn id="74" dur="1" fill="hold">
                                          <p:stCondLst>
                                            <p:cond delay="0"/>
                                          </p:stCondLst>
                                        </p:cTn>
                                        <p:tgtEl>
                                          <p:spTgt spid="119"/>
                                        </p:tgtEl>
                                        <p:attrNameLst>
                                          <p:attrName>style.visibility</p:attrName>
                                        </p:attrNameLst>
                                      </p:cBhvr>
                                      <p:to>
                                        <p:strVal val="visible"/>
                                      </p:to>
                                    </p:set>
                                    <p:anim calcmode="lin" valueType="num">
                                      <p:cBhvr>
                                        <p:cTn id="75" dur="250" fill="hold"/>
                                        <p:tgtEl>
                                          <p:spTgt spid="119"/>
                                        </p:tgtEl>
                                        <p:attrNameLst>
                                          <p:attrName>ppt_w</p:attrName>
                                        </p:attrNameLst>
                                      </p:cBhvr>
                                      <p:tavLst>
                                        <p:tav tm="0">
                                          <p:val>
                                            <p:fltVal val="0"/>
                                          </p:val>
                                        </p:tav>
                                        <p:tav tm="100000">
                                          <p:val>
                                            <p:strVal val="#ppt_w"/>
                                          </p:val>
                                        </p:tav>
                                      </p:tavLst>
                                    </p:anim>
                                    <p:anim calcmode="lin" valueType="num">
                                      <p:cBhvr>
                                        <p:cTn id="76" dur="250" fill="hold"/>
                                        <p:tgtEl>
                                          <p:spTgt spid="119"/>
                                        </p:tgtEl>
                                        <p:attrNameLst>
                                          <p:attrName>ppt_h</p:attrName>
                                        </p:attrNameLst>
                                      </p:cBhvr>
                                      <p:tavLst>
                                        <p:tav tm="0">
                                          <p:val>
                                            <p:fltVal val="0"/>
                                          </p:val>
                                        </p:tav>
                                        <p:tav tm="100000">
                                          <p:val>
                                            <p:strVal val="#ppt_h"/>
                                          </p:val>
                                        </p:tav>
                                      </p:tavLst>
                                    </p:anim>
                                    <p:animEffect transition="in" filter="fade">
                                      <p:cBhvr>
                                        <p:cTn id="77" dur="250"/>
                                        <p:tgtEl>
                                          <p:spTgt spid="119"/>
                                        </p:tgtEl>
                                      </p:cBhvr>
                                    </p:animEffect>
                                  </p:childTnLst>
                                </p:cTn>
                              </p:par>
                              <p:par>
                                <p:cTn id="78" presetID="6" presetClass="emph" presetSubtype="0" decel="100000" fill="hold" nodeType="withEffect">
                                  <p:stCondLst>
                                    <p:cond delay="0"/>
                                  </p:stCondLst>
                                  <p:childTnLst>
                                    <p:animScale>
                                      <p:cBhvr>
                                        <p:cTn id="79" dur="250" fill="hold"/>
                                        <p:tgtEl>
                                          <p:spTgt spid="119"/>
                                        </p:tgtEl>
                                      </p:cBhvr>
                                      <p:by x="110000" y="110000"/>
                                    </p:animScale>
                                  </p:childTnLst>
                                </p:cTn>
                              </p:par>
                              <p:par>
                                <p:cTn id="80" presetID="6" presetClass="emph" presetSubtype="0" decel="100000" fill="hold" nodeType="withEffect">
                                  <p:stCondLst>
                                    <p:cond delay="0"/>
                                  </p:stCondLst>
                                  <p:childTnLst>
                                    <p:animScale>
                                      <p:cBhvr>
                                        <p:cTn id="81" dur="250" fill="hold"/>
                                        <p:tgtEl>
                                          <p:spTgt spid="119"/>
                                        </p:tgtEl>
                                      </p:cBhvr>
                                      <p:by x="91000" y="91000"/>
                                    </p:animScale>
                                  </p:childTnLst>
                                </p:cTn>
                              </p:par>
                            </p:childTnLst>
                          </p:cTn>
                        </p:par>
                        <p:par>
                          <p:cTn id="82" fill="hold">
                            <p:stCondLst>
                              <p:cond delay="3000"/>
                            </p:stCondLst>
                            <p:childTnLst>
                              <p:par>
                                <p:cTn id="83" presetID="22" presetClass="entr" presetSubtype="2" fill="hold" nodeType="afterEffect">
                                  <p:stCondLst>
                                    <p:cond delay="0"/>
                                  </p:stCondLst>
                                  <p:childTnLst>
                                    <p:set>
                                      <p:cBhvr>
                                        <p:cTn id="84" dur="1" fill="hold">
                                          <p:stCondLst>
                                            <p:cond delay="0"/>
                                          </p:stCondLst>
                                        </p:cTn>
                                        <p:tgtEl>
                                          <p:spTgt spid="512"/>
                                        </p:tgtEl>
                                        <p:attrNameLst>
                                          <p:attrName>style.visibility</p:attrName>
                                        </p:attrNameLst>
                                      </p:cBhvr>
                                      <p:to>
                                        <p:strVal val="visible"/>
                                      </p:to>
                                    </p:set>
                                    <p:animEffect transition="in" filter="wipe(right)">
                                      <p:cBhvr>
                                        <p:cTn id="85" dur="500"/>
                                        <p:tgtEl>
                                          <p:spTgt spid="512"/>
                                        </p:tgtEl>
                                      </p:cBhvr>
                                    </p:animEffect>
                                  </p:childTnLst>
                                </p:cTn>
                              </p:par>
                            </p:childTnLst>
                          </p:cTn>
                        </p:par>
                        <p:par>
                          <p:cTn id="86" fill="hold">
                            <p:stCondLst>
                              <p:cond delay="3500"/>
                            </p:stCondLst>
                            <p:childTnLst>
                              <p:par>
                                <p:cTn id="87" presetID="10" presetClass="entr" presetSubtype="0" fill="hold" nodeType="afterEffect">
                                  <p:stCondLst>
                                    <p:cond delay="0"/>
                                  </p:stCondLst>
                                  <p:childTnLst>
                                    <p:set>
                                      <p:cBhvr>
                                        <p:cTn id="88" dur="1" fill="hold">
                                          <p:stCondLst>
                                            <p:cond delay="0"/>
                                          </p:stCondLst>
                                        </p:cTn>
                                        <p:tgtEl>
                                          <p:spTgt spid="504"/>
                                        </p:tgtEl>
                                        <p:attrNameLst>
                                          <p:attrName>style.visibility</p:attrName>
                                        </p:attrNameLst>
                                      </p:cBhvr>
                                      <p:to>
                                        <p:strVal val="visible"/>
                                      </p:to>
                                    </p:set>
                                    <p:animEffect transition="in" filter="fade">
                                      <p:cBhvr>
                                        <p:cTn id="89" dur="500"/>
                                        <p:tgtEl>
                                          <p:spTgt spid="504"/>
                                        </p:tgtEl>
                                      </p:cBhvr>
                                    </p:animEffect>
                                  </p:childTnLst>
                                </p:cTn>
                              </p:par>
                            </p:childTnLst>
                          </p:cTn>
                        </p:par>
                        <p:par>
                          <p:cTn id="90" fill="hold">
                            <p:stCondLst>
                              <p:cond delay="4000"/>
                            </p:stCondLst>
                            <p:childTnLst>
                              <p:par>
                                <p:cTn id="91" presetID="22" presetClass="entr" presetSubtype="2" fill="hold" nodeType="afterEffect">
                                  <p:stCondLst>
                                    <p:cond delay="0"/>
                                  </p:stCondLst>
                                  <p:childTnLst>
                                    <p:set>
                                      <p:cBhvr>
                                        <p:cTn id="92" dur="1" fill="hold">
                                          <p:stCondLst>
                                            <p:cond delay="0"/>
                                          </p:stCondLst>
                                        </p:cTn>
                                        <p:tgtEl>
                                          <p:spTgt spid="577"/>
                                        </p:tgtEl>
                                        <p:attrNameLst>
                                          <p:attrName>style.visibility</p:attrName>
                                        </p:attrNameLst>
                                      </p:cBhvr>
                                      <p:to>
                                        <p:strVal val="visible"/>
                                      </p:to>
                                    </p:set>
                                    <p:animEffect transition="in" filter="wipe(right)">
                                      <p:cBhvr>
                                        <p:cTn id="93" dur="500"/>
                                        <p:tgtEl>
                                          <p:spTgt spid="577"/>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18"/>
                                        </p:tgtEl>
                                        <p:attrNameLst>
                                          <p:attrName>style.visibility</p:attrName>
                                        </p:attrNameLst>
                                      </p:cBhvr>
                                      <p:to>
                                        <p:strVal val="visible"/>
                                      </p:to>
                                    </p:set>
                                    <p:animEffect transition="in" filter="fade">
                                      <p:cBhvr>
                                        <p:cTn id="96" dur="500"/>
                                        <p:tgtEl>
                                          <p:spTgt spid="1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7" grpId="0"/>
      <p:bldP spid="480" grpId="0"/>
      <p:bldP spid="479" grpId="0"/>
      <p:bldP spid="552" grpId="0"/>
      <p:bldP spid="123" grpId="0"/>
      <p:bldP spid="124" grpId="0"/>
      <p:bldP spid="118" grpId="0"/>
      <p:bldP spid="12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3371" tIns="89606" rIns="143371" bIns="89606" rtlCol="0" anchor="t">
            <a:noAutofit/>
          </a:bodyPr>
          <a:lstStyle/>
          <a:p>
            <a:r>
              <a:rPr lang="en-US" sz="3919" dirty="0">
                <a:solidFill>
                  <a:srgbClr val="06796F"/>
                </a:solidFill>
              </a:rPr>
              <a:t>Direct to cloud identity sync</a:t>
            </a:r>
          </a:p>
        </p:txBody>
      </p:sp>
      <p:sp>
        <p:nvSpPr>
          <p:cNvPr id="124" name="Rectangle 123"/>
          <p:cNvSpPr/>
          <p:nvPr/>
        </p:nvSpPr>
        <p:spPr bwMode="auto">
          <a:xfrm>
            <a:off x="7617260" y="4345090"/>
            <a:ext cx="3400862" cy="868186"/>
          </a:xfrm>
          <a:prstGeom prst="rect">
            <a:avLst/>
          </a:prstGeom>
          <a:ln>
            <a:noFill/>
          </a:ln>
        </p:spPr>
        <p:txBody>
          <a:bodyPr vert="horz" wrap="square" lIns="0" tIns="0" rIns="0" bIns="0" rtlCol="0">
            <a:spAutoFit/>
          </a:bodyPr>
          <a:lstStyle/>
          <a:p>
            <a:pPr defTabSz="914004">
              <a:lnSpc>
                <a:spcPct val="90000"/>
              </a:lnSpc>
              <a:spcBef>
                <a:spcPts val="1175"/>
              </a:spcBef>
            </a:pPr>
            <a:r>
              <a:rPr lang="en-US" sz="1567" b="1" spc="-29" dirty="0">
                <a:solidFill>
                  <a:srgbClr val="008272"/>
                </a:solidFill>
              </a:rPr>
              <a:t>Azure Active Directory Sync </a:t>
            </a:r>
            <a:r>
              <a:rPr lang="en-US" sz="1567" spc="-29" dirty="0">
                <a:solidFill>
                  <a:srgbClr val="505050"/>
                </a:solidFill>
              </a:rPr>
              <a:t>provides the ability to sync disparate on-premises identity repositories directly to </a:t>
            </a:r>
            <a:r>
              <a:rPr lang="en-US" sz="1567" b="1" spc="-29" dirty="0">
                <a:solidFill>
                  <a:srgbClr val="008272"/>
                </a:solidFill>
              </a:rPr>
              <a:t>Azure Active Directory</a:t>
            </a:r>
          </a:p>
        </p:txBody>
      </p:sp>
      <p:grpSp>
        <p:nvGrpSpPr>
          <p:cNvPr id="3" name="Group 2"/>
          <p:cNvGrpSpPr/>
          <p:nvPr/>
        </p:nvGrpSpPr>
        <p:grpSpPr>
          <a:xfrm>
            <a:off x="5309646" y="3068820"/>
            <a:ext cx="747422" cy="953483"/>
            <a:chOff x="7426355" y="4211026"/>
            <a:chExt cx="762716" cy="972993"/>
          </a:xfrm>
        </p:grpSpPr>
        <p:sp>
          <p:nvSpPr>
            <p:cNvPr id="30" name="Freeform 836"/>
            <p:cNvSpPr>
              <a:spLocks noEditPoints="1"/>
            </p:cNvSpPr>
            <p:nvPr/>
          </p:nvSpPr>
          <p:spPr bwMode="auto">
            <a:xfrm>
              <a:off x="7676103" y="4211026"/>
              <a:ext cx="512968" cy="97299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0070C0"/>
            </a:solidFill>
            <a:ln w="0">
              <a:noFill/>
              <a:prstDash val="solid"/>
              <a:round/>
              <a:headEnd/>
              <a:tailEnd/>
            </a:ln>
          </p:spPr>
          <p:txBody>
            <a:bodyPr vert="horz" wrap="square" lIns="89606" tIns="44804" rIns="89606" bIns="44804" numCol="1" anchor="t" anchorCtr="0" compatLnSpc="1">
              <a:prstTxWarp prst="textNoShape">
                <a:avLst/>
              </a:prstTxWarp>
            </a:bodyPr>
            <a:lstStyle/>
            <a:p>
              <a:pPr defTabSz="914004"/>
              <a:endParaRPr lang="en-GB" sz="1764">
                <a:solidFill>
                  <a:srgbClr val="505050"/>
                </a:solidFill>
              </a:endParaRPr>
            </a:p>
          </p:txBody>
        </p:sp>
        <p:grpSp>
          <p:nvGrpSpPr>
            <p:cNvPr id="31" name="Group 30"/>
            <p:cNvGrpSpPr>
              <a:grpSpLocks noChangeAspect="1"/>
            </p:cNvGrpSpPr>
            <p:nvPr/>
          </p:nvGrpSpPr>
          <p:grpSpPr>
            <a:xfrm rot="900000">
              <a:off x="7426355" y="4400390"/>
              <a:ext cx="499495" cy="493247"/>
              <a:chOff x="3242937" y="2319398"/>
              <a:chExt cx="796924" cy="786956"/>
            </a:xfrm>
          </p:grpSpPr>
          <p:sp>
            <p:nvSpPr>
              <p:cNvPr id="32" name="Oval 31"/>
              <p:cNvSpPr/>
              <p:nvPr/>
            </p:nvSpPr>
            <p:spPr bwMode="auto">
              <a:xfrm>
                <a:off x="3247921" y="2319398"/>
                <a:ext cx="786956" cy="78695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FFFFFF"/>
                      </a:gs>
                      <a:gs pos="10417">
                        <a:srgbClr val="FFFFFF"/>
                      </a:gs>
                    </a:gsLst>
                    <a:lin ang="5400000" scaled="0"/>
                  </a:gradFill>
                </a:endParaRPr>
              </a:p>
            </p:txBody>
          </p:sp>
          <p:sp>
            <p:nvSpPr>
              <p:cNvPr id="33" name="Freeform 31"/>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1"/>
              </a:solidFill>
              <a:ln>
                <a:solidFill>
                  <a:schemeClr val="accent1"/>
                </a:solid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grpSp>
        <p:nvGrpSpPr>
          <p:cNvPr id="80" name="Group 79"/>
          <p:cNvGrpSpPr/>
          <p:nvPr/>
        </p:nvGrpSpPr>
        <p:grpSpPr>
          <a:xfrm>
            <a:off x="1857737" y="2903669"/>
            <a:ext cx="1905951" cy="1289167"/>
            <a:chOff x="4180433" y="3009950"/>
            <a:chExt cx="1695153" cy="1139828"/>
          </a:xfrm>
        </p:grpSpPr>
        <p:grpSp>
          <p:nvGrpSpPr>
            <p:cNvPr id="81" name="Group 80"/>
            <p:cNvGrpSpPr/>
            <p:nvPr/>
          </p:nvGrpSpPr>
          <p:grpSpPr>
            <a:xfrm>
              <a:off x="4180433" y="3665675"/>
              <a:ext cx="1695153" cy="484103"/>
              <a:chOff x="3002667" y="5699193"/>
              <a:chExt cx="1695153" cy="484103"/>
            </a:xfrm>
          </p:grpSpPr>
          <p:sp>
            <p:nvSpPr>
              <p:cNvPr id="83" name="Rectangle 82"/>
              <p:cNvSpPr/>
              <p:nvPr/>
            </p:nvSpPr>
            <p:spPr>
              <a:xfrm>
                <a:off x="3348990" y="5996779"/>
                <a:ext cx="1156250" cy="186517"/>
              </a:xfrm>
              <a:prstGeom prst="rect">
                <a:avLst/>
              </a:prstGeom>
              <a:ln>
                <a:noFill/>
              </a:ln>
            </p:spPr>
            <p:txBody>
              <a:bodyPr wrap="square" lIns="0" tIns="0" rIns="0" bIns="0" anchor="ctr">
                <a:spAutoFit/>
              </a:bodyPr>
              <a:lstStyle/>
              <a:p>
                <a:pPr algn="ctr" defTabSz="1074661" fontAlgn="base">
                  <a:spcBef>
                    <a:spcPts val="1411"/>
                  </a:spcBef>
                  <a:spcAft>
                    <a:spcPct val="0"/>
                  </a:spcAft>
                </a:pPr>
                <a:r>
                  <a:rPr lang="en-US" sz="1371" dirty="0">
                    <a:ln>
                      <a:solidFill>
                        <a:srgbClr val="FFFFFF">
                          <a:alpha val="0"/>
                        </a:srgbClr>
                      </a:solidFill>
                    </a:ln>
                    <a:solidFill>
                      <a:srgbClr val="00188F"/>
                    </a:solidFill>
                  </a:rPr>
                  <a:t>Active Directory</a:t>
                </a:r>
              </a:p>
            </p:txBody>
          </p:sp>
          <p:pic>
            <p:nvPicPr>
              <p:cNvPr id="84" name="Picture 8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02667" y="5699193"/>
                <a:ext cx="1695153" cy="398452"/>
              </a:xfrm>
              <a:prstGeom prst="rect">
                <a:avLst/>
              </a:prstGeom>
            </p:spPr>
          </p:pic>
        </p:grpSp>
        <p:pic>
          <p:nvPicPr>
            <p:cNvPr id="82" name="Picture 8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525105" y="3009950"/>
              <a:ext cx="1044032" cy="690827"/>
            </a:xfrm>
            <a:prstGeom prst="rect">
              <a:avLst/>
            </a:prstGeom>
          </p:spPr>
        </p:pic>
      </p:grpSp>
      <p:cxnSp>
        <p:nvCxnSpPr>
          <p:cNvPr id="85" name="Straight Arrow Connector 84"/>
          <p:cNvCxnSpPr/>
          <p:nvPr/>
        </p:nvCxnSpPr>
        <p:spPr>
          <a:xfrm flipH="1">
            <a:off x="4348668" y="4219618"/>
            <a:ext cx="598180" cy="551375"/>
          </a:xfrm>
          <a:prstGeom prst="straightConnector1">
            <a:avLst/>
          </a:prstGeom>
          <a:noFill/>
          <a:ln w="25400" cap="rnd" cmpd="sng" algn="ctr">
            <a:solidFill>
              <a:srgbClr val="0070C0"/>
            </a:solidFill>
            <a:prstDash val="sysDot"/>
            <a:headEnd type="triangle"/>
            <a:tailEnd type="triangle"/>
          </a:ln>
          <a:effectLst/>
        </p:spPr>
      </p:cxnSp>
      <p:cxnSp>
        <p:nvCxnSpPr>
          <p:cNvPr id="86" name="Straight Arrow Connector 85"/>
          <p:cNvCxnSpPr/>
          <p:nvPr/>
        </p:nvCxnSpPr>
        <p:spPr>
          <a:xfrm flipH="1">
            <a:off x="3845940" y="3551639"/>
            <a:ext cx="946112" cy="0"/>
          </a:xfrm>
          <a:prstGeom prst="straightConnector1">
            <a:avLst/>
          </a:prstGeom>
          <a:noFill/>
          <a:ln w="25400" cap="rnd" cmpd="sng" algn="ctr">
            <a:solidFill>
              <a:srgbClr val="0070C0"/>
            </a:solidFill>
            <a:prstDash val="sysDot"/>
            <a:headEnd type="triangle"/>
            <a:tailEnd type="triangle"/>
          </a:ln>
          <a:effectLst/>
        </p:spPr>
      </p:cxnSp>
      <p:cxnSp>
        <p:nvCxnSpPr>
          <p:cNvPr id="87" name="Straight Arrow Connector 86"/>
          <p:cNvCxnSpPr/>
          <p:nvPr/>
        </p:nvCxnSpPr>
        <p:spPr>
          <a:xfrm>
            <a:off x="5768996" y="2002709"/>
            <a:ext cx="1592" cy="627245"/>
          </a:xfrm>
          <a:prstGeom prst="straightConnector1">
            <a:avLst/>
          </a:prstGeom>
          <a:noFill/>
          <a:ln w="25400" cap="rnd" cmpd="sng" algn="ctr">
            <a:solidFill>
              <a:srgbClr val="0070C0"/>
            </a:solidFill>
            <a:prstDash val="sysDot"/>
            <a:headEnd type="triangle"/>
            <a:tailEnd type="triangle"/>
          </a:ln>
          <a:effectLst/>
        </p:spPr>
      </p:cxnSp>
      <p:cxnSp>
        <p:nvCxnSpPr>
          <p:cNvPr id="88" name="Straight Arrow Connector 87"/>
          <p:cNvCxnSpPr/>
          <p:nvPr/>
        </p:nvCxnSpPr>
        <p:spPr>
          <a:xfrm>
            <a:off x="5749069" y="4607961"/>
            <a:ext cx="1592" cy="627245"/>
          </a:xfrm>
          <a:prstGeom prst="straightConnector1">
            <a:avLst/>
          </a:prstGeom>
          <a:noFill/>
          <a:ln w="25400" cap="rnd" cmpd="sng" algn="ctr">
            <a:solidFill>
              <a:srgbClr val="0070C0"/>
            </a:solidFill>
            <a:prstDash val="sysDot"/>
            <a:headEnd type="triangle"/>
            <a:tailEnd type="triangle"/>
          </a:ln>
          <a:effectLst/>
        </p:spPr>
      </p:cxnSp>
      <p:cxnSp>
        <p:nvCxnSpPr>
          <p:cNvPr id="89" name="Straight Arrow Connector 88"/>
          <p:cNvCxnSpPr/>
          <p:nvPr/>
        </p:nvCxnSpPr>
        <p:spPr>
          <a:xfrm flipH="1" flipV="1">
            <a:off x="4254701" y="2341379"/>
            <a:ext cx="598180" cy="551375"/>
          </a:xfrm>
          <a:prstGeom prst="straightConnector1">
            <a:avLst/>
          </a:prstGeom>
          <a:noFill/>
          <a:ln w="25400" cap="rnd" cmpd="sng" algn="ctr">
            <a:solidFill>
              <a:srgbClr val="0070C0"/>
            </a:solidFill>
            <a:prstDash val="sysDot"/>
            <a:headEnd type="triangle"/>
            <a:tailEnd type="triangle"/>
          </a:ln>
          <a:effectLst/>
        </p:spPr>
      </p:cxnSp>
      <p:sp>
        <p:nvSpPr>
          <p:cNvPr id="91" name="Freeform 579"/>
          <p:cNvSpPr>
            <a:spLocks noChangeAspect="1" noEditPoints="1"/>
          </p:cNvSpPr>
          <p:nvPr/>
        </p:nvSpPr>
        <p:spPr bwMode="auto">
          <a:xfrm>
            <a:off x="5050031" y="2831080"/>
            <a:ext cx="1441117" cy="1441118"/>
          </a:xfrm>
          <a:custGeom>
            <a:avLst/>
            <a:gdLst>
              <a:gd name="T0" fmla="*/ 346 w 693"/>
              <a:gd name="T1" fmla="*/ 0 h 693"/>
              <a:gd name="T2" fmla="*/ 0 w 693"/>
              <a:gd name="T3" fmla="*/ 347 h 693"/>
              <a:gd name="T4" fmla="*/ 346 w 693"/>
              <a:gd name="T5" fmla="*/ 693 h 693"/>
              <a:gd name="T6" fmla="*/ 693 w 693"/>
              <a:gd name="T7" fmla="*/ 347 h 693"/>
              <a:gd name="T8" fmla="*/ 346 w 693"/>
              <a:gd name="T9" fmla="*/ 0 h 693"/>
              <a:gd name="T10" fmla="*/ 346 w 693"/>
              <a:gd name="T11" fmla="*/ 674 h 693"/>
              <a:gd name="T12" fmla="*/ 19 w 693"/>
              <a:gd name="T13" fmla="*/ 347 h 693"/>
              <a:gd name="T14" fmla="*/ 346 w 693"/>
              <a:gd name="T15" fmla="*/ 19 h 693"/>
              <a:gd name="T16" fmla="*/ 674 w 693"/>
              <a:gd name="T17" fmla="*/ 347 h 693"/>
              <a:gd name="T18" fmla="*/ 346 w 693"/>
              <a:gd name="T19" fmla="*/ 6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3" h="693">
                <a:moveTo>
                  <a:pt x="346" y="0"/>
                </a:moveTo>
                <a:cubicBezTo>
                  <a:pt x="155" y="0"/>
                  <a:pt x="0" y="155"/>
                  <a:pt x="0" y="347"/>
                </a:cubicBezTo>
                <a:cubicBezTo>
                  <a:pt x="0" y="538"/>
                  <a:pt x="155" y="693"/>
                  <a:pt x="346" y="693"/>
                </a:cubicBezTo>
                <a:cubicBezTo>
                  <a:pt x="538" y="693"/>
                  <a:pt x="693" y="538"/>
                  <a:pt x="693" y="347"/>
                </a:cubicBezTo>
                <a:cubicBezTo>
                  <a:pt x="693" y="155"/>
                  <a:pt x="538" y="0"/>
                  <a:pt x="346" y="0"/>
                </a:cubicBezTo>
                <a:close/>
                <a:moveTo>
                  <a:pt x="346" y="674"/>
                </a:moveTo>
                <a:cubicBezTo>
                  <a:pt x="165" y="674"/>
                  <a:pt x="19" y="527"/>
                  <a:pt x="19" y="347"/>
                </a:cubicBezTo>
                <a:cubicBezTo>
                  <a:pt x="19" y="166"/>
                  <a:pt x="165" y="19"/>
                  <a:pt x="346" y="19"/>
                </a:cubicBezTo>
                <a:cubicBezTo>
                  <a:pt x="527" y="19"/>
                  <a:pt x="674" y="166"/>
                  <a:pt x="674" y="347"/>
                </a:cubicBezTo>
                <a:cubicBezTo>
                  <a:pt x="674" y="527"/>
                  <a:pt x="527" y="674"/>
                  <a:pt x="346" y="6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dirty="0">
              <a:solidFill>
                <a:srgbClr val="505050"/>
              </a:solidFill>
            </a:endParaRPr>
          </a:p>
        </p:txBody>
      </p:sp>
      <p:cxnSp>
        <p:nvCxnSpPr>
          <p:cNvPr id="93" name="Straight Arrow Connector 92"/>
          <p:cNvCxnSpPr/>
          <p:nvPr/>
        </p:nvCxnSpPr>
        <p:spPr>
          <a:xfrm flipH="1">
            <a:off x="6671148" y="3545561"/>
            <a:ext cx="946112" cy="0"/>
          </a:xfrm>
          <a:prstGeom prst="straightConnector1">
            <a:avLst/>
          </a:prstGeom>
          <a:noFill/>
          <a:ln w="25400" cap="rnd" cmpd="sng" algn="ctr">
            <a:solidFill>
              <a:srgbClr val="0070C0"/>
            </a:solidFill>
            <a:prstDash val="sysDot"/>
            <a:headEnd type="triangle"/>
            <a:tailEnd type="triangle"/>
          </a:ln>
          <a:effectLst/>
        </p:spPr>
      </p:cxnSp>
      <p:grpSp>
        <p:nvGrpSpPr>
          <p:cNvPr id="4" name="Group 3"/>
          <p:cNvGrpSpPr/>
          <p:nvPr/>
        </p:nvGrpSpPr>
        <p:grpSpPr>
          <a:xfrm>
            <a:off x="7873886" y="2560703"/>
            <a:ext cx="2634270" cy="1350279"/>
            <a:chOff x="8032503" y="2611195"/>
            <a:chExt cx="2688174" cy="1377910"/>
          </a:xfrm>
        </p:grpSpPr>
        <p:grpSp>
          <p:nvGrpSpPr>
            <p:cNvPr id="11" name="Group 10"/>
            <p:cNvGrpSpPr/>
            <p:nvPr/>
          </p:nvGrpSpPr>
          <p:grpSpPr>
            <a:xfrm>
              <a:off x="8032503" y="2611195"/>
              <a:ext cx="2688174" cy="1377910"/>
              <a:chOff x="8103584" y="1264347"/>
              <a:chExt cx="2688174" cy="1377910"/>
            </a:xfrm>
          </p:grpSpPr>
          <p:grpSp>
            <p:nvGrpSpPr>
              <p:cNvPr id="42" name="Group 41"/>
              <p:cNvGrpSpPr/>
              <p:nvPr/>
            </p:nvGrpSpPr>
            <p:grpSpPr>
              <a:xfrm>
                <a:off x="8103584" y="1264347"/>
                <a:ext cx="2688174" cy="1377910"/>
                <a:chOff x="410848" y="1513542"/>
                <a:chExt cx="2688174" cy="1377910"/>
              </a:xfrm>
            </p:grpSpPr>
            <p:sp>
              <p:nvSpPr>
                <p:cNvPr id="43" name="Freeform 42"/>
                <p:cNvSpPr>
                  <a:spLocks noChangeAspect="1"/>
                </p:cNvSpPr>
                <p:nvPr/>
              </p:nvSpPr>
              <p:spPr bwMode="auto">
                <a:xfrm>
                  <a:off x="410848" y="1513542"/>
                  <a:ext cx="2688174" cy="1377910"/>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1972" tIns="0" rIns="111972" bIns="55985"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19449" fontAlgn="base">
                    <a:spcBef>
                      <a:spcPct val="0"/>
                    </a:spcBef>
                    <a:spcAft>
                      <a:spcPct val="0"/>
                    </a:spcAft>
                    <a:defRPr/>
                  </a:pPr>
                  <a:endParaRPr lang="en-US" sz="1899" b="1" kern="0" dirty="0">
                    <a:solidFill>
                      <a:srgbClr val="505050"/>
                    </a:solidFill>
                  </a:endParaRPr>
                </a:p>
              </p:txBody>
            </p:sp>
            <p:grpSp>
              <p:nvGrpSpPr>
                <p:cNvPr id="44" name="Group 43"/>
                <p:cNvGrpSpPr/>
                <p:nvPr/>
              </p:nvGrpSpPr>
              <p:grpSpPr>
                <a:xfrm>
                  <a:off x="826905" y="2207415"/>
                  <a:ext cx="616075" cy="360031"/>
                  <a:chOff x="4189334" y="3417458"/>
                  <a:chExt cx="616075" cy="360031"/>
                </a:xfrm>
              </p:grpSpPr>
              <p:sp>
                <p:nvSpPr>
                  <p:cNvPr id="47" name="Oval 46"/>
                  <p:cNvSpPr>
                    <a:spLocks noChangeAspect="1" noChangeArrowheads="1"/>
                  </p:cNvSpPr>
                  <p:nvPr/>
                </p:nvSpPr>
                <p:spPr bwMode="auto">
                  <a:xfrm>
                    <a:off x="4395727" y="3453834"/>
                    <a:ext cx="75936" cy="70021"/>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48" name="Oval 47"/>
                  <p:cNvSpPr>
                    <a:spLocks noChangeAspect="1" noChangeArrowheads="1"/>
                  </p:cNvSpPr>
                  <p:nvPr/>
                </p:nvSpPr>
                <p:spPr bwMode="auto">
                  <a:xfrm flipH="1">
                    <a:off x="4519932" y="3453848"/>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49" name="Oval 48"/>
                  <p:cNvSpPr>
                    <a:spLocks noChangeAspect="1" noChangeArrowheads="1"/>
                  </p:cNvSpPr>
                  <p:nvPr/>
                </p:nvSpPr>
                <p:spPr bwMode="auto">
                  <a:xfrm>
                    <a:off x="4395727" y="3707453"/>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50" name="Oval 49"/>
                  <p:cNvSpPr>
                    <a:spLocks noChangeAspect="1" noChangeArrowheads="1"/>
                  </p:cNvSpPr>
                  <p:nvPr/>
                </p:nvSpPr>
                <p:spPr bwMode="auto">
                  <a:xfrm flipH="1">
                    <a:off x="4519932" y="3707467"/>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51" name="Oval 50"/>
                  <p:cNvSpPr>
                    <a:spLocks noChangeAspect="1" noChangeArrowheads="1"/>
                  </p:cNvSpPr>
                  <p:nvPr/>
                </p:nvSpPr>
                <p:spPr bwMode="auto">
                  <a:xfrm flipH="1">
                    <a:off x="4624703"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52" name="Oval 51"/>
                  <p:cNvSpPr>
                    <a:spLocks noChangeAspect="1" noChangeArrowheads="1"/>
                  </p:cNvSpPr>
                  <p:nvPr/>
                </p:nvSpPr>
                <p:spPr bwMode="auto">
                  <a:xfrm>
                    <a:off x="4292530"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53" name="Oval 52"/>
                  <p:cNvSpPr>
                    <a:spLocks noChangeAspect="1" noChangeArrowheads="1"/>
                  </p:cNvSpPr>
                  <p:nvPr/>
                </p:nvSpPr>
                <p:spPr bwMode="auto">
                  <a:xfrm flipH="1">
                    <a:off x="472947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54" name="Oval 53"/>
                  <p:cNvSpPr>
                    <a:spLocks noChangeAspect="1" noChangeArrowheads="1"/>
                  </p:cNvSpPr>
                  <p:nvPr/>
                </p:nvSpPr>
                <p:spPr bwMode="auto">
                  <a:xfrm flipH="1">
                    <a:off x="418933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sp>
                <p:nvSpPr>
                  <p:cNvPr id="55" name="Arc 54"/>
                  <p:cNvSpPr/>
                  <p:nvPr/>
                </p:nvSpPr>
                <p:spPr>
                  <a:xfrm rot="5012506">
                    <a:off x="4401070"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64" dirty="0">
                      <a:ln>
                        <a:solidFill>
                          <a:srgbClr val="FFFFFF">
                            <a:alpha val="0"/>
                          </a:srgbClr>
                        </a:solidFill>
                      </a:ln>
                      <a:solidFill>
                        <a:srgbClr val="292929"/>
                      </a:solidFill>
                    </a:endParaRPr>
                  </a:p>
                </p:txBody>
              </p:sp>
              <p:sp>
                <p:nvSpPr>
                  <p:cNvPr id="56" name="Arc 55"/>
                  <p:cNvSpPr/>
                  <p:nvPr/>
                </p:nvSpPr>
                <p:spPr>
                  <a:xfrm rot="16587494" flipH="1">
                    <a:off x="4444687"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64" dirty="0">
                      <a:ln>
                        <a:solidFill>
                          <a:srgbClr val="FFFFFF">
                            <a:alpha val="0"/>
                          </a:srgbClr>
                        </a:solidFill>
                      </a:ln>
                      <a:solidFill>
                        <a:srgbClr val="292929"/>
                      </a:solidFill>
                    </a:endParaRPr>
                  </a:p>
                </p:txBody>
              </p:sp>
              <p:sp>
                <p:nvSpPr>
                  <p:cNvPr id="57" name="Arc 56"/>
                  <p:cNvSpPr/>
                  <p:nvPr/>
                </p:nvSpPr>
                <p:spPr>
                  <a:xfrm rot="7395384">
                    <a:off x="4414927" y="3402642"/>
                    <a:ext cx="115444" cy="145075"/>
                  </a:xfrm>
                  <a:prstGeom prst="arc">
                    <a:avLst>
                      <a:gd name="adj1" fmla="val 16200000"/>
                      <a:gd name="adj2" fmla="val 21459126"/>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64" dirty="0">
                      <a:ln>
                        <a:solidFill>
                          <a:srgbClr val="FFFFFF">
                            <a:alpha val="0"/>
                          </a:srgbClr>
                        </a:solidFill>
                      </a:ln>
                      <a:solidFill>
                        <a:srgbClr val="292929"/>
                      </a:solidFill>
                    </a:endParaRPr>
                  </a:p>
                </p:txBody>
              </p:sp>
              <p:cxnSp>
                <p:nvCxnSpPr>
                  <p:cNvPr id="58" name="Straight Connector 57"/>
                  <p:cNvCxnSpPr>
                    <a:stCxn id="47" idx="4"/>
                    <a:endCxn id="49" idx="0"/>
                  </p:cNvCxnSpPr>
                  <p:nvPr/>
                </p:nvCxnSpPr>
                <p:spPr>
                  <a:xfrm>
                    <a:off x="4433694" y="3523856"/>
                    <a:ext cx="0" cy="183597"/>
                  </a:xfrm>
                  <a:prstGeom prst="line">
                    <a:avLst/>
                  </a:prstGeom>
                  <a:noFill/>
                  <a:ln w="9525" cap="flat" cmpd="sng" algn="ctr">
                    <a:solidFill>
                      <a:srgbClr val="0070C0"/>
                    </a:solidFill>
                    <a:prstDash val="solid"/>
                  </a:ln>
                  <a:effectLst/>
                </p:spPr>
              </p:cxnSp>
              <p:sp>
                <p:nvSpPr>
                  <p:cNvPr id="59" name="Oval 58"/>
                  <p:cNvSpPr>
                    <a:spLocks noChangeAspect="1" noChangeArrowheads="1"/>
                  </p:cNvSpPr>
                  <p:nvPr/>
                </p:nvSpPr>
                <p:spPr bwMode="auto">
                  <a:xfrm>
                    <a:off x="4395727" y="357178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cxnSp>
                <p:nvCxnSpPr>
                  <p:cNvPr id="60" name="Straight Connector 59"/>
                  <p:cNvCxnSpPr>
                    <a:stCxn id="48" idx="4"/>
                    <a:endCxn id="50" idx="0"/>
                  </p:cNvCxnSpPr>
                  <p:nvPr/>
                </p:nvCxnSpPr>
                <p:spPr>
                  <a:xfrm>
                    <a:off x="4557899" y="3523870"/>
                    <a:ext cx="0" cy="183597"/>
                  </a:xfrm>
                  <a:prstGeom prst="line">
                    <a:avLst/>
                  </a:prstGeom>
                  <a:noFill/>
                  <a:ln w="9525" cap="flat" cmpd="sng" algn="ctr">
                    <a:solidFill>
                      <a:srgbClr val="0070C0"/>
                    </a:solidFill>
                    <a:prstDash val="solid"/>
                  </a:ln>
                  <a:effectLst/>
                </p:spPr>
              </p:cxnSp>
              <p:sp>
                <p:nvSpPr>
                  <p:cNvPr id="61" name="Oval 60"/>
                  <p:cNvSpPr>
                    <a:spLocks noChangeAspect="1" noChangeArrowheads="1"/>
                  </p:cNvSpPr>
                  <p:nvPr/>
                </p:nvSpPr>
                <p:spPr bwMode="auto">
                  <a:xfrm flipH="1">
                    <a:off x="4519931" y="357180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cxnSp>
                <p:nvCxnSpPr>
                  <p:cNvPr id="62" name="Straight Connector 61"/>
                  <p:cNvCxnSpPr>
                    <a:stCxn id="48" idx="3"/>
                    <a:endCxn id="53" idx="7"/>
                  </p:cNvCxnSpPr>
                  <p:nvPr/>
                </p:nvCxnSpPr>
                <p:spPr>
                  <a:xfrm>
                    <a:off x="4584747" y="3513615"/>
                    <a:ext cx="155848" cy="174003"/>
                  </a:xfrm>
                  <a:prstGeom prst="line">
                    <a:avLst/>
                  </a:prstGeom>
                  <a:noFill/>
                  <a:ln w="9525" cap="flat" cmpd="sng" algn="ctr">
                    <a:solidFill>
                      <a:srgbClr val="0070C0"/>
                    </a:solidFill>
                    <a:prstDash val="solid"/>
                  </a:ln>
                  <a:effectLst/>
                </p:spPr>
              </p:cxnSp>
              <p:sp>
                <p:nvSpPr>
                  <p:cNvPr id="63" name="Oval 62"/>
                  <p:cNvSpPr>
                    <a:spLocks noChangeAspect="1" noChangeArrowheads="1"/>
                  </p:cNvSpPr>
                  <p:nvPr/>
                </p:nvSpPr>
                <p:spPr bwMode="auto">
                  <a:xfrm flipH="1">
                    <a:off x="4624703" y="356560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cxnSp>
                <p:nvCxnSpPr>
                  <p:cNvPr id="64" name="Straight Connector 63"/>
                  <p:cNvCxnSpPr>
                    <a:stCxn id="47" idx="3"/>
                    <a:endCxn id="54" idx="1"/>
                  </p:cNvCxnSpPr>
                  <p:nvPr/>
                </p:nvCxnSpPr>
                <p:spPr>
                  <a:xfrm flipH="1">
                    <a:off x="4254148" y="3513602"/>
                    <a:ext cx="152699" cy="174016"/>
                  </a:xfrm>
                  <a:prstGeom prst="line">
                    <a:avLst/>
                  </a:prstGeom>
                  <a:noFill/>
                  <a:ln w="9525" cap="flat" cmpd="sng" algn="ctr">
                    <a:solidFill>
                      <a:srgbClr val="0070C0"/>
                    </a:solidFill>
                    <a:prstDash val="solid"/>
                  </a:ln>
                  <a:effectLst/>
                </p:spPr>
              </p:cxnSp>
              <p:sp>
                <p:nvSpPr>
                  <p:cNvPr id="65" name="Oval 64"/>
                  <p:cNvSpPr>
                    <a:spLocks noChangeAspect="1" noChangeArrowheads="1"/>
                  </p:cNvSpPr>
                  <p:nvPr/>
                </p:nvSpPr>
                <p:spPr bwMode="auto">
                  <a:xfrm>
                    <a:off x="4296461" y="3565599"/>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64" kern="0" dirty="0">
                      <a:ln>
                        <a:solidFill>
                          <a:srgbClr val="FFFFFF">
                            <a:alpha val="0"/>
                          </a:srgbClr>
                        </a:solidFill>
                      </a:ln>
                      <a:solidFill>
                        <a:srgbClr val="292929"/>
                      </a:solidFill>
                    </a:endParaRPr>
                  </a:p>
                </p:txBody>
              </p:sp>
              <p:cxnSp>
                <p:nvCxnSpPr>
                  <p:cNvPr id="66" name="Straight Connector 65"/>
                  <p:cNvCxnSpPr>
                    <a:stCxn id="59" idx="3"/>
                    <a:endCxn id="52" idx="7"/>
                  </p:cNvCxnSpPr>
                  <p:nvPr/>
                </p:nvCxnSpPr>
                <p:spPr>
                  <a:xfrm flipH="1">
                    <a:off x="4357345" y="3631553"/>
                    <a:ext cx="49502" cy="67921"/>
                  </a:xfrm>
                  <a:prstGeom prst="line">
                    <a:avLst/>
                  </a:prstGeom>
                  <a:noFill/>
                  <a:ln w="9525" cap="flat" cmpd="sng" algn="ctr">
                    <a:solidFill>
                      <a:srgbClr val="0070C0"/>
                    </a:solidFill>
                    <a:prstDash val="solid"/>
                  </a:ln>
                  <a:effectLst/>
                </p:spPr>
              </p:cxnSp>
              <p:cxnSp>
                <p:nvCxnSpPr>
                  <p:cNvPr id="67" name="Straight Connector 66"/>
                  <p:cNvCxnSpPr>
                    <a:stCxn id="61" idx="3"/>
                    <a:endCxn id="51" idx="7"/>
                  </p:cNvCxnSpPr>
                  <p:nvPr/>
                </p:nvCxnSpPr>
                <p:spPr>
                  <a:xfrm>
                    <a:off x="4584747" y="3631567"/>
                    <a:ext cx="51077" cy="67907"/>
                  </a:xfrm>
                  <a:prstGeom prst="line">
                    <a:avLst/>
                  </a:prstGeom>
                  <a:noFill/>
                  <a:ln w="9525" cap="flat" cmpd="sng" algn="ctr">
                    <a:solidFill>
                      <a:srgbClr val="0070C0"/>
                    </a:solidFill>
                    <a:prstDash val="solid"/>
                  </a:ln>
                  <a:effectLst/>
                </p:spPr>
              </p:cxnSp>
            </p:grpSp>
          </p:grpSp>
          <p:grpSp>
            <p:nvGrpSpPr>
              <p:cNvPr id="72" name="Group 4"/>
              <p:cNvGrpSpPr>
                <a:grpSpLocks noChangeAspect="1"/>
              </p:cNvGrpSpPr>
              <p:nvPr/>
            </p:nvGrpSpPr>
            <p:grpSpPr bwMode="auto">
              <a:xfrm>
                <a:off x="8350516" y="1943560"/>
                <a:ext cx="648038" cy="643953"/>
                <a:chOff x="3125" y="1415"/>
                <a:chExt cx="1586" cy="1576"/>
              </a:xfrm>
              <a:solidFill>
                <a:schemeClr val="tx2"/>
              </a:solidFill>
            </p:grpSpPr>
            <p:sp>
              <p:nvSpPr>
                <p:cNvPr id="73"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sp>
              <p:nvSpPr>
                <p:cNvPr id="74"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sp>
              <p:nvSpPr>
                <p:cNvPr id="75"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sp>
          <p:nvSpPr>
            <p:cNvPr id="68" name="Rectangle 67"/>
            <p:cNvSpPr/>
            <p:nvPr/>
          </p:nvSpPr>
          <p:spPr>
            <a:xfrm>
              <a:off x="9034584" y="3428931"/>
              <a:ext cx="1437349" cy="24609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96069" fontAlgn="base">
                <a:spcAft>
                  <a:spcPct val="0"/>
                </a:spcAft>
              </a:pPr>
              <a:r>
                <a:rPr lang="en-US" sz="1567" dirty="0">
                  <a:ln>
                    <a:solidFill>
                      <a:srgbClr val="FFFFFF">
                        <a:alpha val="0"/>
                      </a:srgbClr>
                    </a:solidFill>
                  </a:ln>
                  <a:solidFill>
                    <a:srgbClr val="FFFFFF"/>
                  </a:solidFill>
                </a:rPr>
                <a:t>Active Directory</a:t>
              </a:r>
            </a:p>
          </p:txBody>
        </p:sp>
        <p:pic>
          <p:nvPicPr>
            <p:cNvPr id="69" name="Picture 6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779157" y="3056494"/>
              <a:ext cx="1882592" cy="436495"/>
            </a:xfrm>
            <a:prstGeom prst="rect">
              <a:avLst/>
            </a:prstGeom>
          </p:spPr>
        </p:pic>
      </p:grpSp>
      <p:sp>
        <p:nvSpPr>
          <p:cNvPr id="70" name="Rectangle 69"/>
          <p:cNvSpPr>
            <a:spLocks noChangeAspect="1"/>
          </p:cNvSpPr>
          <p:nvPr>
            <p:custDataLst>
              <p:tags r:id="rId1"/>
            </p:custDataLst>
          </p:nvPr>
        </p:nvSpPr>
        <p:spPr bwMode="auto">
          <a:xfrm>
            <a:off x="5050030" y="1425807"/>
            <a:ext cx="1391071" cy="325795"/>
          </a:xfrm>
          <a:prstGeom prst="rect">
            <a:avLst/>
          </a:prstGeom>
          <a:ln>
            <a:noFill/>
          </a:ln>
        </p:spPr>
        <p:txBody>
          <a:bodyPr vert="horz" wrap="square" lIns="0" tIns="0" rIns="0" bIns="0" rtlCol="0">
            <a:spAutoFit/>
          </a:bodyPr>
          <a:lstStyle/>
          <a:p>
            <a:pPr algn="ctr" defTabSz="914004">
              <a:lnSpc>
                <a:spcPct val="90000"/>
              </a:lnSpc>
              <a:spcBef>
                <a:spcPts val="1175"/>
              </a:spcBef>
            </a:pPr>
            <a:r>
              <a:rPr lang="en-US" sz="2352" spc="-29" dirty="0">
                <a:solidFill>
                  <a:srgbClr val="FFFFFF">
                    <a:lumMod val="25000"/>
                  </a:srgbClr>
                </a:solidFill>
                <a:latin typeface="Verdana" panose="020B0604030504040204" pitchFamily="34" charset="0"/>
                <a:ea typeface="Verdana" panose="020B0604030504040204" pitchFamily="34" charset="0"/>
                <a:cs typeface="Verdana" panose="020B0604030504040204" pitchFamily="34" charset="0"/>
              </a:rPr>
              <a:t>LDAP v3</a:t>
            </a:r>
          </a:p>
        </p:txBody>
      </p:sp>
      <p:sp>
        <p:nvSpPr>
          <p:cNvPr id="71" name="Rectangle 70"/>
          <p:cNvSpPr>
            <a:spLocks noChangeAspect="1"/>
          </p:cNvSpPr>
          <p:nvPr>
            <p:custDataLst>
              <p:tags r:id="rId2"/>
            </p:custDataLst>
          </p:nvPr>
        </p:nvSpPr>
        <p:spPr bwMode="auto">
          <a:xfrm>
            <a:off x="2530081" y="5023485"/>
            <a:ext cx="1883782" cy="325795"/>
          </a:xfrm>
          <a:prstGeom prst="rect">
            <a:avLst/>
          </a:prstGeom>
          <a:ln>
            <a:noFill/>
          </a:ln>
        </p:spPr>
        <p:txBody>
          <a:bodyPr vert="horz" wrap="square" lIns="0" tIns="0" rIns="0" bIns="0" rtlCol="0">
            <a:spAutoFit/>
          </a:bodyPr>
          <a:lstStyle/>
          <a:p>
            <a:pPr algn="ctr" defTabSz="914004">
              <a:lnSpc>
                <a:spcPct val="90000"/>
              </a:lnSpc>
              <a:spcBef>
                <a:spcPts val="1175"/>
              </a:spcBef>
            </a:pPr>
            <a:r>
              <a:rPr lang="en-US" sz="2352" spc="-29" dirty="0">
                <a:solidFill>
                  <a:srgbClr val="FFFFFF">
                    <a:lumMod val="25000"/>
                  </a:srgbClr>
                </a:solidFill>
                <a:latin typeface="Verdana" panose="020B0604030504040204" pitchFamily="34" charset="0"/>
                <a:ea typeface="Verdana" panose="020B0604030504040204" pitchFamily="34" charset="0"/>
                <a:cs typeface="Verdana" panose="020B0604030504040204" pitchFamily="34" charset="0"/>
              </a:rPr>
              <a:t>PowerShell</a:t>
            </a:r>
          </a:p>
        </p:txBody>
      </p:sp>
      <p:grpSp>
        <p:nvGrpSpPr>
          <p:cNvPr id="90" name="Group 89"/>
          <p:cNvGrpSpPr/>
          <p:nvPr/>
        </p:nvGrpSpPr>
        <p:grpSpPr>
          <a:xfrm>
            <a:off x="4801763" y="5599071"/>
            <a:ext cx="1934469" cy="568945"/>
            <a:chOff x="751803" y="5244570"/>
            <a:chExt cx="1974053" cy="580587"/>
          </a:xfrm>
        </p:grpSpPr>
        <p:sp>
          <p:nvSpPr>
            <p:cNvPr id="92" name="Rectangle 91"/>
            <p:cNvSpPr>
              <a:spLocks noChangeAspect="1"/>
            </p:cNvSpPr>
            <p:nvPr>
              <p:custDataLst>
                <p:tags r:id="rId5"/>
              </p:custDataLst>
            </p:nvPr>
          </p:nvSpPr>
          <p:spPr bwMode="auto">
            <a:xfrm>
              <a:off x="751803" y="5244570"/>
              <a:ext cx="1974053" cy="332462"/>
            </a:xfrm>
            <a:prstGeom prst="rect">
              <a:avLst/>
            </a:prstGeom>
            <a:ln>
              <a:noFill/>
            </a:ln>
          </p:spPr>
          <p:txBody>
            <a:bodyPr vert="horz" wrap="square" lIns="0" tIns="0" rIns="0" bIns="0" rtlCol="0">
              <a:spAutoFit/>
            </a:bodyPr>
            <a:lstStyle/>
            <a:p>
              <a:pPr algn="ctr" defTabSz="914004">
                <a:lnSpc>
                  <a:spcPct val="90000"/>
                </a:lnSpc>
                <a:spcBef>
                  <a:spcPts val="1175"/>
                </a:spcBef>
              </a:pPr>
              <a:r>
                <a:rPr lang="en-US" sz="2352" spc="-29" dirty="0">
                  <a:solidFill>
                    <a:srgbClr val="FFFFFF">
                      <a:lumMod val="25000"/>
                    </a:srgbClr>
                  </a:solidFill>
                  <a:latin typeface="Verdana" panose="020B0604030504040204" pitchFamily="34" charset="0"/>
                  <a:ea typeface="Verdana" panose="020B0604030504040204" pitchFamily="34" charset="0"/>
                  <a:cs typeface="Verdana" panose="020B0604030504040204" pitchFamily="34" charset="0"/>
                </a:rPr>
                <a:t>SQL</a:t>
              </a:r>
              <a:endParaRPr lang="en-US" sz="1077" spc="-29" dirty="0">
                <a:solidFill>
                  <a:srgbClr val="FFFFFF">
                    <a:lumMod val="2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94" name="Rectangle 93"/>
            <p:cNvSpPr>
              <a:spLocks noChangeAspect="1"/>
            </p:cNvSpPr>
            <p:nvPr>
              <p:custDataLst>
                <p:tags r:id="rId6"/>
              </p:custDataLst>
            </p:nvPr>
          </p:nvSpPr>
          <p:spPr bwMode="auto">
            <a:xfrm>
              <a:off x="1129933" y="5603669"/>
              <a:ext cx="1217791" cy="221488"/>
            </a:xfrm>
            <a:prstGeom prst="rect">
              <a:avLst/>
            </a:prstGeom>
            <a:ln>
              <a:noFill/>
            </a:ln>
          </p:spPr>
          <p:txBody>
            <a:bodyPr vert="horz" wrap="square" lIns="0" tIns="0" rIns="0" bIns="0" rtlCol="0">
              <a:spAutoFit/>
            </a:bodyPr>
            <a:lstStyle/>
            <a:p>
              <a:pPr algn="ctr" defTabSz="914004">
                <a:lnSpc>
                  <a:spcPct val="90000"/>
                </a:lnSpc>
                <a:spcBef>
                  <a:spcPts val="1175"/>
                </a:spcBef>
              </a:pPr>
              <a:r>
                <a:rPr lang="en-US" sz="1567" spc="-29" dirty="0">
                  <a:solidFill>
                    <a:srgbClr val="FFFFFF">
                      <a:lumMod val="25000"/>
                    </a:srgbClr>
                  </a:solidFill>
                  <a:latin typeface="Verdana" panose="020B0604030504040204" pitchFamily="34" charset="0"/>
                  <a:ea typeface="Verdana" panose="020B0604030504040204" pitchFamily="34" charset="0"/>
                  <a:cs typeface="Verdana" panose="020B0604030504040204" pitchFamily="34" charset="0"/>
                </a:rPr>
                <a:t>(ODBC)</a:t>
              </a:r>
              <a:endParaRPr lang="en-US" sz="1077" spc="-29" dirty="0">
                <a:solidFill>
                  <a:srgbClr val="FFFFFF">
                    <a:lumMod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95" name="Group 94"/>
          <p:cNvGrpSpPr/>
          <p:nvPr/>
        </p:nvGrpSpPr>
        <p:grpSpPr>
          <a:xfrm>
            <a:off x="1970708" y="1596140"/>
            <a:ext cx="2348288" cy="531297"/>
            <a:chOff x="2607449" y="5884227"/>
            <a:chExt cx="2396340" cy="542168"/>
          </a:xfrm>
        </p:grpSpPr>
        <p:sp>
          <p:nvSpPr>
            <p:cNvPr id="96" name="Rectangle 95"/>
            <p:cNvSpPr>
              <a:spLocks noChangeAspect="1"/>
            </p:cNvSpPr>
            <p:nvPr>
              <p:custDataLst>
                <p:tags r:id="rId3"/>
              </p:custDataLst>
            </p:nvPr>
          </p:nvSpPr>
          <p:spPr bwMode="auto">
            <a:xfrm>
              <a:off x="2607449" y="5884227"/>
              <a:ext cx="2396340" cy="332461"/>
            </a:xfrm>
            <a:prstGeom prst="rect">
              <a:avLst/>
            </a:prstGeom>
            <a:ln>
              <a:noFill/>
            </a:ln>
          </p:spPr>
          <p:txBody>
            <a:bodyPr vert="horz" wrap="square" lIns="0" tIns="0" rIns="0" bIns="0" rtlCol="0">
              <a:spAutoFit/>
            </a:bodyPr>
            <a:lstStyle/>
            <a:p>
              <a:pPr algn="ctr" defTabSz="914004">
                <a:lnSpc>
                  <a:spcPct val="90000"/>
                </a:lnSpc>
                <a:spcBef>
                  <a:spcPts val="1175"/>
                </a:spcBef>
              </a:pPr>
              <a:r>
                <a:rPr lang="en-US" sz="2352" spc="-29" dirty="0">
                  <a:solidFill>
                    <a:srgbClr val="FFFFFF">
                      <a:lumMod val="25000"/>
                    </a:srgbClr>
                  </a:solidFill>
                  <a:latin typeface="Verdana" panose="020B0604030504040204" pitchFamily="34" charset="0"/>
                  <a:ea typeface="Verdana" panose="020B0604030504040204" pitchFamily="34" charset="0"/>
                  <a:cs typeface="Verdana" panose="020B0604030504040204" pitchFamily="34" charset="0"/>
                </a:rPr>
                <a:t>Web Services</a:t>
              </a:r>
            </a:p>
          </p:txBody>
        </p:sp>
        <p:sp>
          <p:nvSpPr>
            <p:cNvPr id="97" name="Rectangle 96"/>
            <p:cNvSpPr>
              <a:spLocks noChangeAspect="1"/>
            </p:cNvSpPr>
            <p:nvPr>
              <p:custDataLst>
                <p:tags r:id="rId4"/>
              </p:custDataLst>
            </p:nvPr>
          </p:nvSpPr>
          <p:spPr bwMode="auto">
            <a:xfrm>
              <a:off x="2812654" y="6204907"/>
              <a:ext cx="2012592" cy="221488"/>
            </a:xfrm>
            <a:prstGeom prst="rect">
              <a:avLst/>
            </a:prstGeom>
            <a:ln>
              <a:noFill/>
            </a:ln>
          </p:spPr>
          <p:txBody>
            <a:bodyPr vert="horz" wrap="square" lIns="0" tIns="0" rIns="0" bIns="0" rtlCol="0">
              <a:spAutoFit/>
            </a:bodyPr>
            <a:lstStyle/>
            <a:p>
              <a:pPr algn="ctr" defTabSz="914004">
                <a:lnSpc>
                  <a:spcPct val="90000"/>
                </a:lnSpc>
                <a:spcBef>
                  <a:spcPts val="1175"/>
                </a:spcBef>
              </a:pPr>
              <a:r>
                <a:rPr lang="en-US" sz="1567" spc="-29" dirty="0">
                  <a:solidFill>
                    <a:srgbClr val="FFFFFF">
                      <a:lumMod val="25000"/>
                    </a:srgbClr>
                  </a:solidFill>
                  <a:latin typeface="Verdana" panose="020B0604030504040204" pitchFamily="34" charset="0"/>
                  <a:ea typeface="Verdana" panose="020B0604030504040204" pitchFamily="34" charset="0"/>
                  <a:cs typeface="Verdana" panose="020B0604030504040204" pitchFamily="34" charset="0"/>
                </a:rPr>
                <a:t>(SOAP, JAVA, REST)</a:t>
              </a:r>
            </a:p>
          </p:txBody>
        </p:sp>
      </p:grpSp>
    </p:spTree>
    <p:extLst>
      <p:ext uri="{BB962C8B-B14F-4D97-AF65-F5344CB8AC3E}">
        <p14:creationId xmlns:p14="http://schemas.microsoft.com/office/powerpoint/2010/main" val="1828364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wipe(up)">
                                      <p:cBhvr>
                                        <p:cTn id="7" dur="500"/>
                                        <p:tgtEl>
                                          <p:spTgt spid="8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90"/>
                                        </p:tgtEl>
                                        <p:attrNameLst>
                                          <p:attrName>style.visibility</p:attrName>
                                        </p:attrNameLst>
                                      </p:cBhvr>
                                      <p:to>
                                        <p:strVal val="visible"/>
                                      </p:to>
                                    </p:set>
                                    <p:animEffect transition="in" filter="fade">
                                      <p:cBhvr>
                                        <p:cTn id="11" dur="500"/>
                                        <p:tgtEl>
                                          <p:spTgt spid="90"/>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85"/>
                                        </p:tgtEl>
                                        <p:attrNameLst>
                                          <p:attrName>style.visibility</p:attrName>
                                        </p:attrNameLst>
                                      </p:cBhvr>
                                      <p:to>
                                        <p:strVal val="visible"/>
                                      </p:to>
                                    </p:set>
                                    <p:animEffect transition="in" filter="wipe(up)">
                                      <p:cBhvr>
                                        <p:cTn id="15" dur="500"/>
                                        <p:tgtEl>
                                          <p:spTgt spid="8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71"/>
                                        </p:tgtEl>
                                        <p:attrNameLst>
                                          <p:attrName>style.visibility</p:attrName>
                                        </p:attrNameLst>
                                      </p:cBhvr>
                                      <p:to>
                                        <p:strVal val="visible"/>
                                      </p:to>
                                    </p:set>
                                    <p:animEffect transition="in" filter="fade">
                                      <p:cBhvr>
                                        <p:cTn id="19" dur="500"/>
                                        <p:tgtEl>
                                          <p:spTgt spid="71"/>
                                        </p:tgtEl>
                                      </p:cBhvr>
                                    </p:animEffect>
                                  </p:childTnLst>
                                </p:cTn>
                              </p:par>
                            </p:childTnLst>
                          </p:cTn>
                        </p:par>
                        <p:par>
                          <p:cTn id="20" fill="hold">
                            <p:stCondLst>
                              <p:cond delay="2000"/>
                            </p:stCondLst>
                            <p:childTnLst>
                              <p:par>
                                <p:cTn id="21" presetID="22" presetClass="entr" presetSubtype="2" fill="hold" nodeType="afterEffect">
                                  <p:stCondLst>
                                    <p:cond delay="0"/>
                                  </p:stCondLst>
                                  <p:childTnLst>
                                    <p:set>
                                      <p:cBhvr>
                                        <p:cTn id="22" dur="1" fill="hold">
                                          <p:stCondLst>
                                            <p:cond delay="0"/>
                                          </p:stCondLst>
                                        </p:cTn>
                                        <p:tgtEl>
                                          <p:spTgt spid="86"/>
                                        </p:tgtEl>
                                        <p:attrNameLst>
                                          <p:attrName>style.visibility</p:attrName>
                                        </p:attrNameLst>
                                      </p:cBhvr>
                                      <p:to>
                                        <p:strVal val="visible"/>
                                      </p:to>
                                    </p:set>
                                    <p:animEffect transition="in" filter="wipe(right)">
                                      <p:cBhvr>
                                        <p:cTn id="23" dur="500"/>
                                        <p:tgtEl>
                                          <p:spTgt spid="86"/>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80"/>
                                        </p:tgtEl>
                                        <p:attrNameLst>
                                          <p:attrName>style.visibility</p:attrName>
                                        </p:attrNameLst>
                                      </p:cBhvr>
                                      <p:to>
                                        <p:strVal val="visible"/>
                                      </p:to>
                                    </p:set>
                                    <p:animEffect transition="in" filter="fade">
                                      <p:cBhvr>
                                        <p:cTn id="27" dur="500"/>
                                        <p:tgtEl>
                                          <p:spTgt spid="80"/>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89"/>
                                        </p:tgtEl>
                                        <p:attrNameLst>
                                          <p:attrName>style.visibility</p:attrName>
                                        </p:attrNameLst>
                                      </p:cBhvr>
                                      <p:to>
                                        <p:strVal val="visible"/>
                                      </p:to>
                                    </p:set>
                                    <p:animEffect transition="in" filter="wipe(down)">
                                      <p:cBhvr>
                                        <p:cTn id="31" dur="500"/>
                                        <p:tgtEl>
                                          <p:spTgt spid="89"/>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95"/>
                                        </p:tgtEl>
                                        <p:attrNameLst>
                                          <p:attrName>style.visibility</p:attrName>
                                        </p:attrNameLst>
                                      </p:cBhvr>
                                      <p:to>
                                        <p:strVal val="visible"/>
                                      </p:to>
                                    </p:set>
                                    <p:animEffect transition="in" filter="fade">
                                      <p:cBhvr>
                                        <p:cTn id="35" dur="500"/>
                                        <p:tgtEl>
                                          <p:spTgt spid="95"/>
                                        </p:tgtEl>
                                      </p:cBhvr>
                                    </p:animEffect>
                                  </p:childTnLst>
                                </p:cTn>
                              </p:par>
                            </p:childTnLst>
                          </p:cTn>
                        </p:par>
                        <p:par>
                          <p:cTn id="36" fill="hold">
                            <p:stCondLst>
                              <p:cond delay="4000"/>
                            </p:stCondLst>
                            <p:childTnLst>
                              <p:par>
                                <p:cTn id="37" presetID="22" presetClass="entr" presetSubtype="4" fill="hold" nodeType="afterEffect">
                                  <p:stCondLst>
                                    <p:cond delay="0"/>
                                  </p:stCondLst>
                                  <p:childTnLst>
                                    <p:set>
                                      <p:cBhvr>
                                        <p:cTn id="38" dur="1" fill="hold">
                                          <p:stCondLst>
                                            <p:cond delay="0"/>
                                          </p:stCondLst>
                                        </p:cTn>
                                        <p:tgtEl>
                                          <p:spTgt spid="87"/>
                                        </p:tgtEl>
                                        <p:attrNameLst>
                                          <p:attrName>style.visibility</p:attrName>
                                        </p:attrNameLst>
                                      </p:cBhvr>
                                      <p:to>
                                        <p:strVal val="visible"/>
                                      </p:to>
                                    </p:set>
                                    <p:animEffect transition="in" filter="wipe(down)">
                                      <p:cBhvr>
                                        <p:cTn id="39" dur="500"/>
                                        <p:tgtEl>
                                          <p:spTgt spid="87"/>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70"/>
                                        </p:tgtEl>
                                        <p:attrNameLst>
                                          <p:attrName>style.visibility</p:attrName>
                                        </p:attrNameLst>
                                      </p:cBhvr>
                                      <p:to>
                                        <p:strVal val="visible"/>
                                      </p:to>
                                    </p:set>
                                    <p:animEffect transition="in" filter="fade">
                                      <p:cBhvr>
                                        <p:cTn id="43" dur="500"/>
                                        <p:tgtEl>
                                          <p:spTgt spid="70"/>
                                        </p:tgtEl>
                                      </p:cBhvr>
                                    </p:animEffect>
                                  </p:childTnLst>
                                </p:cTn>
                              </p:par>
                            </p:childTnLst>
                          </p:cTn>
                        </p:par>
                        <p:par>
                          <p:cTn id="44" fill="hold">
                            <p:stCondLst>
                              <p:cond delay="5000"/>
                            </p:stCondLst>
                            <p:childTnLst>
                              <p:par>
                                <p:cTn id="45" presetID="22" presetClass="entr" presetSubtype="8" fill="hold" nodeType="afterEffect">
                                  <p:stCondLst>
                                    <p:cond delay="0"/>
                                  </p:stCondLst>
                                  <p:childTnLst>
                                    <p:set>
                                      <p:cBhvr>
                                        <p:cTn id="46" dur="1" fill="hold">
                                          <p:stCondLst>
                                            <p:cond delay="0"/>
                                          </p:stCondLst>
                                        </p:cTn>
                                        <p:tgtEl>
                                          <p:spTgt spid="93"/>
                                        </p:tgtEl>
                                        <p:attrNameLst>
                                          <p:attrName>style.visibility</p:attrName>
                                        </p:attrNameLst>
                                      </p:cBhvr>
                                      <p:to>
                                        <p:strVal val="visible"/>
                                      </p:to>
                                    </p:set>
                                    <p:animEffect transition="in" filter="wipe(left)">
                                      <p:cBhvr>
                                        <p:cTn id="47" dur="500"/>
                                        <p:tgtEl>
                                          <p:spTgt spid="93"/>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4"/>
                                        </p:tgtEl>
                                        <p:attrNameLst>
                                          <p:attrName>style.visibility</p:attrName>
                                        </p:attrNameLst>
                                      </p:cBhvr>
                                      <p:to>
                                        <p:strVal val="visible"/>
                                      </p:to>
                                    </p:set>
                                    <p:animEffect transition="in" filter="fade">
                                      <p:cBhvr>
                                        <p:cTn id="51" dur="500"/>
                                        <p:tgtEl>
                                          <p:spTgt spid="4"/>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24"/>
                                        </p:tgtEl>
                                        <p:attrNameLst>
                                          <p:attrName>style.visibility</p:attrName>
                                        </p:attrNameLst>
                                      </p:cBhvr>
                                      <p:to>
                                        <p:strVal val="visible"/>
                                      </p:to>
                                    </p:set>
                                    <p:animEffect transition="in" filter="fade">
                                      <p:cBhvr>
                                        <p:cTn id="54" dur="50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P spid="70" grpId="0"/>
      <p:bldP spid="7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62"/>
          <p:cNvPicPr>
            <a:picLocks noChangeAspect="1"/>
          </p:cNvPicPr>
          <p:nvPr/>
        </p:nvPicPr>
        <p:blipFill rotWithShape="1">
          <a:blip r:embed="rId3">
            <a:extLst>
              <a:ext uri="{28A0092B-C50C-407E-A947-70E740481C1C}">
                <a14:useLocalDpi xmlns:a14="http://schemas.microsoft.com/office/drawing/2010/main" val="0"/>
              </a:ext>
            </a:extLst>
          </a:blip>
          <a:srcRect t="16024"/>
          <a:stretch/>
        </p:blipFill>
        <p:spPr>
          <a:xfrm>
            <a:off x="4362294" y="2222589"/>
            <a:ext cx="2619212" cy="3381433"/>
          </a:xfrm>
          <a:prstGeom prst="rect">
            <a:avLst/>
          </a:prstGeom>
        </p:spPr>
      </p:pic>
      <p:grpSp>
        <p:nvGrpSpPr>
          <p:cNvPr id="97" name="Group 96"/>
          <p:cNvGrpSpPr/>
          <p:nvPr/>
        </p:nvGrpSpPr>
        <p:grpSpPr>
          <a:xfrm>
            <a:off x="5580719" y="3400579"/>
            <a:ext cx="1174375" cy="857801"/>
            <a:chOff x="5727053" y="4231533"/>
            <a:chExt cx="1264380" cy="923544"/>
          </a:xfrm>
        </p:grpSpPr>
        <p:pic>
          <p:nvPicPr>
            <p:cNvPr id="99" name="Picture 98"/>
            <p:cNvPicPr>
              <a:picLocks noChangeAspect="1"/>
            </p:cNvPicPr>
            <p:nvPr/>
          </p:nvPicPr>
          <p:blipFill rotWithShape="1">
            <a:blip r:embed="rId4" cstate="print">
              <a:extLst>
                <a:ext uri="{28A0092B-C50C-407E-A947-70E740481C1C}">
                  <a14:useLocalDpi xmlns:a14="http://schemas.microsoft.com/office/drawing/2010/main" val="0"/>
                </a:ext>
              </a:extLst>
            </a:blip>
            <a:srcRect b="5478"/>
            <a:stretch/>
          </p:blipFill>
          <p:spPr>
            <a:xfrm>
              <a:off x="5727053" y="4231533"/>
              <a:ext cx="1264380" cy="923544"/>
            </a:xfrm>
            <a:prstGeom prst="rect">
              <a:avLst/>
            </a:prstGeom>
          </p:spPr>
        </p:pic>
        <p:pic>
          <p:nvPicPr>
            <p:cNvPr id="102" name="Picture 101"/>
            <p:cNvPicPr>
              <a:picLocks noChangeAspect="1"/>
            </p:cNvPicPr>
            <p:nvPr/>
          </p:nvPicPr>
          <p:blipFill rotWithShape="1">
            <a:blip r:embed="rId5" cstate="print">
              <a:extLst>
                <a:ext uri="{28A0092B-C50C-407E-A947-70E740481C1C}">
                  <a14:useLocalDpi xmlns:a14="http://schemas.microsoft.com/office/drawing/2010/main" val="0"/>
                </a:ext>
              </a:extLst>
            </a:blip>
            <a:srcRect r="79871"/>
            <a:stretch/>
          </p:blipFill>
          <p:spPr>
            <a:xfrm>
              <a:off x="6112087" y="4316431"/>
              <a:ext cx="442681" cy="516944"/>
            </a:xfrm>
            <a:prstGeom prst="rect">
              <a:avLst/>
            </a:prstGeom>
          </p:spPr>
        </p:pic>
      </p:grpSp>
      <p:cxnSp>
        <p:nvCxnSpPr>
          <p:cNvPr id="103" name="Straight Connector 102"/>
          <p:cNvCxnSpPr/>
          <p:nvPr/>
        </p:nvCxnSpPr>
        <p:spPr>
          <a:xfrm flipV="1">
            <a:off x="6250487" y="1379484"/>
            <a:ext cx="0" cy="2021095"/>
          </a:xfrm>
          <a:prstGeom prst="line">
            <a:avLst/>
          </a:prstGeom>
          <a:ln w="44450" cap="rnd">
            <a:solidFill>
              <a:schemeClr val="accent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Clpoud Icon"/>
          <p:cNvSpPr>
            <a:spLocks noChangeAspect="1"/>
          </p:cNvSpPr>
          <p:nvPr/>
        </p:nvSpPr>
        <p:spPr bwMode="black">
          <a:xfrm>
            <a:off x="6572182" y="384523"/>
            <a:ext cx="3345336" cy="189047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ln w="25400">
            <a:solidFill>
              <a:srgbClr val="EBEBEB"/>
            </a:solidFill>
          </a:ln>
          <a:extLst/>
        </p:spPr>
        <p:txBody>
          <a:bodyPr vert="horz" wrap="square" lIns="89553" tIns="179101" rIns="447751" bIns="44775" numCol="1" anchor="t" anchorCtr="0" compatLnSpc="1">
            <a:prstTxWarp prst="textNoShape">
              <a:avLst/>
            </a:prstTxWarp>
          </a:bodyPr>
          <a:lstStyle/>
          <a:p>
            <a:pPr algn="ctr" defTabSz="913243" fontAlgn="base">
              <a:lnSpc>
                <a:spcPct val="90000"/>
              </a:lnSpc>
              <a:spcBef>
                <a:spcPct val="0"/>
              </a:spcBef>
              <a:spcAft>
                <a:spcPct val="0"/>
              </a:spcAft>
            </a:pPr>
            <a:r>
              <a:rPr lang="en-US" sz="1764" spc="-49" dirty="0">
                <a:gradFill>
                  <a:gsLst>
                    <a:gs pos="2917">
                      <a:srgbClr val="EFEFEF"/>
                    </a:gs>
                    <a:gs pos="30000">
                      <a:srgbClr val="EFEFEF"/>
                    </a:gs>
                  </a:gsLst>
                  <a:lin ang="5400000" scaled="0"/>
                </a:gradFill>
              </a:rPr>
              <a:t>Virtual </a:t>
            </a:r>
            <a:br>
              <a:rPr lang="en-US" sz="1764" spc="-49" dirty="0">
                <a:gradFill>
                  <a:gsLst>
                    <a:gs pos="2917">
                      <a:srgbClr val="EFEFEF"/>
                    </a:gs>
                    <a:gs pos="30000">
                      <a:srgbClr val="EFEFEF"/>
                    </a:gs>
                  </a:gsLst>
                  <a:lin ang="5400000" scaled="0"/>
                </a:gradFill>
              </a:rPr>
            </a:br>
            <a:r>
              <a:rPr lang="en-US" sz="1764" spc="-49" dirty="0">
                <a:gradFill>
                  <a:gsLst>
                    <a:gs pos="2917">
                      <a:srgbClr val="EFEFEF"/>
                    </a:gs>
                    <a:gs pos="30000">
                      <a:srgbClr val="EFEFEF"/>
                    </a:gs>
                  </a:gsLst>
                  <a:lin ang="5400000" scaled="0"/>
                </a:gradFill>
              </a:rPr>
              <a:t>Machines</a:t>
            </a:r>
          </a:p>
        </p:txBody>
      </p:sp>
      <p:sp>
        <p:nvSpPr>
          <p:cNvPr id="72" name="Rectangle 71"/>
          <p:cNvSpPr/>
          <p:nvPr/>
        </p:nvSpPr>
        <p:spPr>
          <a:xfrm>
            <a:off x="259108" y="1183247"/>
            <a:ext cx="3446503" cy="5154824"/>
          </a:xfrm>
          <a:prstGeom prst="rect">
            <a:avLst/>
          </a:prstGeom>
        </p:spPr>
        <p:txBody>
          <a:bodyPr wrap="square" lIns="89553" tIns="44775" rIns="89553" bIns="44775">
            <a:spAutoFit/>
          </a:bodyPr>
          <a:lstStyle/>
          <a:p>
            <a:pPr defTabSz="913243" fontAlgn="base">
              <a:lnSpc>
                <a:spcPct val="90000"/>
              </a:lnSpc>
              <a:spcBef>
                <a:spcPct val="0"/>
              </a:spcBef>
              <a:spcAft>
                <a:spcPct val="0"/>
              </a:spcAft>
            </a:pPr>
            <a:endParaRPr lang="en-US" sz="2352" dirty="0">
              <a:gradFill>
                <a:gsLst>
                  <a:gs pos="0">
                    <a:srgbClr val="505050">
                      <a:lumMod val="50000"/>
                    </a:srgbClr>
                  </a:gs>
                  <a:gs pos="100000">
                    <a:srgbClr val="505050">
                      <a:lumMod val="50000"/>
                    </a:srgbClr>
                  </a:gs>
                </a:gsLst>
                <a:lin ang="5400000" scaled="1"/>
              </a:gradFill>
            </a:endParaRPr>
          </a:p>
          <a:p>
            <a:pPr defTabSz="913243" fontAlgn="base">
              <a:lnSpc>
                <a:spcPct val="90000"/>
              </a:lnSpc>
              <a:spcBef>
                <a:spcPct val="0"/>
              </a:spcBef>
              <a:spcAft>
                <a:spcPct val="0"/>
              </a:spcAft>
            </a:pPr>
            <a:r>
              <a:rPr lang="en-US" sz="2352" dirty="0">
                <a:gradFill>
                  <a:gsLst>
                    <a:gs pos="0">
                      <a:srgbClr val="505050">
                        <a:lumMod val="50000"/>
                      </a:srgbClr>
                    </a:gs>
                    <a:gs pos="100000">
                      <a:srgbClr val="505050">
                        <a:lumMod val="50000"/>
                      </a:srgbClr>
                    </a:gs>
                  </a:gsLst>
                  <a:lin ang="5400000" scaled="1"/>
                </a:gradFill>
              </a:rPr>
              <a:t>Connect hybrid infrastructure services with a single identity</a:t>
            </a:r>
          </a:p>
          <a:p>
            <a:pPr defTabSz="913243" fontAlgn="base">
              <a:lnSpc>
                <a:spcPct val="90000"/>
              </a:lnSpc>
              <a:spcBef>
                <a:spcPct val="0"/>
              </a:spcBef>
              <a:spcAft>
                <a:spcPct val="0"/>
              </a:spcAft>
            </a:pPr>
            <a:endParaRPr lang="en-US" sz="2352" dirty="0">
              <a:gradFill>
                <a:gsLst>
                  <a:gs pos="0">
                    <a:srgbClr val="505050">
                      <a:lumMod val="50000"/>
                    </a:srgbClr>
                  </a:gs>
                  <a:gs pos="100000">
                    <a:srgbClr val="505050">
                      <a:lumMod val="50000"/>
                    </a:srgbClr>
                  </a:gs>
                </a:gsLst>
                <a:lin ang="5400000" scaled="1"/>
              </a:gradFill>
              <a:latin typeface="Segoe UI Light"/>
            </a:endParaRPr>
          </a:p>
          <a:p>
            <a:pPr marL="224051" defTabSz="913243">
              <a:spcAft>
                <a:spcPts val="1176"/>
              </a:spcAft>
            </a:pPr>
            <a:r>
              <a:rPr lang="en-US" sz="1666" dirty="0">
                <a:gradFill>
                  <a:gsLst>
                    <a:gs pos="0">
                      <a:srgbClr val="505050">
                        <a:lumMod val="50000"/>
                      </a:srgbClr>
                    </a:gs>
                    <a:gs pos="100000">
                      <a:srgbClr val="505050">
                        <a:lumMod val="50000"/>
                      </a:srgbClr>
                    </a:gs>
                  </a:gsLst>
                  <a:lin ang="5400000" scaled="1"/>
                </a:gradFill>
              </a:rPr>
              <a:t>Authenticate apps in virtual machines using </a:t>
            </a:r>
            <a:br>
              <a:rPr lang="en-US" sz="1666" dirty="0">
                <a:gradFill>
                  <a:gsLst>
                    <a:gs pos="0">
                      <a:srgbClr val="505050">
                        <a:lumMod val="50000"/>
                      </a:srgbClr>
                    </a:gs>
                    <a:gs pos="100000">
                      <a:srgbClr val="505050">
                        <a:lumMod val="50000"/>
                      </a:srgbClr>
                    </a:gs>
                  </a:gsLst>
                  <a:lin ang="5400000" scaled="1"/>
                </a:gradFill>
              </a:rPr>
            </a:br>
            <a:r>
              <a:rPr lang="en-US" sz="1666" dirty="0">
                <a:gradFill>
                  <a:gsLst>
                    <a:gs pos="0">
                      <a:srgbClr val="505050">
                        <a:lumMod val="50000"/>
                      </a:srgbClr>
                    </a:gs>
                    <a:gs pos="100000">
                      <a:srgbClr val="505050">
                        <a:lumMod val="50000"/>
                      </a:srgbClr>
                    </a:gs>
                  </a:gsLst>
                  <a:lin ang="5400000" scaled="1"/>
                </a:gradFill>
              </a:rPr>
              <a:t>on-premises identities</a:t>
            </a:r>
          </a:p>
          <a:p>
            <a:pPr marL="224051" defTabSz="913243">
              <a:spcAft>
                <a:spcPts val="1176"/>
              </a:spcAft>
            </a:pPr>
            <a:r>
              <a:rPr lang="en-US" sz="1666" dirty="0">
                <a:gradFill>
                  <a:gsLst>
                    <a:gs pos="0">
                      <a:srgbClr val="505050">
                        <a:lumMod val="50000"/>
                      </a:srgbClr>
                    </a:gs>
                    <a:gs pos="100000">
                      <a:srgbClr val="505050">
                        <a:lumMod val="50000"/>
                      </a:srgbClr>
                    </a:gs>
                  </a:gsLst>
                  <a:lin ang="5400000" scaled="1"/>
                </a:gradFill>
              </a:rPr>
              <a:t>Bring mature, enterprise adopted AD to apps in cloud</a:t>
            </a:r>
          </a:p>
          <a:p>
            <a:pPr marL="224051" defTabSz="913243">
              <a:spcAft>
                <a:spcPts val="1176"/>
              </a:spcAft>
            </a:pPr>
            <a:r>
              <a:rPr lang="en-US" sz="1666" dirty="0">
                <a:gradFill>
                  <a:gsLst>
                    <a:gs pos="0">
                      <a:srgbClr val="505050">
                        <a:lumMod val="50000"/>
                      </a:srgbClr>
                    </a:gs>
                    <a:gs pos="100000">
                      <a:srgbClr val="505050">
                        <a:lumMod val="50000"/>
                      </a:srgbClr>
                    </a:gs>
                  </a:gsLst>
                  <a:lin ang="5400000" scaled="1"/>
                </a:gradFill>
              </a:rPr>
              <a:t>Enable hybrid scenarios through Virtual Network private secure connection to on-premises</a:t>
            </a:r>
          </a:p>
          <a:p>
            <a:pPr marL="224051" defTabSz="913243">
              <a:spcAft>
                <a:spcPts val="1176"/>
              </a:spcAft>
            </a:pPr>
            <a:r>
              <a:rPr lang="en-US" sz="1666" dirty="0">
                <a:gradFill>
                  <a:gsLst>
                    <a:gs pos="0">
                      <a:srgbClr val="505050">
                        <a:lumMod val="50000"/>
                      </a:srgbClr>
                    </a:gs>
                    <a:gs pos="100000">
                      <a:srgbClr val="505050">
                        <a:lumMod val="50000"/>
                      </a:srgbClr>
                    </a:gs>
                  </a:gsLst>
                  <a:lin ang="5400000" scaled="1"/>
                </a:gradFill>
              </a:rPr>
              <a:t>Connect Office 365 and other SaaS Apps to on-premises identities</a:t>
            </a:r>
          </a:p>
          <a:p>
            <a:pPr defTabSz="913243">
              <a:spcAft>
                <a:spcPts val="1176"/>
              </a:spcAft>
            </a:pPr>
            <a:endParaRPr lang="en-US" sz="1666" dirty="0">
              <a:gradFill>
                <a:gsLst>
                  <a:gs pos="0">
                    <a:srgbClr val="505050">
                      <a:lumMod val="50000"/>
                    </a:srgbClr>
                  </a:gs>
                  <a:gs pos="100000">
                    <a:srgbClr val="505050">
                      <a:lumMod val="50000"/>
                    </a:srgbClr>
                  </a:gs>
                </a:gsLst>
                <a:lin ang="5400000" scaled="1"/>
              </a:gradFill>
            </a:endParaRPr>
          </a:p>
        </p:txBody>
      </p:sp>
      <p:cxnSp>
        <p:nvCxnSpPr>
          <p:cNvPr id="104" name="Straight Connector 103"/>
          <p:cNvCxnSpPr/>
          <p:nvPr/>
        </p:nvCxnSpPr>
        <p:spPr>
          <a:xfrm flipH="1">
            <a:off x="8855919" y="4859994"/>
            <a:ext cx="2812152" cy="11195"/>
          </a:xfrm>
          <a:prstGeom prst="line">
            <a:avLst/>
          </a:prstGeom>
          <a:ln w="44450" cap="rnd">
            <a:solidFill>
              <a:srgbClr val="00BCF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10041056" y="850673"/>
            <a:ext cx="1914548" cy="1057623"/>
            <a:chOff x="10015412" y="1400457"/>
            <a:chExt cx="2149654" cy="1187499"/>
          </a:xfrm>
        </p:grpSpPr>
        <p:sp>
          <p:nvSpPr>
            <p:cNvPr id="98" name="Freeform 128"/>
            <p:cNvSpPr>
              <a:spLocks noChangeAspect="1"/>
            </p:cNvSpPr>
            <p:nvPr/>
          </p:nvSpPr>
          <p:spPr bwMode="black">
            <a:xfrm>
              <a:off x="10015412" y="1400457"/>
              <a:ext cx="2149654" cy="11874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143391" rIns="89619" bIns="143391" numCol="1" spcCol="0" rtlCol="0" fromWordArt="0" anchor="t" anchorCtr="0" forceAA="0" compatLnSpc="1">
              <a:prstTxWarp prst="textNoShape">
                <a:avLst/>
              </a:prstTxWarp>
              <a:noAutofit/>
            </a:bodyPr>
            <a:lstStyle/>
            <a:p>
              <a:pPr algn="ctr" defTabSz="913243" fontAlgn="base">
                <a:lnSpc>
                  <a:spcPct val="90000"/>
                </a:lnSpc>
                <a:spcBef>
                  <a:spcPct val="0"/>
                </a:spcBef>
                <a:spcAft>
                  <a:spcPct val="0"/>
                </a:spcAft>
              </a:pPr>
              <a:endParaRPr lang="en-US" sz="2352" spc="-49">
                <a:gradFill>
                  <a:gsLst>
                    <a:gs pos="2917">
                      <a:srgbClr val="EFEFEF"/>
                    </a:gs>
                    <a:gs pos="30000">
                      <a:srgbClr val="EFEFEF"/>
                    </a:gs>
                  </a:gsLst>
                  <a:lin ang="5400000" scaled="0"/>
                </a:gradFill>
                <a:latin typeface="Segoe UI Light"/>
              </a:endParaRPr>
            </a:p>
          </p:txBody>
        </p:sp>
        <p:pic>
          <p:nvPicPr>
            <p:cNvPr id="34" name="Picture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55936" y="1864893"/>
              <a:ext cx="1999716" cy="692274"/>
            </a:xfrm>
            <a:prstGeom prst="rect">
              <a:avLst/>
            </a:prstGeom>
          </p:spPr>
        </p:pic>
      </p:grpSp>
      <p:sp>
        <p:nvSpPr>
          <p:cNvPr id="74" name="Rectangle 73"/>
          <p:cNvSpPr/>
          <p:nvPr/>
        </p:nvSpPr>
        <p:spPr>
          <a:xfrm>
            <a:off x="4636824" y="6025362"/>
            <a:ext cx="2006458" cy="422739"/>
          </a:xfrm>
          <a:prstGeom prst="rect">
            <a:avLst/>
          </a:prstGeom>
        </p:spPr>
        <p:txBody>
          <a:bodyPr wrap="square" lIns="89553" tIns="44775" rIns="89553" bIns="44775">
            <a:spAutoFit/>
          </a:bodyPr>
          <a:lstStyle/>
          <a:p>
            <a:pPr algn="ctr" defTabSz="913243">
              <a:lnSpc>
                <a:spcPct val="90000"/>
              </a:lnSpc>
            </a:pPr>
            <a:r>
              <a:rPr lang="en-US" sz="2352" b="1" spc="-49" dirty="0">
                <a:gradFill>
                  <a:gsLst>
                    <a:gs pos="2917">
                      <a:srgbClr val="00188F"/>
                    </a:gs>
                    <a:gs pos="30000">
                      <a:srgbClr val="00188F"/>
                    </a:gs>
                  </a:gsLst>
                  <a:lin ang="5400000" scaled="0"/>
                </a:gradFill>
                <a:latin typeface="Segoe UI Light"/>
              </a:rPr>
              <a:t>On-premises</a:t>
            </a:r>
          </a:p>
        </p:txBody>
      </p:sp>
      <p:sp>
        <p:nvSpPr>
          <p:cNvPr id="75" name="Rectangle 74"/>
          <p:cNvSpPr/>
          <p:nvPr/>
        </p:nvSpPr>
        <p:spPr>
          <a:xfrm>
            <a:off x="7142215" y="6025362"/>
            <a:ext cx="2414739" cy="422739"/>
          </a:xfrm>
          <a:prstGeom prst="rect">
            <a:avLst/>
          </a:prstGeom>
        </p:spPr>
        <p:txBody>
          <a:bodyPr wrap="square" lIns="89553" tIns="44775" rIns="89553" bIns="44775">
            <a:spAutoFit/>
          </a:bodyPr>
          <a:lstStyle/>
          <a:p>
            <a:pPr algn="ctr" defTabSz="913243">
              <a:lnSpc>
                <a:spcPct val="90000"/>
              </a:lnSpc>
            </a:pPr>
            <a:r>
              <a:rPr lang="en-US" sz="2352" b="1" spc="-49" dirty="0">
                <a:gradFill>
                  <a:gsLst>
                    <a:gs pos="2917">
                      <a:srgbClr val="00188F"/>
                    </a:gs>
                    <a:gs pos="30000">
                      <a:srgbClr val="00188F"/>
                    </a:gs>
                  </a:gsLst>
                  <a:lin ang="5400000" scaled="0"/>
                </a:gradFill>
                <a:latin typeface="Segoe UI Light"/>
              </a:rPr>
              <a:t>Windows Azure</a:t>
            </a:r>
          </a:p>
        </p:txBody>
      </p:sp>
      <p:sp>
        <p:nvSpPr>
          <p:cNvPr id="76" name="Freeform 7"/>
          <p:cNvSpPr>
            <a:spLocks noEditPoints="1"/>
          </p:cNvSpPr>
          <p:nvPr/>
        </p:nvSpPr>
        <p:spPr bwMode="black">
          <a:xfrm>
            <a:off x="6655137" y="6023381"/>
            <a:ext cx="475224" cy="420250"/>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chemeClr val="tx2"/>
          </a:solidFill>
          <a:ln>
            <a:noFill/>
          </a:ln>
          <a:extLst/>
        </p:spPr>
        <p:txBody>
          <a:bodyPr vert="horz" wrap="square" lIns="89553" tIns="44775" rIns="89553" bIns="44775" numCol="1" anchor="t" anchorCtr="0" compatLnSpc="1">
            <a:prstTxWarp prst="textNoShape">
              <a:avLst/>
            </a:prstTxWarp>
          </a:bodyPr>
          <a:lstStyle/>
          <a:p>
            <a:pPr defTabSz="913243"/>
            <a:endParaRPr lang="en-US" sz="1764">
              <a:solidFill>
                <a:srgbClr val="505050"/>
              </a:solidFill>
            </a:endParaRPr>
          </a:p>
        </p:txBody>
      </p:sp>
      <p:sp>
        <p:nvSpPr>
          <p:cNvPr id="77" name="Rectangle 76"/>
          <p:cNvSpPr/>
          <p:nvPr/>
        </p:nvSpPr>
        <p:spPr>
          <a:xfrm>
            <a:off x="10055891" y="6025362"/>
            <a:ext cx="1823343" cy="422739"/>
          </a:xfrm>
          <a:prstGeom prst="rect">
            <a:avLst/>
          </a:prstGeom>
        </p:spPr>
        <p:txBody>
          <a:bodyPr wrap="square" lIns="89553" tIns="44775" rIns="89553" bIns="44775">
            <a:spAutoFit/>
          </a:bodyPr>
          <a:lstStyle/>
          <a:p>
            <a:pPr algn="ctr" defTabSz="913243">
              <a:lnSpc>
                <a:spcPct val="90000"/>
              </a:lnSpc>
            </a:pPr>
            <a:r>
              <a:rPr lang="en-US" sz="2352" b="1" spc="-49" dirty="0">
                <a:gradFill>
                  <a:gsLst>
                    <a:gs pos="2917">
                      <a:srgbClr val="00188F"/>
                    </a:gs>
                    <a:gs pos="30000">
                      <a:srgbClr val="00188F"/>
                    </a:gs>
                  </a:gsLst>
                  <a:lin ang="5400000" scaled="0"/>
                </a:gradFill>
                <a:latin typeface="Segoe UI Light"/>
              </a:rPr>
              <a:t>SaaS Apps</a:t>
            </a:r>
          </a:p>
        </p:txBody>
      </p:sp>
      <p:sp>
        <p:nvSpPr>
          <p:cNvPr id="78" name="Freeform 7"/>
          <p:cNvSpPr>
            <a:spLocks noEditPoints="1"/>
          </p:cNvSpPr>
          <p:nvPr/>
        </p:nvSpPr>
        <p:spPr bwMode="black">
          <a:xfrm>
            <a:off x="9568806" y="6023381"/>
            <a:ext cx="475224" cy="420250"/>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chemeClr val="tx2"/>
          </a:solidFill>
          <a:ln>
            <a:noFill/>
          </a:ln>
          <a:extLst/>
        </p:spPr>
        <p:txBody>
          <a:bodyPr vert="horz" wrap="square" lIns="89553" tIns="44775" rIns="89553" bIns="44775" numCol="1" anchor="t" anchorCtr="0" compatLnSpc="1">
            <a:prstTxWarp prst="textNoShape">
              <a:avLst/>
            </a:prstTxWarp>
          </a:bodyPr>
          <a:lstStyle/>
          <a:p>
            <a:pPr defTabSz="913243"/>
            <a:endParaRPr lang="en-US" sz="1764">
              <a:solidFill>
                <a:srgbClr val="505050"/>
              </a:solidFill>
            </a:endParaRPr>
          </a:p>
        </p:txBody>
      </p:sp>
      <p:cxnSp>
        <p:nvCxnSpPr>
          <p:cNvPr id="40" name="Straight Connector 39"/>
          <p:cNvCxnSpPr/>
          <p:nvPr/>
        </p:nvCxnSpPr>
        <p:spPr>
          <a:xfrm>
            <a:off x="6250488" y="1379483"/>
            <a:ext cx="707437" cy="0"/>
          </a:xfrm>
          <a:prstGeom prst="line">
            <a:avLst/>
          </a:prstGeom>
          <a:ln w="44450" cap="rnd">
            <a:solidFill>
              <a:schemeClr val="accent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rot="19069121">
            <a:off x="5348139" y="947725"/>
            <a:ext cx="1467228" cy="484269"/>
          </a:xfrm>
          <a:prstGeom prst="rect">
            <a:avLst/>
          </a:prstGeom>
        </p:spPr>
        <p:txBody>
          <a:bodyPr wrap="square" lIns="89553" tIns="44775" rIns="89553" bIns="44775">
            <a:spAutoFit/>
          </a:bodyPr>
          <a:lstStyle/>
          <a:p>
            <a:pPr algn="ctr" defTabSz="913243" fontAlgn="base">
              <a:lnSpc>
                <a:spcPct val="80000"/>
              </a:lnSpc>
              <a:spcBef>
                <a:spcPct val="0"/>
              </a:spcBef>
              <a:spcAft>
                <a:spcPct val="0"/>
              </a:spcAft>
            </a:pPr>
            <a:r>
              <a:rPr lang="en-US" sz="1568" b="1" spc="-49" dirty="0">
                <a:solidFill>
                  <a:srgbClr val="FFC000"/>
                </a:solidFill>
                <a:latin typeface="Segoe UI Light"/>
              </a:rPr>
              <a:t>Virtual </a:t>
            </a:r>
            <a:br>
              <a:rPr lang="en-US" sz="1568" b="1" spc="-49" dirty="0">
                <a:solidFill>
                  <a:srgbClr val="FFC000"/>
                </a:solidFill>
                <a:latin typeface="Segoe UI Light"/>
              </a:rPr>
            </a:br>
            <a:r>
              <a:rPr lang="en-US" sz="1568" b="1" spc="-49" dirty="0">
                <a:solidFill>
                  <a:srgbClr val="FFC000"/>
                </a:solidFill>
                <a:latin typeface="Segoe UI Light"/>
              </a:rPr>
              <a:t>Network</a:t>
            </a:r>
          </a:p>
        </p:txBody>
      </p:sp>
      <p:sp>
        <p:nvSpPr>
          <p:cNvPr id="56" name="Rectangle 55"/>
          <p:cNvSpPr/>
          <p:nvPr/>
        </p:nvSpPr>
        <p:spPr>
          <a:xfrm>
            <a:off x="8886411" y="4552313"/>
            <a:ext cx="1467228" cy="307681"/>
          </a:xfrm>
          <a:prstGeom prst="rect">
            <a:avLst/>
          </a:prstGeom>
        </p:spPr>
        <p:txBody>
          <a:bodyPr wrap="square" lIns="89553" tIns="44775" rIns="89553" bIns="44775">
            <a:spAutoFit/>
          </a:bodyPr>
          <a:lstStyle/>
          <a:p>
            <a:pPr algn="ctr" defTabSz="913243" fontAlgn="base">
              <a:lnSpc>
                <a:spcPct val="80000"/>
              </a:lnSpc>
              <a:spcBef>
                <a:spcPct val="0"/>
              </a:spcBef>
              <a:spcAft>
                <a:spcPct val="0"/>
              </a:spcAft>
            </a:pPr>
            <a:r>
              <a:rPr lang="en-US" sz="1764" b="1" spc="-49" dirty="0">
                <a:gradFill>
                  <a:gsLst>
                    <a:gs pos="2917">
                      <a:srgbClr val="00188F"/>
                    </a:gs>
                    <a:gs pos="30000">
                      <a:srgbClr val="00188F"/>
                    </a:gs>
                  </a:gsLst>
                  <a:lin ang="5400000" scaled="0"/>
                </a:gradFill>
                <a:latin typeface="Segoe UI Light"/>
              </a:rPr>
              <a:t>Internet</a:t>
            </a:r>
          </a:p>
        </p:txBody>
      </p:sp>
      <p:cxnSp>
        <p:nvCxnSpPr>
          <p:cNvPr id="79" name="Straight Connector 78"/>
          <p:cNvCxnSpPr/>
          <p:nvPr/>
        </p:nvCxnSpPr>
        <p:spPr>
          <a:xfrm flipV="1">
            <a:off x="9096476" y="1912262"/>
            <a:ext cx="1161829" cy="1091671"/>
          </a:xfrm>
          <a:prstGeom prst="line">
            <a:avLst/>
          </a:prstGeom>
          <a:ln w="44450" cap="rnd">
            <a:solidFill>
              <a:srgbClr val="00BCF2"/>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26072" y="4026420"/>
            <a:ext cx="10112" cy="870209"/>
          </a:xfrm>
          <a:prstGeom prst="line">
            <a:avLst/>
          </a:prstGeom>
          <a:ln w="44450" cap="rnd">
            <a:solidFill>
              <a:srgbClr val="00BCF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bwMode="auto">
          <a:xfrm>
            <a:off x="6813253" y="1872826"/>
            <a:ext cx="1619590" cy="302379"/>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243" fontAlgn="base">
              <a:lnSpc>
                <a:spcPct val="80000"/>
              </a:lnSpc>
              <a:spcBef>
                <a:spcPct val="0"/>
              </a:spcBef>
              <a:spcAft>
                <a:spcPct val="0"/>
              </a:spcAft>
            </a:pPr>
            <a:r>
              <a:rPr lang="en-US" sz="1176" b="1" spc="-49" dirty="0">
                <a:gradFill>
                  <a:gsLst>
                    <a:gs pos="2917">
                      <a:srgbClr val="FFFFFF"/>
                    </a:gs>
                    <a:gs pos="30000">
                      <a:srgbClr val="FFFFFF"/>
                    </a:gs>
                  </a:gsLst>
                  <a:lin ang="5400000" scaled="0"/>
                </a:gradFill>
                <a:latin typeface="Segoe UI Light"/>
              </a:rPr>
              <a:t>Windows Server</a:t>
            </a:r>
            <a:br>
              <a:rPr lang="en-US" sz="1176" b="1" spc="-49" dirty="0">
                <a:gradFill>
                  <a:gsLst>
                    <a:gs pos="2917">
                      <a:srgbClr val="FFFFFF"/>
                    </a:gs>
                    <a:gs pos="30000">
                      <a:srgbClr val="FFFFFF"/>
                    </a:gs>
                  </a:gsLst>
                  <a:lin ang="5400000" scaled="0"/>
                </a:gradFill>
                <a:latin typeface="Segoe UI Light"/>
              </a:rPr>
            </a:br>
            <a:r>
              <a:rPr lang="en-US" sz="1176" b="1" spc="-49" dirty="0">
                <a:gradFill>
                  <a:gsLst>
                    <a:gs pos="2917">
                      <a:srgbClr val="FFFFFF"/>
                    </a:gs>
                    <a:gs pos="30000">
                      <a:srgbClr val="FFFFFF"/>
                    </a:gs>
                  </a:gsLst>
                  <a:lin ang="5400000" scaled="0"/>
                </a:gradFill>
                <a:latin typeface="Segoe UI Light"/>
              </a:rPr>
              <a:t>Active Directory DS</a:t>
            </a:r>
          </a:p>
        </p:txBody>
      </p:sp>
      <p:sp>
        <p:nvSpPr>
          <p:cNvPr id="85" name="Rectangle 84"/>
          <p:cNvSpPr/>
          <p:nvPr/>
        </p:nvSpPr>
        <p:spPr bwMode="auto">
          <a:xfrm>
            <a:off x="8131396" y="1872826"/>
            <a:ext cx="1619590" cy="302379"/>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243" fontAlgn="base">
              <a:lnSpc>
                <a:spcPct val="80000"/>
              </a:lnSpc>
              <a:spcBef>
                <a:spcPct val="0"/>
              </a:spcBef>
              <a:spcAft>
                <a:spcPct val="0"/>
              </a:spcAft>
            </a:pPr>
            <a:r>
              <a:rPr lang="en-US" sz="1176" b="1" spc="-49" dirty="0">
                <a:gradFill>
                  <a:gsLst>
                    <a:gs pos="2917">
                      <a:srgbClr val="FFFFFF"/>
                    </a:gs>
                    <a:gs pos="30000">
                      <a:srgbClr val="FFFFFF"/>
                    </a:gs>
                  </a:gsLst>
                  <a:lin ang="5400000" scaled="0"/>
                </a:gradFill>
                <a:latin typeface="Segoe UI Light"/>
              </a:rPr>
              <a:t>Windows Server</a:t>
            </a:r>
            <a:br>
              <a:rPr lang="en-US" sz="1176" b="1" spc="-49" dirty="0">
                <a:gradFill>
                  <a:gsLst>
                    <a:gs pos="2917">
                      <a:srgbClr val="FFFFFF"/>
                    </a:gs>
                    <a:gs pos="30000">
                      <a:srgbClr val="FFFFFF"/>
                    </a:gs>
                  </a:gsLst>
                  <a:lin ang="5400000" scaled="0"/>
                </a:gradFill>
                <a:latin typeface="Segoe UI Light"/>
              </a:rPr>
            </a:br>
            <a:r>
              <a:rPr lang="en-US" sz="1176" b="1" spc="-49" dirty="0">
                <a:gradFill>
                  <a:gsLst>
                    <a:gs pos="2917">
                      <a:srgbClr val="FFFFFF"/>
                    </a:gs>
                    <a:gs pos="30000">
                      <a:srgbClr val="FFFFFF"/>
                    </a:gs>
                  </a:gsLst>
                  <a:lin ang="5400000" scaled="0"/>
                </a:gradFill>
                <a:latin typeface="Segoe UI Light"/>
              </a:rPr>
              <a:t>Active Directory ADFS</a:t>
            </a:r>
          </a:p>
        </p:txBody>
      </p:sp>
      <p:sp>
        <p:nvSpPr>
          <p:cNvPr id="88" name="Rectangle 87"/>
          <p:cNvSpPr/>
          <p:nvPr/>
        </p:nvSpPr>
        <p:spPr bwMode="auto">
          <a:xfrm>
            <a:off x="5398876" y="4310806"/>
            <a:ext cx="1579134" cy="302379"/>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243" fontAlgn="base">
              <a:lnSpc>
                <a:spcPct val="80000"/>
              </a:lnSpc>
              <a:spcBef>
                <a:spcPct val="0"/>
              </a:spcBef>
              <a:spcAft>
                <a:spcPct val="0"/>
              </a:spcAft>
            </a:pPr>
            <a:r>
              <a:rPr lang="en-US" sz="1372" b="1" spc="-49" dirty="0">
                <a:gradFill>
                  <a:gsLst>
                    <a:gs pos="2917">
                      <a:srgbClr val="FFFFFF"/>
                    </a:gs>
                    <a:gs pos="30000">
                      <a:srgbClr val="FFFFFF"/>
                    </a:gs>
                  </a:gsLst>
                  <a:lin ang="5400000" scaled="0"/>
                </a:gradFill>
                <a:latin typeface="Segoe UI Light"/>
              </a:rPr>
              <a:t>Windows Server</a:t>
            </a:r>
            <a:br>
              <a:rPr lang="en-US" sz="1372" b="1" spc="-49" dirty="0">
                <a:gradFill>
                  <a:gsLst>
                    <a:gs pos="2917">
                      <a:srgbClr val="FFFFFF"/>
                    </a:gs>
                    <a:gs pos="30000">
                      <a:srgbClr val="FFFFFF"/>
                    </a:gs>
                  </a:gsLst>
                  <a:lin ang="5400000" scaled="0"/>
                </a:gradFill>
                <a:latin typeface="Segoe UI Light"/>
              </a:rPr>
            </a:br>
            <a:r>
              <a:rPr lang="en-US" sz="1372" b="1" spc="-49" dirty="0">
                <a:gradFill>
                  <a:gsLst>
                    <a:gs pos="2917">
                      <a:srgbClr val="FFFFFF"/>
                    </a:gs>
                    <a:gs pos="30000">
                      <a:srgbClr val="FFFFFF"/>
                    </a:gs>
                  </a:gsLst>
                  <a:lin ang="5400000" scaled="0"/>
                </a:gradFill>
                <a:latin typeface="Segoe UI Light"/>
              </a:rPr>
              <a:t>Active Directory</a:t>
            </a:r>
          </a:p>
        </p:txBody>
      </p:sp>
      <p:grpSp>
        <p:nvGrpSpPr>
          <p:cNvPr id="107" name="Group 106"/>
          <p:cNvGrpSpPr/>
          <p:nvPr/>
        </p:nvGrpSpPr>
        <p:grpSpPr>
          <a:xfrm>
            <a:off x="7860974" y="4443630"/>
            <a:ext cx="976497" cy="858659"/>
            <a:chOff x="5736879" y="4848700"/>
            <a:chExt cx="1236176" cy="1087001"/>
          </a:xfrm>
        </p:grpSpPr>
        <p:grpSp>
          <p:nvGrpSpPr>
            <p:cNvPr id="108" name="Group 107"/>
            <p:cNvGrpSpPr/>
            <p:nvPr/>
          </p:nvGrpSpPr>
          <p:grpSpPr>
            <a:xfrm flipH="1">
              <a:off x="6564711" y="4848700"/>
              <a:ext cx="408344" cy="1087001"/>
              <a:chOff x="529660" y="2862242"/>
              <a:chExt cx="1058335" cy="2817255"/>
            </a:xfrm>
            <a:solidFill>
              <a:srgbClr val="FFFFFF"/>
            </a:solidFill>
          </p:grpSpPr>
          <p:sp>
            <p:nvSpPr>
              <p:cNvPr id="117" name="Freeform 741"/>
              <p:cNvSpPr>
                <a:spLocks/>
              </p:cNvSpPr>
              <p:nvPr/>
            </p:nvSpPr>
            <p:spPr bwMode="auto">
              <a:xfrm>
                <a:off x="529660" y="3557863"/>
                <a:ext cx="1058335" cy="2121634"/>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221" fontAlgn="base">
                  <a:lnSpc>
                    <a:spcPct val="90000"/>
                  </a:lnSpc>
                  <a:spcBef>
                    <a:spcPct val="0"/>
                  </a:spcBef>
                  <a:spcAft>
                    <a:spcPct val="0"/>
                  </a:spcAft>
                </a:pPr>
                <a:endParaRPr lang="en-US" sz="1960" spc="-49">
                  <a:gradFill>
                    <a:gsLst>
                      <a:gs pos="1250">
                        <a:srgbClr val="EFEFEF"/>
                      </a:gs>
                      <a:gs pos="10417">
                        <a:srgbClr val="EFEFEF"/>
                      </a:gs>
                    </a:gsLst>
                    <a:lin ang="5400000" scaled="0"/>
                  </a:gradFill>
                </a:endParaRPr>
              </a:p>
            </p:txBody>
          </p:sp>
          <p:sp>
            <p:nvSpPr>
              <p:cNvPr id="118" name="Oval 742"/>
              <p:cNvSpPr>
                <a:spLocks noChangeArrowheads="1"/>
              </p:cNvSpPr>
              <p:nvPr/>
            </p:nvSpPr>
            <p:spPr bwMode="auto">
              <a:xfrm>
                <a:off x="743316" y="2862242"/>
                <a:ext cx="631025" cy="635995"/>
              </a:xfrm>
              <a:prstGeom prst="ellipse">
                <a:avLst/>
              </a:pr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221" fontAlgn="base">
                  <a:lnSpc>
                    <a:spcPct val="90000"/>
                  </a:lnSpc>
                  <a:spcBef>
                    <a:spcPct val="0"/>
                  </a:spcBef>
                  <a:spcAft>
                    <a:spcPct val="0"/>
                  </a:spcAft>
                </a:pPr>
                <a:endParaRPr lang="en-US" sz="1960" spc="-49">
                  <a:gradFill>
                    <a:gsLst>
                      <a:gs pos="1250">
                        <a:srgbClr val="EFEFEF"/>
                      </a:gs>
                      <a:gs pos="10417">
                        <a:srgbClr val="EFEFEF"/>
                      </a:gs>
                    </a:gsLst>
                    <a:lin ang="5400000" scaled="0"/>
                  </a:gradFill>
                </a:endParaRPr>
              </a:p>
            </p:txBody>
          </p:sp>
        </p:grpSp>
        <p:sp>
          <p:nvSpPr>
            <p:cNvPr id="116" name="Freeform 34"/>
            <p:cNvSpPr>
              <a:spLocks noEditPoints="1"/>
            </p:cNvSpPr>
            <p:nvPr/>
          </p:nvSpPr>
          <p:spPr bwMode="auto">
            <a:xfrm>
              <a:off x="5736879" y="5102888"/>
              <a:ext cx="752168" cy="506043"/>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221" fontAlgn="base">
                <a:lnSpc>
                  <a:spcPct val="90000"/>
                </a:lnSpc>
                <a:spcBef>
                  <a:spcPct val="0"/>
                </a:spcBef>
                <a:spcAft>
                  <a:spcPct val="0"/>
                </a:spcAft>
              </a:pPr>
              <a:endParaRPr lang="en-US" sz="1960" spc="-49">
                <a:gradFill>
                  <a:gsLst>
                    <a:gs pos="1250">
                      <a:srgbClr val="EFEFEF"/>
                    </a:gs>
                    <a:gs pos="10417">
                      <a:srgbClr val="EFEFEF"/>
                    </a:gs>
                  </a:gsLst>
                  <a:lin ang="5400000" scaled="0"/>
                </a:gradFill>
              </a:endParaRPr>
            </a:p>
          </p:txBody>
        </p:sp>
      </p:grpSp>
      <p:sp>
        <p:nvSpPr>
          <p:cNvPr id="119" name="TextBox 118"/>
          <p:cNvSpPr txBox="1"/>
          <p:nvPr/>
        </p:nvSpPr>
        <p:spPr>
          <a:xfrm>
            <a:off x="7566024" y="5175827"/>
            <a:ext cx="1559055" cy="533917"/>
          </a:xfrm>
          <a:prstGeom prst="rect">
            <a:avLst/>
          </a:prstGeom>
          <a:noFill/>
        </p:spPr>
        <p:txBody>
          <a:bodyPr wrap="square" lIns="179101" tIns="143281" rIns="179101" bIns="143281" rtlCol="0">
            <a:spAutoFit/>
          </a:bodyPr>
          <a:lstStyle/>
          <a:p>
            <a:pPr algn="ctr" defTabSz="913243" fontAlgn="base">
              <a:lnSpc>
                <a:spcPct val="90000"/>
              </a:lnSpc>
              <a:spcBef>
                <a:spcPct val="0"/>
              </a:spcBef>
              <a:spcAft>
                <a:spcPct val="0"/>
              </a:spcAft>
            </a:pPr>
            <a:r>
              <a:rPr lang="en-US" sz="1764" b="1" spc="-49" dirty="0">
                <a:gradFill>
                  <a:gsLst>
                    <a:gs pos="2917">
                      <a:srgbClr val="00188F"/>
                    </a:gs>
                    <a:gs pos="30000">
                      <a:srgbClr val="00188F"/>
                    </a:gs>
                  </a:gsLst>
                  <a:lin ang="5400000" scaled="0"/>
                </a:gradFill>
                <a:latin typeface="Segoe UI Light"/>
              </a:rPr>
              <a:t>End Users</a:t>
            </a:r>
          </a:p>
        </p:txBody>
      </p:sp>
      <p:cxnSp>
        <p:nvCxnSpPr>
          <p:cNvPr id="46" name="Straight Connector 45"/>
          <p:cNvCxnSpPr/>
          <p:nvPr/>
        </p:nvCxnSpPr>
        <p:spPr>
          <a:xfrm flipH="1" flipV="1">
            <a:off x="8254634" y="2325023"/>
            <a:ext cx="379416" cy="670842"/>
          </a:xfrm>
          <a:prstGeom prst="line">
            <a:avLst/>
          </a:prstGeom>
          <a:ln w="44450" cap="rnd">
            <a:solidFill>
              <a:srgbClr val="00BCF2"/>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pic>
        <p:nvPicPr>
          <p:cNvPr id="52" name="Picture 51"/>
          <p:cNvPicPr>
            <a:picLocks noChangeAspect="1"/>
          </p:cNvPicPr>
          <p:nvPr/>
        </p:nvPicPr>
        <p:blipFill>
          <a:blip r:embed="rId7"/>
          <a:stretch>
            <a:fillRect/>
          </a:stretch>
        </p:blipFill>
        <p:spPr>
          <a:xfrm>
            <a:off x="8421405" y="2791020"/>
            <a:ext cx="874655" cy="868937"/>
          </a:xfrm>
          <a:prstGeom prst="rect">
            <a:avLst/>
          </a:prstGeom>
        </p:spPr>
      </p:pic>
      <p:sp>
        <p:nvSpPr>
          <p:cNvPr id="59" name="Rectangle 58"/>
          <p:cNvSpPr/>
          <p:nvPr/>
        </p:nvSpPr>
        <p:spPr bwMode="auto">
          <a:xfrm>
            <a:off x="8044592" y="3680486"/>
            <a:ext cx="1619590" cy="302379"/>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243" fontAlgn="base">
              <a:lnSpc>
                <a:spcPct val="80000"/>
              </a:lnSpc>
              <a:spcBef>
                <a:spcPct val="0"/>
              </a:spcBef>
              <a:spcAft>
                <a:spcPct val="0"/>
              </a:spcAft>
            </a:pPr>
            <a:r>
              <a:rPr lang="en-US" sz="1176" b="1" spc="-49" dirty="0">
                <a:solidFill>
                  <a:schemeClr val="tx1"/>
                </a:solidFill>
                <a:latin typeface="Segoe UI Light"/>
              </a:rPr>
              <a:t>Windows Azure </a:t>
            </a:r>
            <a:br>
              <a:rPr lang="en-US" sz="1176" b="1" spc="-49" dirty="0">
                <a:solidFill>
                  <a:schemeClr val="tx1"/>
                </a:solidFill>
                <a:latin typeface="Segoe UI Light"/>
              </a:rPr>
            </a:br>
            <a:r>
              <a:rPr lang="en-US" sz="1176" b="1" spc="-49" dirty="0">
                <a:solidFill>
                  <a:schemeClr val="tx1"/>
                </a:solidFill>
                <a:latin typeface="Segoe UI Light"/>
              </a:rPr>
              <a:t>Active Directory</a:t>
            </a:r>
          </a:p>
        </p:txBody>
      </p:sp>
      <p:pic>
        <p:nvPicPr>
          <p:cNvPr id="64" name="Picture 63"/>
          <p:cNvPicPr>
            <a:picLocks noChangeAspect="1"/>
          </p:cNvPicPr>
          <p:nvPr/>
        </p:nvPicPr>
        <p:blipFill>
          <a:blip r:embed="rId8"/>
          <a:stretch>
            <a:fillRect/>
          </a:stretch>
        </p:blipFill>
        <p:spPr>
          <a:xfrm>
            <a:off x="7381758" y="1224421"/>
            <a:ext cx="562315" cy="516741"/>
          </a:xfrm>
          <a:prstGeom prst="rect">
            <a:avLst/>
          </a:prstGeom>
        </p:spPr>
      </p:pic>
      <p:pic>
        <p:nvPicPr>
          <p:cNvPr id="65" name="Picture 64"/>
          <p:cNvPicPr>
            <a:picLocks noChangeAspect="1"/>
          </p:cNvPicPr>
          <p:nvPr/>
        </p:nvPicPr>
        <p:blipFill>
          <a:blip r:embed="rId8"/>
          <a:stretch>
            <a:fillRect/>
          </a:stretch>
        </p:blipFill>
        <p:spPr>
          <a:xfrm>
            <a:off x="8677726" y="1229197"/>
            <a:ext cx="562315" cy="516741"/>
          </a:xfrm>
          <a:prstGeom prst="rect">
            <a:avLst/>
          </a:prstGeom>
        </p:spPr>
      </p:pic>
      <p:grpSp>
        <p:nvGrpSpPr>
          <p:cNvPr id="66" name="Group 65"/>
          <p:cNvGrpSpPr/>
          <p:nvPr/>
        </p:nvGrpSpPr>
        <p:grpSpPr>
          <a:xfrm>
            <a:off x="9787233" y="2688637"/>
            <a:ext cx="1697905" cy="1295657"/>
            <a:chOff x="10241078" y="-836650"/>
            <a:chExt cx="2311222" cy="1521999"/>
          </a:xfrm>
        </p:grpSpPr>
        <p:sp>
          <p:nvSpPr>
            <p:cNvPr id="67" name="Freeform 128"/>
            <p:cNvSpPr>
              <a:spLocks noChangeAspect="1"/>
            </p:cNvSpPr>
            <p:nvPr/>
          </p:nvSpPr>
          <p:spPr bwMode="black">
            <a:xfrm>
              <a:off x="10241078" y="-836650"/>
              <a:ext cx="2311222" cy="127675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19050">
              <a:solidFill>
                <a:schemeClr val="tx2"/>
              </a:solidFill>
            </a:ln>
            <a:extLst/>
          </p:spPr>
          <p:txBody>
            <a:bodyPr vert="horz" wrap="square" lIns="91440" tIns="45720" rIns="91440" bIns="45720" numCol="1" anchor="t" anchorCtr="0" compatLnSpc="1">
              <a:prstTxWarp prst="textNoShape">
                <a:avLst/>
              </a:prstTxWarp>
            </a:bodyPr>
            <a:lstStyle/>
            <a:p>
              <a:endParaRPr lang="en-US" sz="1400">
                <a:solidFill>
                  <a:srgbClr val="505050"/>
                </a:solidFill>
              </a:endParaRPr>
            </a:p>
          </p:txBody>
        </p:sp>
        <p:sp>
          <p:nvSpPr>
            <p:cNvPr id="68" name="TextBox 67"/>
            <p:cNvSpPr txBox="1"/>
            <p:nvPr/>
          </p:nvSpPr>
          <p:spPr>
            <a:xfrm>
              <a:off x="10358960" y="490116"/>
              <a:ext cx="2075457" cy="195233"/>
            </a:xfrm>
            <a:prstGeom prst="rect">
              <a:avLst/>
            </a:prstGeom>
            <a:noFill/>
          </p:spPr>
          <p:txBody>
            <a:bodyPr wrap="square" lIns="0" tIns="0" rIns="0" bIns="0" rtlCol="0">
              <a:spAutoFit/>
            </a:bodyPr>
            <a:lstStyle/>
            <a:p>
              <a:pPr algn="ctr" defTabSz="1243038">
                <a:lnSpc>
                  <a:spcPct val="90000"/>
                </a:lnSpc>
                <a:spcBef>
                  <a:spcPct val="20000"/>
                </a:spcBef>
                <a:buSzPct val="80000"/>
              </a:pPr>
              <a:r>
                <a:rPr lang="en-US" sz="1200" dirty="0">
                  <a:gradFill>
                    <a:gsLst>
                      <a:gs pos="21429">
                        <a:srgbClr val="EFEFEF">
                          <a:lumMod val="50000"/>
                        </a:srgbClr>
                      </a:gs>
                      <a:gs pos="42000">
                        <a:srgbClr val="EFEFEF">
                          <a:lumMod val="50000"/>
                        </a:srgbClr>
                      </a:gs>
                    </a:gsLst>
                    <a:lin ang="5400000" scaled="0"/>
                  </a:gradFill>
                </a:rPr>
                <a:t>LOB &amp; custom apps</a:t>
              </a:r>
            </a:p>
          </p:txBody>
        </p:sp>
        <p:grpSp>
          <p:nvGrpSpPr>
            <p:cNvPr id="71" name="Group 70"/>
            <p:cNvGrpSpPr/>
            <p:nvPr/>
          </p:nvGrpSpPr>
          <p:grpSpPr>
            <a:xfrm>
              <a:off x="10753987" y="-230591"/>
              <a:ext cx="757887" cy="573752"/>
              <a:chOff x="6703496" y="-429219"/>
              <a:chExt cx="690663" cy="522861"/>
            </a:xfrm>
          </p:grpSpPr>
          <p:sp>
            <p:nvSpPr>
              <p:cNvPr id="83" name="Freeform 5"/>
              <p:cNvSpPr>
                <a:spLocks noEditPoints="1"/>
              </p:cNvSpPr>
              <p:nvPr/>
            </p:nvSpPr>
            <p:spPr bwMode="auto">
              <a:xfrm>
                <a:off x="6703496" y="-429219"/>
                <a:ext cx="690663" cy="522861"/>
              </a:xfrm>
              <a:custGeom>
                <a:avLst/>
                <a:gdLst>
                  <a:gd name="T0" fmla="*/ 1870 w 1894"/>
                  <a:gd name="T1" fmla="*/ 214 h 1435"/>
                  <a:gd name="T2" fmla="*/ 24 w 1894"/>
                  <a:gd name="T3" fmla="*/ 214 h 1435"/>
                  <a:gd name="T4" fmla="*/ 0 w 1894"/>
                  <a:gd name="T5" fmla="*/ 246 h 1435"/>
                  <a:gd name="T6" fmla="*/ 0 w 1894"/>
                  <a:gd name="T7" fmla="*/ 1404 h 1435"/>
                  <a:gd name="T8" fmla="*/ 24 w 1894"/>
                  <a:gd name="T9" fmla="*/ 1435 h 1435"/>
                  <a:gd name="T10" fmla="*/ 1870 w 1894"/>
                  <a:gd name="T11" fmla="*/ 1435 h 1435"/>
                  <a:gd name="T12" fmla="*/ 1894 w 1894"/>
                  <a:gd name="T13" fmla="*/ 1404 h 1435"/>
                  <a:gd name="T14" fmla="*/ 1894 w 1894"/>
                  <a:gd name="T15" fmla="*/ 246 h 1435"/>
                  <a:gd name="T16" fmla="*/ 1870 w 1894"/>
                  <a:gd name="T17" fmla="*/ 214 h 1435"/>
                  <a:gd name="T18" fmla="*/ 1822 w 1894"/>
                  <a:gd name="T19" fmla="*/ 1364 h 1435"/>
                  <a:gd name="T20" fmla="*/ 72 w 1894"/>
                  <a:gd name="T21" fmla="*/ 1364 h 1435"/>
                  <a:gd name="T22" fmla="*/ 72 w 1894"/>
                  <a:gd name="T23" fmla="*/ 293 h 1435"/>
                  <a:gd name="T24" fmla="*/ 1822 w 1894"/>
                  <a:gd name="T25" fmla="*/ 293 h 1435"/>
                  <a:gd name="T26" fmla="*/ 1822 w 1894"/>
                  <a:gd name="T27" fmla="*/ 1364 h 1435"/>
                  <a:gd name="T28" fmla="*/ 1822 w 1894"/>
                  <a:gd name="T29" fmla="*/ 1364 h 1435"/>
                  <a:gd name="T30" fmla="*/ 1607 w 1894"/>
                  <a:gd name="T31" fmla="*/ 111 h 1435"/>
                  <a:gd name="T32" fmla="*/ 1568 w 1894"/>
                  <a:gd name="T33" fmla="*/ 111 h 1435"/>
                  <a:gd name="T34" fmla="*/ 1568 w 1894"/>
                  <a:gd name="T35" fmla="*/ 71 h 1435"/>
                  <a:gd name="T36" fmla="*/ 1607 w 1894"/>
                  <a:gd name="T37" fmla="*/ 71 h 1435"/>
                  <a:gd name="T38" fmla="*/ 1607 w 1894"/>
                  <a:gd name="T39" fmla="*/ 111 h 1435"/>
                  <a:gd name="T40" fmla="*/ 1607 w 1894"/>
                  <a:gd name="T41" fmla="*/ 111 h 1435"/>
                  <a:gd name="T42" fmla="*/ 1870 w 1894"/>
                  <a:gd name="T43" fmla="*/ 0 h 1435"/>
                  <a:gd name="T44" fmla="*/ 24 w 1894"/>
                  <a:gd name="T45" fmla="*/ 0 h 1435"/>
                  <a:gd name="T46" fmla="*/ 0 w 1894"/>
                  <a:gd name="T47" fmla="*/ 24 h 1435"/>
                  <a:gd name="T48" fmla="*/ 0 w 1894"/>
                  <a:gd name="T49" fmla="*/ 159 h 1435"/>
                  <a:gd name="T50" fmla="*/ 24 w 1894"/>
                  <a:gd name="T51" fmla="*/ 182 h 1435"/>
                  <a:gd name="T52" fmla="*/ 1870 w 1894"/>
                  <a:gd name="T53" fmla="*/ 182 h 1435"/>
                  <a:gd name="T54" fmla="*/ 1894 w 1894"/>
                  <a:gd name="T55" fmla="*/ 159 h 1435"/>
                  <a:gd name="T56" fmla="*/ 1894 w 1894"/>
                  <a:gd name="T57" fmla="*/ 24 h 1435"/>
                  <a:gd name="T58" fmla="*/ 1870 w 1894"/>
                  <a:gd name="T59" fmla="*/ 0 h 1435"/>
                  <a:gd name="T60" fmla="*/ 1504 w 1894"/>
                  <a:gd name="T61" fmla="*/ 127 h 1435"/>
                  <a:gd name="T62" fmla="*/ 1416 w 1894"/>
                  <a:gd name="T63" fmla="*/ 127 h 1435"/>
                  <a:gd name="T64" fmla="*/ 1416 w 1894"/>
                  <a:gd name="T65" fmla="*/ 111 h 1435"/>
                  <a:gd name="T66" fmla="*/ 1504 w 1894"/>
                  <a:gd name="T67" fmla="*/ 111 h 1435"/>
                  <a:gd name="T68" fmla="*/ 1504 w 1894"/>
                  <a:gd name="T69" fmla="*/ 127 h 1435"/>
                  <a:gd name="T70" fmla="*/ 1504 w 1894"/>
                  <a:gd name="T71" fmla="*/ 127 h 1435"/>
                  <a:gd name="T72" fmla="*/ 1615 w 1894"/>
                  <a:gd name="T73" fmla="*/ 127 h 1435"/>
                  <a:gd name="T74" fmla="*/ 1552 w 1894"/>
                  <a:gd name="T75" fmla="*/ 127 h 1435"/>
                  <a:gd name="T76" fmla="*/ 1552 w 1894"/>
                  <a:gd name="T77" fmla="*/ 56 h 1435"/>
                  <a:gd name="T78" fmla="*/ 1615 w 1894"/>
                  <a:gd name="T79" fmla="*/ 56 h 1435"/>
                  <a:gd name="T80" fmla="*/ 1615 w 1894"/>
                  <a:gd name="T81" fmla="*/ 127 h 1435"/>
                  <a:gd name="T82" fmla="*/ 1615 w 1894"/>
                  <a:gd name="T83" fmla="*/ 127 h 1435"/>
                  <a:gd name="T84" fmla="*/ 1774 w 1894"/>
                  <a:gd name="T85" fmla="*/ 127 h 1435"/>
                  <a:gd name="T86" fmla="*/ 1751 w 1894"/>
                  <a:gd name="T87" fmla="*/ 127 h 1435"/>
                  <a:gd name="T88" fmla="*/ 1735 w 1894"/>
                  <a:gd name="T89" fmla="*/ 111 h 1435"/>
                  <a:gd name="T90" fmla="*/ 1727 w 1894"/>
                  <a:gd name="T91" fmla="*/ 103 h 1435"/>
                  <a:gd name="T92" fmla="*/ 1703 w 1894"/>
                  <a:gd name="T93" fmla="*/ 127 h 1435"/>
                  <a:gd name="T94" fmla="*/ 1703 w 1894"/>
                  <a:gd name="T95" fmla="*/ 127 h 1435"/>
                  <a:gd name="T96" fmla="*/ 1679 w 1894"/>
                  <a:gd name="T97" fmla="*/ 127 h 1435"/>
                  <a:gd name="T98" fmla="*/ 1711 w 1894"/>
                  <a:gd name="T99" fmla="*/ 87 h 1435"/>
                  <a:gd name="T100" fmla="*/ 1679 w 1894"/>
                  <a:gd name="T101" fmla="*/ 56 h 1435"/>
                  <a:gd name="T102" fmla="*/ 1703 w 1894"/>
                  <a:gd name="T103" fmla="*/ 56 h 1435"/>
                  <a:gd name="T104" fmla="*/ 1727 w 1894"/>
                  <a:gd name="T105" fmla="*/ 79 h 1435"/>
                  <a:gd name="T106" fmla="*/ 1751 w 1894"/>
                  <a:gd name="T107" fmla="*/ 56 h 1435"/>
                  <a:gd name="T108" fmla="*/ 1774 w 1894"/>
                  <a:gd name="T109" fmla="*/ 56 h 1435"/>
                  <a:gd name="T110" fmla="*/ 1735 w 1894"/>
                  <a:gd name="T111" fmla="*/ 87 h 1435"/>
                  <a:gd name="T112" fmla="*/ 1774 w 1894"/>
                  <a:gd name="T113" fmla="*/ 127 h 1435"/>
                  <a:gd name="T114" fmla="*/ 1774 w 1894"/>
                  <a:gd name="T115" fmla="*/ 127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94" h="1435">
                    <a:moveTo>
                      <a:pt x="1870" y="214"/>
                    </a:moveTo>
                    <a:cubicBezTo>
                      <a:pt x="24" y="214"/>
                      <a:pt x="24" y="214"/>
                      <a:pt x="24" y="214"/>
                    </a:cubicBezTo>
                    <a:cubicBezTo>
                      <a:pt x="8" y="214"/>
                      <a:pt x="0" y="230"/>
                      <a:pt x="0" y="246"/>
                    </a:cubicBezTo>
                    <a:cubicBezTo>
                      <a:pt x="0" y="1404"/>
                      <a:pt x="0" y="1404"/>
                      <a:pt x="0" y="1404"/>
                    </a:cubicBezTo>
                    <a:cubicBezTo>
                      <a:pt x="0" y="1420"/>
                      <a:pt x="8" y="1435"/>
                      <a:pt x="24" y="1435"/>
                    </a:cubicBezTo>
                    <a:cubicBezTo>
                      <a:pt x="1870" y="1435"/>
                      <a:pt x="1870" y="1435"/>
                      <a:pt x="1870" y="1435"/>
                    </a:cubicBezTo>
                    <a:cubicBezTo>
                      <a:pt x="1886" y="1435"/>
                      <a:pt x="1894" y="1420"/>
                      <a:pt x="1894" y="1404"/>
                    </a:cubicBezTo>
                    <a:cubicBezTo>
                      <a:pt x="1894" y="246"/>
                      <a:pt x="1894" y="246"/>
                      <a:pt x="1894" y="246"/>
                    </a:cubicBezTo>
                    <a:cubicBezTo>
                      <a:pt x="1894" y="230"/>
                      <a:pt x="1886" y="214"/>
                      <a:pt x="1870" y="214"/>
                    </a:cubicBezTo>
                    <a:close/>
                    <a:moveTo>
                      <a:pt x="1822" y="1364"/>
                    </a:moveTo>
                    <a:cubicBezTo>
                      <a:pt x="72" y="1364"/>
                      <a:pt x="72" y="1364"/>
                      <a:pt x="72" y="1364"/>
                    </a:cubicBezTo>
                    <a:cubicBezTo>
                      <a:pt x="72" y="293"/>
                      <a:pt x="72" y="293"/>
                      <a:pt x="72" y="293"/>
                    </a:cubicBezTo>
                    <a:cubicBezTo>
                      <a:pt x="1822" y="293"/>
                      <a:pt x="1822" y="293"/>
                      <a:pt x="1822" y="293"/>
                    </a:cubicBezTo>
                    <a:cubicBezTo>
                      <a:pt x="1822" y="1364"/>
                      <a:pt x="1822" y="1364"/>
                      <a:pt x="1822" y="1364"/>
                    </a:cubicBezTo>
                    <a:cubicBezTo>
                      <a:pt x="1822" y="1364"/>
                      <a:pt x="1822" y="1364"/>
                      <a:pt x="1822" y="1364"/>
                    </a:cubicBezTo>
                    <a:close/>
                    <a:moveTo>
                      <a:pt x="1607" y="111"/>
                    </a:moveTo>
                    <a:cubicBezTo>
                      <a:pt x="1568" y="111"/>
                      <a:pt x="1568" y="111"/>
                      <a:pt x="1568" y="111"/>
                    </a:cubicBezTo>
                    <a:cubicBezTo>
                      <a:pt x="1568" y="71"/>
                      <a:pt x="1568" y="71"/>
                      <a:pt x="1568" y="71"/>
                    </a:cubicBezTo>
                    <a:cubicBezTo>
                      <a:pt x="1607" y="71"/>
                      <a:pt x="1607" y="71"/>
                      <a:pt x="1607" y="71"/>
                    </a:cubicBezTo>
                    <a:cubicBezTo>
                      <a:pt x="1607" y="111"/>
                      <a:pt x="1607" y="111"/>
                      <a:pt x="1607" y="111"/>
                    </a:cubicBezTo>
                    <a:cubicBezTo>
                      <a:pt x="1607" y="111"/>
                      <a:pt x="1607" y="111"/>
                      <a:pt x="1607" y="111"/>
                    </a:cubicBezTo>
                    <a:close/>
                    <a:moveTo>
                      <a:pt x="1870" y="0"/>
                    </a:moveTo>
                    <a:cubicBezTo>
                      <a:pt x="24" y="0"/>
                      <a:pt x="24" y="0"/>
                      <a:pt x="24" y="0"/>
                    </a:cubicBezTo>
                    <a:cubicBezTo>
                      <a:pt x="8" y="0"/>
                      <a:pt x="0" y="8"/>
                      <a:pt x="0" y="24"/>
                    </a:cubicBezTo>
                    <a:cubicBezTo>
                      <a:pt x="0" y="159"/>
                      <a:pt x="0" y="159"/>
                      <a:pt x="0" y="159"/>
                    </a:cubicBezTo>
                    <a:cubicBezTo>
                      <a:pt x="0" y="175"/>
                      <a:pt x="8" y="182"/>
                      <a:pt x="24" y="182"/>
                    </a:cubicBezTo>
                    <a:cubicBezTo>
                      <a:pt x="1870" y="182"/>
                      <a:pt x="1870" y="182"/>
                      <a:pt x="1870" y="182"/>
                    </a:cubicBezTo>
                    <a:cubicBezTo>
                      <a:pt x="1886" y="182"/>
                      <a:pt x="1894" y="175"/>
                      <a:pt x="1894" y="159"/>
                    </a:cubicBezTo>
                    <a:cubicBezTo>
                      <a:pt x="1894" y="24"/>
                      <a:pt x="1894" y="24"/>
                      <a:pt x="1894" y="24"/>
                    </a:cubicBezTo>
                    <a:cubicBezTo>
                      <a:pt x="1894" y="8"/>
                      <a:pt x="1886" y="0"/>
                      <a:pt x="1870" y="0"/>
                    </a:cubicBezTo>
                    <a:close/>
                    <a:moveTo>
                      <a:pt x="1504" y="127"/>
                    </a:moveTo>
                    <a:cubicBezTo>
                      <a:pt x="1416" y="127"/>
                      <a:pt x="1416" y="127"/>
                      <a:pt x="1416" y="127"/>
                    </a:cubicBezTo>
                    <a:cubicBezTo>
                      <a:pt x="1416" y="111"/>
                      <a:pt x="1416" y="111"/>
                      <a:pt x="1416" y="111"/>
                    </a:cubicBezTo>
                    <a:cubicBezTo>
                      <a:pt x="1504" y="111"/>
                      <a:pt x="1504" y="111"/>
                      <a:pt x="1504" y="111"/>
                    </a:cubicBezTo>
                    <a:cubicBezTo>
                      <a:pt x="1504" y="127"/>
                      <a:pt x="1504" y="127"/>
                      <a:pt x="1504" y="127"/>
                    </a:cubicBezTo>
                    <a:cubicBezTo>
                      <a:pt x="1504" y="127"/>
                      <a:pt x="1504" y="127"/>
                      <a:pt x="1504" y="127"/>
                    </a:cubicBezTo>
                    <a:close/>
                    <a:moveTo>
                      <a:pt x="1615" y="127"/>
                    </a:moveTo>
                    <a:cubicBezTo>
                      <a:pt x="1552" y="127"/>
                      <a:pt x="1552" y="127"/>
                      <a:pt x="1552" y="127"/>
                    </a:cubicBezTo>
                    <a:cubicBezTo>
                      <a:pt x="1552" y="56"/>
                      <a:pt x="1552" y="56"/>
                      <a:pt x="1552" y="56"/>
                    </a:cubicBezTo>
                    <a:cubicBezTo>
                      <a:pt x="1615" y="56"/>
                      <a:pt x="1615" y="56"/>
                      <a:pt x="1615" y="56"/>
                    </a:cubicBezTo>
                    <a:cubicBezTo>
                      <a:pt x="1615" y="127"/>
                      <a:pt x="1615" y="127"/>
                      <a:pt x="1615" y="127"/>
                    </a:cubicBezTo>
                    <a:cubicBezTo>
                      <a:pt x="1615" y="127"/>
                      <a:pt x="1615" y="127"/>
                      <a:pt x="1615" y="127"/>
                    </a:cubicBezTo>
                    <a:close/>
                    <a:moveTo>
                      <a:pt x="1774" y="127"/>
                    </a:moveTo>
                    <a:cubicBezTo>
                      <a:pt x="1751" y="127"/>
                      <a:pt x="1751" y="127"/>
                      <a:pt x="1751" y="127"/>
                    </a:cubicBezTo>
                    <a:cubicBezTo>
                      <a:pt x="1735" y="111"/>
                      <a:pt x="1735" y="111"/>
                      <a:pt x="1735" y="111"/>
                    </a:cubicBezTo>
                    <a:cubicBezTo>
                      <a:pt x="1727" y="103"/>
                      <a:pt x="1727" y="103"/>
                      <a:pt x="1727" y="103"/>
                    </a:cubicBezTo>
                    <a:cubicBezTo>
                      <a:pt x="1703" y="127"/>
                      <a:pt x="1703" y="127"/>
                      <a:pt x="1703" y="127"/>
                    </a:cubicBezTo>
                    <a:cubicBezTo>
                      <a:pt x="1703" y="127"/>
                      <a:pt x="1703" y="127"/>
                      <a:pt x="1703" y="127"/>
                    </a:cubicBezTo>
                    <a:cubicBezTo>
                      <a:pt x="1679" y="127"/>
                      <a:pt x="1679" y="127"/>
                      <a:pt x="1679" y="127"/>
                    </a:cubicBezTo>
                    <a:cubicBezTo>
                      <a:pt x="1711" y="87"/>
                      <a:pt x="1711" y="87"/>
                      <a:pt x="1711" y="87"/>
                    </a:cubicBezTo>
                    <a:cubicBezTo>
                      <a:pt x="1679" y="56"/>
                      <a:pt x="1679" y="56"/>
                      <a:pt x="1679" y="56"/>
                    </a:cubicBezTo>
                    <a:cubicBezTo>
                      <a:pt x="1703" y="56"/>
                      <a:pt x="1703" y="56"/>
                      <a:pt x="1703" y="56"/>
                    </a:cubicBezTo>
                    <a:cubicBezTo>
                      <a:pt x="1727" y="79"/>
                      <a:pt x="1727" y="79"/>
                      <a:pt x="1727" y="79"/>
                    </a:cubicBezTo>
                    <a:cubicBezTo>
                      <a:pt x="1751" y="56"/>
                      <a:pt x="1751" y="56"/>
                      <a:pt x="1751" y="56"/>
                    </a:cubicBezTo>
                    <a:cubicBezTo>
                      <a:pt x="1774" y="56"/>
                      <a:pt x="1774" y="56"/>
                      <a:pt x="1774" y="56"/>
                    </a:cubicBezTo>
                    <a:cubicBezTo>
                      <a:pt x="1735" y="87"/>
                      <a:pt x="1735" y="87"/>
                      <a:pt x="1735" y="87"/>
                    </a:cubicBezTo>
                    <a:cubicBezTo>
                      <a:pt x="1774" y="127"/>
                      <a:pt x="1774" y="127"/>
                      <a:pt x="1774" y="127"/>
                    </a:cubicBezTo>
                    <a:cubicBezTo>
                      <a:pt x="1774" y="127"/>
                      <a:pt x="1774" y="127"/>
                      <a:pt x="1774" y="12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Freeform 9"/>
              <p:cNvSpPr>
                <a:spLocks noEditPoints="1"/>
              </p:cNvSpPr>
              <p:nvPr/>
            </p:nvSpPr>
            <p:spPr bwMode="auto">
              <a:xfrm>
                <a:off x="6852499" y="-281905"/>
                <a:ext cx="392657" cy="316491"/>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73" name="Rectangle 72"/>
            <p:cNvSpPr/>
            <p:nvPr/>
          </p:nvSpPr>
          <p:spPr bwMode="auto">
            <a:xfrm>
              <a:off x="11363740" y="-380020"/>
              <a:ext cx="757887" cy="56762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grpSp>
          <p:nvGrpSpPr>
            <p:cNvPr id="80" name="Group 79"/>
            <p:cNvGrpSpPr/>
            <p:nvPr/>
          </p:nvGrpSpPr>
          <p:grpSpPr>
            <a:xfrm>
              <a:off x="11344853" y="-382545"/>
              <a:ext cx="757887" cy="573752"/>
              <a:chOff x="6703496" y="-429219"/>
              <a:chExt cx="690663" cy="522861"/>
            </a:xfrm>
          </p:grpSpPr>
          <p:sp>
            <p:nvSpPr>
              <p:cNvPr id="81" name="Freeform 5"/>
              <p:cNvSpPr>
                <a:spLocks noEditPoints="1"/>
              </p:cNvSpPr>
              <p:nvPr/>
            </p:nvSpPr>
            <p:spPr bwMode="auto">
              <a:xfrm>
                <a:off x="6703496" y="-429219"/>
                <a:ext cx="690663" cy="522861"/>
              </a:xfrm>
              <a:custGeom>
                <a:avLst/>
                <a:gdLst>
                  <a:gd name="T0" fmla="*/ 1870 w 1894"/>
                  <a:gd name="T1" fmla="*/ 214 h 1435"/>
                  <a:gd name="T2" fmla="*/ 24 w 1894"/>
                  <a:gd name="T3" fmla="*/ 214 h 1435"/>
                  <a:gd name="T4" fmla="*/ 0 w 1894"/>
                  <a:gd name="T5" fmla="*/ 246 h 1435"/>
                  <a:gd name="T6" fmla="*/ 0 w 1894"/>
                  <a:gd name="T7" fmla="*/ 1404 h 1435"/>
                  <a:gd name="T8" fmla="*/ 24 w 1894"/>
                  <a:gd name="T9" fmla="*/ 1435 h 1435"/>
                  <a:gd name="T10" fmla="*/ 1870 w 1894"/>
                  <a:gd name="T11" fmla="*/ 1435 h 1435"/>
                  <a:gd name="T12" fmla="*/ 1894 w 1894"/>
                  <a:gd name="T13" fmla="*/ 1404 h 1435"/>
                  <a:gd name="T14" fmla="*/ 1894 w 1894"/>
                  <a:gd name="T15" fmla="*/ 246 h 1435"/>
                  <a:gd name="T16" fmla="*/ 1870 w 1894"/>
                  <a:gd name="T17" fmla="*/ 214 h 1435"/>
                  <a:gd name="T18" fmla="*/ 1822 w 1894"/>
                  <a:gd name="T19" fmla="*/ 1364 h 1435"/>
                  <a:gd name="T20" fmla="*/ 72 w 1894"/>
                  <a:gd name="T21" fmla="*/ 1364 h 1435"/>
                  <a:gd name="T22" fmla="*/ 72 w 1894"/>
                  <a:gd name="T23" fmla="*/ 293 h 1435"/>
                  <a:gd name="T24" fmla="*/ 1822 w 1894"/>
                  <a:gd name="T25" fmla="*/ 293 h 1435"/>
                  <a:gd name="T26" fmla="*/ 1822 w 1894"/>
                  <a:gd name="T27" fmla="*/ 1364 h 1435"/>
                  <a:gd name="T28" fmla="*/ 1822 w 1894"/>
                  <a:gd name="T29" fmla="*/ 1364 h 1435"/>
                  <a:gd name="T30" fmla="*/ 1607 w 1894"/>
                  <a:gd name="T31" fmla="*/ 111 h 1435"/>
                  <a:gd name="T32" fmla="*/ 1568 w 1894"/>
                  <a:gd name="T33" fmla="*/ 111 h 1435"/>
                  <a:gd name="T34" fmla="*/ 1568 w 1894"/>
                  <a:gd name="T35" fmla="*/ 71 h 1435"/>
                  <a:gd name="T36" fmla="*/ 1607 w 1894"/>
                  <a:gd name="T37" fmla="*/ 71 h 1435"/>
                  <a:gd name="T38" fmla="*/ 1607 w 1894"/>
                  <a:gd name="T39" fmla="*/ 111 h 1435"/>
                  <a:gd name="T40" fmla="*/ 1607 w 1894"/>
                  <a:gd name="T41" fmla="*/ 111 h 1435"/>
                  <a:gd name="T42" fmla="*/ 1870 w 1894"/>
                  <a:gd name="T43" fmla="*/ 0 h 1435"/>
                  <a:gd name="T44" fmla="*/ 24 w 1894"/>
                  <a:gd name="T45" fmla="*/ 0 h 1435"/>
                  <a:gd name="T46" fmla="*/ 0 w 1894"/>
                  <a:gd name="T47" fmla="*/ 24 h 1435"/>
                  <a:gd name="T48" fmla="*/ 0 w 1894"/>
                  <a:gd name="T49" fmla="*/ 159 h 1435"/>
                  <a:gd name="T50" fmla="*/ 24 w 1894"/>
                  <a:gd name="T51" fmla="*/ 182 h 1435"/>
                  <a:gd name="T52" fmla="*/ 1870 w 1894"/>
                  <a:gd name="T53" fmla="*/ 182 h 1435"/>
                  <a:gd name="T54" fmla="*/ 1894 w 1894"/>
                  <a:gd name="T55" fmla="*/ 159 h 1435"/>
                  <a:gd name="T56" fmla="*/ 1894 w 1894"/>
                  <a:gd name="T57" fmla="*/ 24 h 1435"/>
                  <a:gd name="T58" fmla="*/ 1870 w 1894"/>
                  <a:gd name="T59" fmla="*/ 0 h 1435"/>
                  <a:gd name="T60" fmla="*/ 1504 w 1894"/>
                  <a:gd name="T61" fmla="*/ 127 h 1435"/>
                  <a:gd name="T62" fmla="*/ 1416 w 1894"/>
                  <a:gd name="T63" fmla="*/ 127 h 1435"/>
                  <a:gd name="T64" fmla="*/ 1416 w 1894"/>
                  <a:gd name="T65" fmla="*/ 111 h 1435"/>
                  <a:gd name="T66" fmla="*/ 1504 w 1894"/>
                  <a:gd name="T67" fmla="*/ 111 h 1435"/>
                  <a:gd name="T68" fmla="*/ 1504 w 1894"/>
                  <a:gd name="T69" fmla="*/ 127 h 1435"/>
                  <a:gd name="T70" fmla="*/ 1504 w 1894"/>
                  <a:gd name="T71" fmla="*/ 127 h 1435"/>
                  <a:gd name="T72" fmla="*/ 1615 w 1894"/>
                  <a:gd name="T73" fmla="*/ 127 h 1435"/>
                  <a:gd name="T74" fmla="*/ 1552 w 1894"/>
                  <a:gd name="T75" fmla="*/ 127 h 1435"/>
                  <a:gd name="T76" fmla="*/ 1552 w 1894"/>
                  <a:gd name="T77" fmla="*/ 56 h 1435"/>
                  <a:gd name="T78" fmla="*/ 1615 w 1894"/>
                  <a:gd name="T79" fmla="*/ 56 h 1435"/>
                  <a:gd name="T80" fmla="*/ 1615 w 1894"/>
                  <a:gd name="T81" fmla="*/ 127 h 1435"/>
                  <a:gd name="T82" fmla="*/ 1615 w 1894"/>
                  <a:gd name="T83" fmla="*/ 127 h 1435"/>
                  <a:gd name="T84" fmla="*/ 1774 w 1894"/>
                  <a:gd name="T85" fmla="*/ 127 h 1435"/>
                  <a:gd name="T86" fmla="*/ 1751 w 1894"/>
                  <a:gd name="T87" fmla="*/ 127 h 1435"/>
                  <a:gd name="T88" fmla="*/ 1735 w 1894"/>
                  <a:gd name="T89" fmla="*/ 111 h 1435"/>
                  <a:gd name="T90" fmla="*/ 1727 w 1894"/>
                  <a:gd name="T91" fmla="*/ 103 h 1435"/>
                  <a:gd name="T92" fmla="*/ 1703 w 1894"/>
                  <a:gd name="T93" fmla="*/ 127 h 1435"/>
                  <a:gd name="T94" fmla="*/ 1703 w 1894"/>
                  <a:gd name="T95" fmla="*/ 127 h 1435"/>
                  <a:gd name="T96" fmla="*/ 1679 w 1894"/>
                  <a:gd name="T97" fmla="*/ 127 h 1435"/>
                  <a:gd name="T98" fmla="*/ 1711 w 1894"/>
                  <a:gd name="T99" fmla="*/ 87 h 1435"/>
                  <a:gd name="T100" fmla="*/ 1679 w 1894"/>
                  <a:gd name="T101" fmla="*/ 56 h 1435"/>
                  <a:gd name="T102" fmla="*/ 1703 w 1894"/>
                  <a:gd name="T103" fmla="*/ 56 h 1435"/>
                  <a:gd name="T104" fmla="*/ 1727 w 1894"/>
                  <a:gd name="T105" fmla="*/ 79 h 1435"/>
                  <a:gd name="T106" fmla="*/ 1751 w 1894"/>
                  <a:gd name="T107" fmla="*/ 56 h 1435"/>
                  <a:gd name="T108" fmla="*/ 1774 w 1894"/>
                  <a:gd name="T109" fmla="*/ 56 h 1435"/>
                  <a:gd name="T110" fmla="*/ 1735 w 1894"/>
                  <a:gd name="T111" fmla="*/ 87 h 1435"/>
                  <a:gd name="T112" fmla="*/ 1774 w 1894"/>
                  <a:gd name="T113" fmla="*/ 127 h 1435"/>
                  <a:gd name="T114" fmla="*/ 1774 w 1894"/>
                  <a:gd name="T115" fmla="*/ 127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94" h="1435">
                    <a:moveTo>
                      <a:pt x="1870" y="214"/>
                    </a:moveTo>
                    <a:cubicBezTo>
                      <a:pt x="24" y="214"/>
                      <a:pt x="24" y="214"/>
                      <a:pt x="24" y="214"/>
                    </a:cubicBezTo>
                    <a:cubicBezTo>
                      <a:pt x="8" y="214"/>
                      <a:pt x="0" y="230"/>
                      <a:pt x="0" y="246"/>
                    </a:cubicBezTo>
                    <a:cubicBezTo>
                      <a:pt x="0" y="1404"/>
                      <a:pt x="0" y="1404"/>
                      <a:pt x="0" y="1404"/>
                    </a:cubicBezTo>
                    <a:cubicBezTo>
                      <a:pt x="0" y="1420"/>
                      <a:pt x="8" y="1435"/>
                      <a:pt x="24" y="1435"/>
                    </a:cubicBezTo>
                    <a:cubicBezTo>
                      <a:pt x="1870" y="1435"/>
                      <a:pt x="1870" y="1435"/>
                      <a:pt x="1870" y="1435"/>
                    </a:cubicBezTo>
                    <a:cubicBezTo>
                      <a:pt x="1886" y="1435"/>
                      <a:pt x="1894" y="1420"/>
                      <a:pt x="1894" y="1404"/>
                    </a:cubicBezTo>
                    <a:cubicBezTo>
                      <a:pt x="1894" y="246"/>
                      <a:pt x="1894" y="246"/>
                      <a:pt x="1894" y="246"/>
                    </a:cubicBezTo>
                    <a:cubicBezTo>
                      <a:pt x="1894" y="230"/>
                      <a:pt x="1886" y="214"/>
                      <a:pt x="1870" y="214"/>
                    </a:cubicBezTo>
                    <a:close/>
                    <a:moveTo>
                      <a:pt x="1822" y="1364"/>
                    </a:moveTo>
                    <a:cubicBezTo>
                      <a:pt x="72" y="1364"/>
                      <a:pt x="72" y="1364"/>
                      <a:pt x="72" y="1364"/>
                    </a:cubicBezTo>
                    <a:cubicBezTo>
                      <a:pt x="72" y="293"/>
                      <a:pt x="72" y="293"/>
                      <a:pt x="72" y="293"/>
                    </a:cubicBezTo>
                    <a:cubicBezTo>
                      <a:pt x="1822" y="293"/>
                      <a:pt x="1822" y="293"/>
                      <a:pt x="1822" y="293"/>
                    </a:cubicBezTo>
                    <a:cubicBezTo>
                      <a:pt x="1822" y="1364"/>
                      <a:pt x="1822" y="1364"/>
                      <a:pt x="1822" y="1364"/>
                    </a:cubicBezTo>
                    <a:cubicBezTo>
                      <a:pt x="1822" y="1364"/>
                      <a:pt x="1822" y="1364"/>
                      <a:pt x="1822" y="1364"/>
                    </a:cubicBezTo>
                    <a:close/>
                    <a:moveTo>
                      <a:pt x="1607" y="111"/>
                    </a:moveTo>
                    <a:cubicBezTo>
                      <a:pt x="1568" y="111"/>
                      <a:pt x="1568" y="111"/>
                      <a:pt x="1568" y="111"/>
                    </a:cubicBezTo>
                    <a:cubicBezTo>
                      <a:pt x="1568" y="71"/>
                      <a:pt x="1568" y="71"/>
                      <a:pt x="1568" y="71"/>
                    </a:cubicBezTo>
                    <a:cubicBezTo>
                      <a:pt x="1607" y="71"/>
                      <a:pt x="1607" y="71"/>
                      <a:pt x="1607" y="71"/>
                    </a:cubicBezTo>
                    <a:cubicBezTo>
                      <a:pt x="1607" y="111"/>
                      <a:pt x="1607" y="111"/>
                      <a:pt x="1607" y="111"/>
                    </a:cubicBezTo>
                    <a:cubicBezTo>
                      <a:pt x="1607" y="111"/>
                      <a:pt x="1607" y="111"/>
                      <a:pt x="1607" y="111"/>
                    </a:cubicBezTo>
                    <a:close/>
                    <a:moveTo>
                      <a:pt x="1870" y="0"/>
                    </a:moveTo>
                    <a:cubicBezTo>
                      <a:pt x="24" y="0"/>
                      <a:pt x="24" y="0"/>
                      <a:pt x="24" y="0"/>
                    </a:cubicBezTo>
                    <a:cubicBezTo>
                      <a:pt x="8" y="0"/>
                      <a:pt x="0" y="8"/>
                      <a:pt x="0" y="24"/>
                    </a:cubicBezTo>
                    <a:cubicBezTo>
                      <a:pt x="0" y="159"/>
                      <a:pt x="0" y="159"/>
                      <a:pt x="0" y="159"/>
                    </a:cubicBezTo>
                    <a:cubicBezTo>
                      <a:pt x="0" y="175"/>
                      <a:pt x="8" y="182"/>
                      <a:pt x="24" y="182"/>
                    </a:cubicBezTo>
                    <a:cubicBezTo>
                      <a:pt x="1870" y="182"/>
                      <a:pt x="1870" y="182"/>
                      <a:pt x="1870" y="182"/>
                    </a:cubicBezTo>
                    <a:cubicBezTo>
                      <a:pt x="1886" y="182"/>
                      <a:pt x="1894" y="175"/>
                      <a:pt x="1894" y="159"/>
                    </a:cubicBezTo>
                    <a:cubicBezTo>
                      <a:pt x="1894" y="24"/>
                      <a:pt x="1894" y="24"/>
                      <a:pt x="1894" y="24"/>
                    </a:cubicBezTo>
                    <a:cubicBezTo>
                      <a:pt x="1894" y="8"/>
                      <a:pt x="1886" y="0"/>
                      <a:pt x="1870" y="0"/>
                    </a:cubicBezTo>
                    <a:close/>
                    <a:moveTo>
                      <a:pt x="1504" y="127"/>
                    </a:moveTo>
                    <a:cubicBezTo>
                      <a:pt x="1416" y="127"/>
                      <a:pt x="1416" y="127"/>
                      <a:pt x="1416" y="127"/>
                    </a:cubicBezTo>
                    <a:cubicBezTo>
                      <a:pt x="1416" y="111"/>
                      <a:pt x="1416" y="111"/>
                      <a:pt x="1416" y="111"/>
                    </a:cubicBezTo>
                    <a:cubicBezTo>
                      <a:pt x="1504" y="111"/>
                      <a:pt x="1504" y="111"/>
                      <a:pt x="1504" y="111"/>
                    </a:cubicBezTo>
                    <a:cubicBezTo>
                      <a:pt x="1504" y="127"/>
                      <a:pt x="1504" y="127"/>
                      <a:pt x="1504" y="127"/>
                    </a:cubicBezTo>
                    <a:cubicBezTo>
                      <a:pt x="1504" y="127"/>
                      <a:pt x="1504" y="127"/>
                      <a:pt x="1504" y="127"/>
                    </a:cubicBezTo>
                    <a:close/>
                    <a:moveTo>
                      <a:pt x="1615" y="127"/>
                    </a:moveTo>
                    <a:cubicBezTo>
                      <a:pt x="1552" y="127"/>
                      <a:pt x="1552" y="127"/>
                      <a:pt x="1552" y="127"/>
                    </a:cubicBezTo>
                    <a:cubicBezTo>
                      <a:pt x="1552" y="56"/>
                      <a:pt x="1552" y="56"/>
                      <a:pt x="1552" y="56"/>
                    </a:cubicBezTo>
                    <a:cubicBezTo>
                      <a:pt x="1615" y="56"/>
                      <a:pt x="1615" y="56"/>
                      <a:pt x="1615" y="56"/>
                    </a:cubicBezTo>
                    <a:cubicBezTo>
                      <a:pt x="1615" y="127"/>
                      <a:pt x="1615" y="127"/>
                      <a:pt x="1615" y="127"/>
                    </a:cubicBezTo>
                    <a:cubicBezTo>
                      <a:pt x="1615" y="127"/>
                      <a:pt x="1615" y="127"/>
                      <a:pt x="1615" y="127"/>
                    </a:cubicBezTo>
                    <a:close/>
                    <a:moveTo>
                      <a:pt x="1774" y="127"/>
                    </a:moveTo>
                    <a:cubicBezTo>
                      <a:pt x="1751" y="127"/>
                      <a:pt x="1751" y="127"/>
                      <a:pt x="1751" y="127"/>
                    </a:cubicBezTo>
                    <a:cubicBezTo>
                      <a:pt x="1735" y="111"/>
                      <a:pt x="1735" y="111"/>
                      <a:pt x="1735" y="111"/>
                    </a:cubicBezTo>
                    <a:cubicBezTo>
                      <a:pt x="1727" y="103"/>
                      <a:pt x="1727" y="103"/>
                      <a:pt x="1727" y="103"/>
                    </a:cubicBezTo>
                    <a:cubicBezTo>
                      <a:pt x="1703" y="127"/>
                      <a:pt x="1703" y="127"/>
                      <a:pt x="1703" y="127"/>
                    </a:cubicBezTo>
                    <a:cubicBezTo>
                      <a:pt x="1703" y="127"/>
                      <a:pt x="1703" y="127"/>
                      <a:pt x="1703" y="127"/>
                    </a:cubicBezTo>
                    <a:cubicBezTo>
                      <a:pt x="1679" y="127"/>
                      <a:pt x="1679" y="127"/>
                      <a:pt x="1679" y="127"/>
                    </a:cubicBezTo>
                    <a:cubicBezTo>
                      <a:pt x="1711" y="87"/>
                      <a:pt x="1711" y="87"/>
                      <a:pt x="1711" y="87"/>
                    </a:cubicBezTo>
                    <a:cubicBezTo>
                      <a:pt x="1679" y="56"/>
                      <a:pt x="1679" y="56"/>
                      <a:pt x="1679" y="56"/>
                    </a:cubicBezTo>
                    <a:cubicBezTo>
                      <a:pt x="1703" y="56"/>
                      <a:pt x="1703" y="56"/>
                      <a:pt x="1703" y="56"/>
                    </a:cubicBezTo>
                    <a:cubicBezTo>
                      <a:pt x="1727" y="79"/>
                      <a:pt x="1727" y="79"/>
                      <a:pt x="1727" y="79"/>
                    </a:cubicBezTo>
                    <a:cubicBezTo>
                      <a:pt x="1751" y="56"/>
                      <a:pt x="1751" y="56"/>
                      <a:pt x="1751" y="56"/>
                    </a:cubicBezTo>
                    <a:cubicBezTo>
                      <a:pt x="1774" y="56"/>
                      <a:pt x="1774" y="56"/>
                      <a:pt x="1774" y="56"/>
                    </a:cubicBezTo>
                    <a:cubicBezTo>
                      <a:pt x="1735" y="87"/>
                      <a:pt x="1735" y="87"/>
                      <a:pt x="1735" y="87"/>
                    </a:cubicBezTo>
                    <a:cubicBezTo>
                      <a:pt x="1774" y="127"/>
                      <a:pt x="1774" y="127"/>
                      <a:pt x="1774" y="127"/>
                    </a:cubicBezTo>
                    <a:cubicBezTo>
                      <a:pt x="1774" y="127"/>
                      <a:pt x="1774" y="127"/>
                      <a:pt x="1774" y="12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9"/>
              <p:cNvSpPr>
                <a:spLocks noEditPoints="1"/>
              </p:cNvSpPr>
              <p:nvPr/>
            </p:nvSpPr>
            <p:spPr bwMode="auto">
              <a:xfrm>
                <a:off x="6852499" y="-281905"/>
                <a:ext cx="392657" cy="316491"/>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86" name="Group 85"/>
          <p:cNvGrpSpPr/>
          <p:nvPr/>
        </p:nvGrpSpPr>
        <p:grpSpPr>
          <a:xfrm>
            <a:off x="10300141" y="3000075"/>
            <a:ext cx="1004716" cy="646078"/>
            <a:chOff x="7521454" y="3473281"/>
            <a:chExt cx="1367640" cy="725706"/>
          </a:xfrm>
        </p:grpSpPr>
        <p:sp>
          <p:nvSpPr>
            <p:cNvPr id="87" name="Rectangle 86"/>
            <p:cNvSpPr/>
            <p:nvPr/>
          </p:nvSpPr>
          <p:spPr bwMode="auto">
            <a:xfrm>
              <a:off x="7535519" y="3720286"/>
              <a:ext cx="730193" cy="45481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grpSp>
          <p:nvGrpSpPr>
            <p:cNvPr id="89" name="Group 88"/>
            <p:cNvGrpSpPr/>
            <p:nvPr/>
          </p:nvGrpSpPr>
          <p:grpSpPr>
            <a:xfrm>
              <a:off x="7521454" y="3473281"/>
              <a:ext cx="1367640" cy="725706"/>
              <a:chOff x="10753987" y="-382545"/>
              <a:chExt cx="1367640" cy="725706"/>
            </a:xfrm>
          </p:grpSpPr>
          <p:grpSp>
            <p:nvGrpSpPr>
              <p:cNvPr id="90" name="Group 89"/>
              <p:cNvGrpSpPr/>
              <p:nvPr/>
            </p:nvGrpSpPr>
            <p:grpSpPr>
              <a:xfrm>
                <a:off x="10753987" y="-230591"/>
                <a:ext cx="757887" cy="573752"/>
                <a:chOff x="6703496" y="-429219"/>
                <a:chExt cx="690663" cy="522861"/>
              </a:xfrm>
            </p:grpSpPr>
            <p:sp>
              <p:nvSpPr>
                <p:cNvPr id="95" name="Freeform 5"/>
                <p:cNvSpPr>
                  <a:spLocks noEditPoints="1"/>
                </p:cNvSpPr>
                <p:nvPr/>
              </p:nvSpPr>
              <p:spPr bwMode="auto">
                <a:xfrm>
                  <a:off x="6703496" y="-429219"/>
                  <a:ext cx="690663" cy="522861"/>
                </a:xfrm>
                <a:custGeom>
                  <a:avLst/>
                  <a:gdLst>
                    <a:gd name="T0" fmla="*/ 1870 w 1894"/>
                    <a:gd name="T1" fmla="*/ 214 h 1435"/>
                    <a:gd name="T2" fmla="*/ 24 w 1894"/>
                    <a:gd name="T3" fmla="*/ 214 h 1435"/>
                    <a:gd name="T4" fmla="*/ 0 w 1894"/>
                    <a:gd name="T5" fmla="*/ 246 h 1435"/>
                    <a:gd name="T6" fmla="*/ 0 w 1894"/>
                    <a:gd name="T7" fmla="*/ 1404 h 1435"/>
                    <a:gd name="T8" fmla="*/ 24 w 1894"/>
                    <a:gd name="T9" fmla="*/ 1435 h 1435"/>
                    <a:gd name="T10" fmla="*/ 1870 w 1894"/>
                    <a:gd name="T11" fmla="*/ 1435 h 1435"/>
                    <a:gd name="T12" fmla="*/ 1894 w 1894"/>
                    <a:gd name="T13" fmla="*/ 1404 h 1435"/>
                    <a:gd name="T14" fmla="*/ 1894 w 1894"/>
                    <a:gd name="T15" fmla="*/ 246 h 1435"/>
                    <a:gd name="T16" fmla="*/ 1870 w 1894"/>
                    <a:gd name="T17" fmla="*/ 214 h 1435"/>
                    <a:gd name="T18" fmla="*/ 1822 w 1894"/>
                    <a:gd name="T19" fmla="*/ 1364 h 1435"/>
                    <a:gd name="T20" fmla="*/ 72 w 1894"/>
                    <a:gd name="T21" fmla="*/ 1364 h 1435"/>
                    <a:gd name="T22" fmla="*/ 72 w 1894"/>
                    <a:gd name="T23" fmla="*/ 293 h 1435"/>
                    <a:gd name="T24" fmla="*/ 1822 w 1894"/>
                    <a:gd name="T25" fmla="*/ 293 h 1435"/>
                    <a:gd name="T26" fmla="*/ 1822 w 1894"/>
                    <a:gd name="T27" fmla="*/ 1364 h 1435"/>
                    <a:gd name="T28" fmla="*/ 1822 w 1894"/>
                    <a:gd name="T29" fmla="*/ 1364 h 1435"/>
                    <a:gd name="T30" fmla="*/ 1607 w 1894"/>
                    <a:gd name="T31" fmla="*/ 111 h 1435"/>
                    <a:gd name="T32" fmla="*/ 1568 w 1894"/>
                    <a:gd name="T33" fmla="*/ 111 h 1435"/>
                    <a:gd name="T34" fmla="*/ 1568 w 1894"/>
                    <a:gd name="T35" fmla="*/ 71 h 1435"/>
                    <a:gd name="T36" fmla="*/ 1607 w 1894"/>
                    <a:gd name="T37" fmla="*/ 71 h 1435"/>
                    <a:gd name="T38" fmla="*/ 1607 w 1894"/>
                    <a:gd name="T39" fmla="*/ 111 h 1435"/>
                    <a:gd name="T40" fmla="*/ 1607 w 1894"/>
                    <a:gd name="T41" fmla="*/ 111 h 1435"/>
                    <a:gd name="T42" fmla="*/ 1870 w 1894"/>
                    <a:gd name="T43" fmla="*/ 0 h 1435"/>
                    <a:gd name="T44" fmla="*/ 24 w 1894"/>
                    <a:gd name="T45" fmla="*/ 0 h 1435"/>
                    <a:gd name="T46" fmla="*/ 0 w 1894"/>
                    <a:gd name="T47" fmla="*/ 24 h 1435"/>
                    <a:gd name="T48" fmla="*/ 0 w 1894"/>
                    <a:gd name="T49" fmla="*/ 159 h 1435"/>
                    <a:gd name="T50" fmla="*/ 24 w 1894"/>
                    <a:gd name="T51" fmla="*/ 182 h 1435"/>
                    <a:gd name="T52" fmla="*/ 1870 w 1894"/>
                    <a:gd name="T53" fmla="*/ 182 h 1435"/>
                    <a:gd name="T54" fmla="*/ 1894 w 1894"/>
                    <a:gd name="T55" fmla="*/ 159 h 1435"/>
                    <a:gd name="T56" fmla="*/ 1894 w 1894"/>
                    <a:gd name="T57" fmla="*/ 24 h 1435"/>
                    <a:gd name="T58" fmla="*/ 1870 w 1894"/>
                    <a:gd name="T59" fmla="*/ 0 h 1435"/>
                    <a:gd name="T60" fmla="*/ 1504 w 1894"/>
                    <a:gd name="T61" fmla="*/ 127 h 1435"/>
                    <a:gd name="T62" fmla="*/ 1416 w 1894"/>
                    <a:gd name="T63" fmla="*/ 127 h 1435"/>
                    <a:gd name="T64" fmla="*/ 1416 w 1894"/>
                    <a:gd name="T65" fmla="*/ 111 h 1435"/>
                    <a:gd name="T66" fmla="*/ 1504 w 1894"/>
                    <a:gd name="T67" fmla="*/ 111 h 1435"/>
                    <a:gd name="T68" fmla="*/ 1504 w 1894"/>
                    <a:gd name="T69" fmla="*/ 127 h 1435"/>
                    <a:gd name="T70" fmla="*/ 1504 w 1894"/>
                    <a:gd name="T71" fmla="*/ 127 h 1435"/>
                    <a:gd name="T72" fmla="*/ 1615 w 1894"/>
                    <a:gd name="T73" fmla="*/ 127 h 1435"/>
                    <a:gd name="T74" fmla="*/ 1552 w 1894"/>
                    <a:gd name="T75" fmla="*/ 127 h 1435"/>
                    <a:gd name="T76" fmla="*/ 1552 w 1894"/>
                    <a:gd name="T77" fmla="*/ 56 h 1435"/>
                    <a:gd name="T78" fmla="*/ 1615 w 1894"/>
                    <a:gd name="T79" fmla="*/ 56 h 1435"/>
                    <a:gd name="T80" fmla="*/ 1615 w 1894"/>
                    <a:gd name="T81" fmla="*/ 127 h 1435"/>
                    <a:gd name="T82" fmla="*/ 1615 w 1894"/>
                    <a:gd name="T83" fmla="*/ 127 h 1435"/>
                    <a:gd name="T84" fmla="*/ 1774 w 1894"/>
                    <a:gd name="T85" fmla="*/ 127 h 1435"/>
                    <a:gd name="T86" fmla="*/ 1751 w 1894"/>
                    <a:gd name="T87" fmla="*/ 127 h 1435"/>
                    <a:gd name="T88" fmla="*/ 1735 w 1894"/>
                    <a:gd name="T89" fmla="*/ 111 h 1435"/>
                    <a:gd name="T90" fmla="*/ 1727 w 1894"/>
                    <a:gd name="T91" fmla="*/ 103 h 1435"/>
                    <a:gd name="T92" fmla="*/ 1703 w 1894"/>
                    <a:gd name="T93" fmla="*/ 127 h 1435"/>
                    <a:gd name="T94" fmla="*/ 1703 w 1894"/>
                    <a:gd name="T95" fmla="*/ 127 h 1435"/>
                    <a:gd name="T96" fmla="*/ 1679 w 1894"/>
                    <a:gd name="T97" fmla="*/ 127 h 1435"/>
                    <a:gd name="T98" fmla="*/ 1711 w 1894"/>
                    <a:gd name="T99" fmla="*/ 87 h 1435"/>
                    <a:gd name="T100" fmla="*/ 1679 w 1894"/>
                    <a:gd name="T101" fmla="*/ 56 h 1435"/>
                    <a:gd name="T102" fmla="*/ 1703 w 1894"/>
                    <a:gd name="T103" fmla="*/ 56 h 1435"/>
                    <a:gd name="T104" fmla="*/ 1727 w 1894"/>
                    <a:gd name="T105" fmla="*/ 79 h 1435"/>
                    <a:gd name="T106" fmla="*/ 1751 w 1894"/>
                    <a:gd name="T107" fmla="*/ 56 h 1435"/>
                    <a:gd name="T108" fmla="*/ 1774 w 1894"/>
                    <a:gd name="T109" fmla="*/ 56 h 1435"/>
                    <a:gd name="T110" fmla="*/ 1735 w 1894"/>
                    <a:gd name="T111" fmla="*/ 87 h 1435"/>
                    <a:gd name="T112" fmla="*/ 1774 w 1894"/>
                    <a:gd name="T113" fmla="*/ 127 h 1435"/>
                    <a:gd name="T114" fmla="*/ 1774 w 1894"/>
                    <a:gd name="T115" fmla="*/ 127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94" h="1435">
                      <a:moveTo>
                        <a:pt x="1870" y="214"/>
                      </a:moveTo>
                      <a:cubicBezTo>
                        <a:pt x="24" y="214"/>
                        <a:pt x="24" y="214"/>
                        <a:pt x="24" y="214"/>
                      </a:cubicBezTo>
                      <a:cubicBezTo>
                        <a:pt x="8" y="214"/>
                        <a:pt x="0" y="230"/>
                        <a:pt x="0" y="246"/>
                      </a:cubicBezTo>
                      <a:cubicBezTo>
                        <a:pt x="0" y="1404"/>
                        <a:pt x="0" y="1404"/>
                        <a:pt x="0" y="1404"/>
                      </a:cubicBezTo>
                      <a:cubicBezTo>
                        <a:pt x="0" y="1420"/>
                        <a:pt x="8" y="1435"/>
                        <a:pt x="24" y="1435"/>
                      </a:cubicBezTo>
                      <a:cubicBezTo>
                        <a:pt x="1870" y="1435"/>
                        <a:pt x="1870" y="1435"/>
                        <a:pt x="1870" y="1435"/>
                      </a:cubicBezTo>
                      <a:cubicBezTo>
                        <a:pt x="1886" y="1435"/>
                        <a:pt x="1894" y="1420"/>
                        <a:pt x="1894" y="1404"/>
                      </a:cubicBezTo>
                      <a:cubicBezTo>
                        <a:pt x="1894" y="246"/>
                        <a:pt x="1894" y="246"/>
                        <a:pt x="1894" y="246"/>
                      </a:cubicBezTo>
                      <a:cubicBezTo>
                        <a:pt x="1894" y="230"/>
                        <a:pt x="1886" y="214"/>
                        <a:pt x="1870" y="214"/>
                      </a:cubicBezTo>
                      <a:close/>
                      <a:moveTo>
                        <a:pt x="1822" y="1364"/>
                      </a:moveTo>
                      <a:cubicBezTo>
                        <a:pt x="72" y="1364"/>
                        <a:pt x="72" y="1364"/>
                        <a:pt x="72" y="1364"/>
                      </a:cubicBezTo>
                      <a:cubicBezTo>
                        <a:pt x="72" y="293"/>
                        <a:pt x="72" y="293"/>
                        <a:pt x="72" y="293"/>
                      </a:cubicBezTo>
                      <a:cubicBezTo>
                        <a:pt x="1822" y="293"/>
                        <a:pt x="1822" y="293"/>
                        <a:pt x="1822" y="293"/>
                      </a:cubicBezTo>
                      <a:cubicBezTo>
                        <a:pt x="1822" y="1364"/>
                        <a:pt x="1822" y="1364"/>
                        <a:pt x="1822" y="1364"/>
                      </a:cubicBezTo>
                      <a:cubicBezTo>
                        <a:pt x="1822" y="1364"/>
                        <a:pt x="1822" y="1364"/>
                        <a:pt x="1822" y="1364"/>
                      </a:cubicBezTo>
                      <a:close/>
                      <a:moveTo>
                        <a:pt x="1607" y="111"/>
                      </a:moveTo>
                      <a:cubicBezTo>
                        <a:pt x="1568" y="111"/>
                        <a:pt x="1568" y="111"/>
                        <a:pt x="1568" y="111"/>
                      </a:cubicBezTo>
                      <a:cubicBezTo>
                        <a:pt x="1568" y="71"/>
                        <a:pt x="1568" y="71"/>
                        <a:pt x="1568" y="71"/>
                      </a:cubicBezTo>
                      <a:cubicBezTo>
                        <a:pt x="1607" y="71"/>
                        <a:pt x="1607" y="71"/>
                        <a:pt x="1607" y="71"/>
                      </a:cubicBezTo>
                      <a:cubicBezTo>
                        <a:pt x="1607" y="111"/>
                        <a:pt x="1607" y="111"/>
                        <a:pt x="1607" y="111"/>
                      </a:cubicBezTo>
                      <a:cubicBezTo>
                        <a:pt x="1607" y="111"/>
                        <a:pt x="1607" y="111"/>
                        <a:pt x="1607" y="111"/>
                      </a:cubicBezTo>
                      <a:close/>
                      <a:moveTo>
                        <a:pt x="1870" y="0"/>
                      </a:moveTo>
                      <a:cubicBezTo>
                        <a:pt x="24" y="0"/>
                        <a:pt x="24" y="0"/>
                        <a:pt x="24" y="0"/>
                      </a:cubicBezTo>
                      <a:cubicBezTo>
                        <a:pt x="8" y="0"/>
                        <a:pt x="0" y="8"/>
                        <a:pt x="0" y="24"/>
                      </a:cubicBezTo>
                      <a:cubicBezTo>
                        <a:pt x="0" y="159"/>
                        <a:pt x="0" y="159"/>
                        <a:pt x="0" y="159"/>
                      </a:cubicBezTo>
                      <a:cubicBezTo>
                        <a:pt x="0" y="175"/>
                        <a:pt x="8" y="182"/>
                        <a:pt x="24" y="182"/>
                      </a:cubicBezTo>
                      <a:cubicBezTo>
                        <a:pt x="1870" y="182"/>
                        <a:pt x="1870" y="182"/>
                        <a:pt x="1870" y="182"/>
                      </a:cubicBezTo>
                      <a:cubicBezTo>
                        <a:pt x="1886" y="182"/>
                        <a:pt x="1894" y="175"/>
                        <a:pt x="1894" y="159"/>
                      </a:cubicBezTo>
                      <a:cubicBezTo>
                        <a:pt x="1894" y="24"/>
                        <a:pt x="1894" y="24"/>
                        <a:pt x="1894" y="24"/>
                      </a:cubicBezTo>
                      <a:cubicBezTo>
                        <a:pt x="1894" y="8"/>
                        <a:pt x="1886" y="0"/>
                        <a:pt x="1870" y="0"/>
                      </a:cubicBezTo>
                      <a:close/>
                      <a:moveTo>
                        <a:pt x="1504" y="127"/>
                      </a:moveTo>
                      <a:cubicBezTo>
                        <a:pt x="1416" y="127"/>
                        <a:pt x="1416" y="127"/>
                        <a:pt x="1416" y="127"/>
                      </a:cubicBezTo>
                      <a:cubicBezTo>
                        <a:pt x="1416" y="111"/>
                        <a:pt x="1416" y="111"/>
                        <a:pt x="1416" y="111"/>
                      </a:cubicBezTo>
                      <a:cubicBezTo>
                        <a:pt x="1504" y="111"/>
                        <a:pt x="1504" y="111"/>
                        <a:pt x="1504" y="111"/>
                      </a:cubicBezTo>
                      <a:cubicBezTo>
                        <a:pt x="1504" y="127"/>
                        <a:pt x="1504" y="127"/>
                        <a:pt x="1504" y="127"/>
                      </a:cubicBezTo>
                      <a:cubicBezTo>
                        <a:pt x="1504" y="127"/>
                        <a:pt x="1504" y="127"/>
                        <a:pt x="1504" y="127"/>
                      </a:cubicBezTo>
                      <a:close/>
                      <a:moveTo>
                        <a:pt x="1615" y="127"/>
                      </a:moveTo>
                      <a:cubicBezTo>
                        <a:pt x="1552" y="127"/>
                        <a:pt x="1552" y="127"/>
                        <a:pt x="1552" y="127"/>
                      </a:cubicBezTo>
                      <a:cubicBezTo>
                        <a:pt x="1552" y="56"/>
                        <a:pt x="1552" y="56"/>
                        <a:pt x="1552" y="56"/>
                      </a:cubicBezTo>
                      <a:cubicBezTo>
                        <a:pt x="1615" y="56"/>
                        <a:pt x="1615" y="56"/>
                        <a:pt x="1615" y="56"/>
                      </a:cubicBezTo>
                      <a:cubicBezTo>
                        <a:pt x="1615" y="127"/>
                        <a:pt x="1615" y="127"/>
                        <a:pt x="1615" y="127"/>
                      </a:cubicBezTo>
                      <a:cubicBezTo>
                        <a:pt x="1615" y="127"/>
                        <a:pt x="1615" y="127"/>
                        <a:pt x="1615" y="127"/>
                      </a:cubicBezTo>
                      <a:close/>
                      <a:moveTo>
                        <a:pt x="1774" y="127"/>
                      </a:moveTo>
                      <a:cubicBezTo>
                        <a:pt x="1751" y="127"/>
                        <a:pt x="1751" y="127"/>
                        <a:pt x="1751" y="127"/>
                      </a:cubicBezTo>
                      <a:cubicBezTo>
                        <a:pt x="1735" y="111"/>
                        <a:pt x="1735" y="111"/>
                        <a:pt x="1735" y="111"/>
                      </a:cubicBezTo>
                      <a:cubicBezTo>
                        <a:pt x="1727" y="103"/>
                        <a:pt x="1727" y="103"/>
                        <a:pt x="1727" y="103"/>
                      </a:cubicBezTo>
                      <a:cubicBezTo>
                        <a:pt x="1703" y="127"/>
                        <a:pt x="1703" y="127"/>
                        <a:pt x="1703" y="127"/>
                      </a:cubicBezTo>
                      <a:cubicBezTo>
                        <a:pt x="1703" y="127"/>
                        <a:pt x="1703" y="127"/>
                        <a:pt x="1703" y="127"/>
                      </a:cubicBezTo>
                      <a:cubicBezTo>
                        <a:pt x="1679" y="127"/>
                        <a:pt x="1679" y="127"/>
                        <a:pt x="1679" y="127"/>
                      </a:cubicBezTo>
                      <a:cubicBezTo>
                        <a:pt x="1711" y="87"/>
                        <a:pt x="1711" y="87"/>
                        <a:pt x="1711" y="87"/>
                      </a:cubicBezTo>
                      <a:cubicBezTo>
                        <a:pt x="1679" y="56"/>
                        <a:pt x="1679" y="56"/>
                        <a:pt x="1679" y="56"/>
                      </a:cubicBezTo>
                      <a:cubicBezTo>
                        <a:pt x="1703" y="56"/>
                        <a:pt x="1703" y="56"/>
                        <a:pt x="1703" y="56"/>
                      </a:cubicBezTo>
                      <a:cubicBezTo>
                        <a:pt x="1727" y="79"/>
                        <a:pt x="1727" y="79"/>
                        <a:pt x="1727" y="79"/>
                      </a:cubicBezTo>
                      <a:cubicBezTo>
                        <a:pt x="1751" y="56"/>
                        <a:pt x="1751" y="56"/>
                        <a:pt x="1751" y="56"/>
                      </a:cubicBezTo>
                      <a:cubicBezTo>
                        <a:pt x="1774" y="56"/>
                        <a:pt x="1774" y="56"/>
                        <a:pt x="1774" y="56"/>
                      </a:cubicBezTo>
                      <a:cubicBezTo>
                        <a:pt x="1735" y="87"/>
                        <a:pt x="1735" y="87"/>
                        <a:pt x="1735" y="87"/>
                      </a:cubicBezTo>
                      <a:cubicBezTo>
                        <a:pt x="1774" y="127"/>
                        <a:pt x="1774" y="127"/>
                        <a:pt x="1774" y="127"/>
                      </a:cubicBezTo>
                      <a:cubicBezTo>
                        <a:pt x="1774" y="127"/>
                        <a:pt x="1774" y="127"/>
                        <a:pt x="1774" y="12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9"/>
                <p:cNvSpPr>
                  <a:spLocks noEditPoints="1"/>
                </p:cNvSpPr>
                <p:nvPr/>
              </p:nvSpPr>
              <p:spPr bwMode="auto">
                <a:xfrm>
                  <a:off x="6852499" y="-281905"/>
                  <a:ext cx="392657" cy="316491"/>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90"/>
              <p:cNvSpPr/>
              <p:nvPr/>
            </p:nvSpPr>
            <p:spPr bwMode="auto">
              <a:xfrm>
                <a:off x="11363740" y="-380020"/>
                <a:ext cx="757887" cy="56762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grpSp>
            <p:nvGrpSpPr>
              <p:cNvPr id="92" name="Group 91"/>
              <p:cNvGrpSpPr/>
              <p:nvPr/>
            </p:nvGrpSpPr>
            <p:grpSpPr>
              <a:xfrm>
                <a:off x="11344853" y="-382545"/>
                <a:ext cx="757887" cy="573752"/>
                <a:chOff x="6703496" y="-429219"/>
                <a:chExt cx="690663" cy="522861"/>
              </a:xfrm>
            </p:grpSpPr>
            <p:sp>
              <p:nvSpPr>
                <p:cNvPr id="93" name="Freeform 5"/>
                <p:cNvSpPr>
                  <a:spLocks noEditPoints="1"/>
                </p:cNvSpPr>
                <p:nvPr/>
              </p:nvSpPr>
              <p:spPr bwMode="auto">
                <a:xfrm>
                  <a:off x="6703496" y="-429219"/>
                  <a:ext cx="690663" cy="522861"/>
                </a:xfrm>
                <a:custGeom>
                  <a:avLst/>
                  <a:gdLst>
                    <a:gd name="T0" fmla="*/ 1870 w 1894"/>
                    <a:gd name="T1" fmla="*/ 214 h 1435"/>
                    <a:gd name="T2" fmla="*/ 24 w 1894"/>
                    <a:gd name="T3" fmla="*/ 214 h 1435"/>
                    <a:gd name="T4" fmla="*/ 0 w 1894"/>
                    <a:gd name="T5" fmla="*/ 246 h 1435"/>
                    <a:gd name="T6" fmla="*/ 0 w 1894"/>
                    <a:gd name="T7" fmla="*/ 1404 h 1435"/>
                    <a:gd name="T8" fmla="*/ 24 w 1894"/>
                    <a:gd name="T9" fmla="*/ 1435 h 1435"/>
                    <a:gd name="T10" fmla="*/ 1870 w 1894"/>
                    <a:gd name="T11" fmla="*/ 1435 h 1435"/>
                    <a:gd name="T12" fmla="*/ 1894 w 1894"/>
                    <a:gd name="T13" fmla="*/ 1404 h 1435"/>
                    <a:gd name="T14" fmla="*/ 1894 w 1894"/>
                    <a:gd name="T15" fmla="*/ 246 h 1435"/>
                    <a:gd name="T16" fmla="*/ 1870 w 1894"/>
                    <a:gd name="T17" fmla="*/ 214 h 1435"/>
                    <a:gd name="T18" fmla="*/ 1822 w 1894"/>
                    <a:gd name="T19" fmla="*/ 1364 h 1435"/>
                    <a:gd name="T20" fmla="*/ 72 w 1894"/>
                    <a:gd name="T21" fmla="*/ 1364 h 1435"/>
                    <a:gd name="T22" fmla="*/ 72 w 1894"/>
                    <a:gd name="T23" fmla="*/ 293 h 1435"/>
                    <a:gd name="T24" fmla="*/ 1822 w 1894"/>
                    <a:gd name="T25" fmla="*/ 293 h 1435"/>
                    <a:gd name="T26" fmla="*/ 1822 w 1894"/>
                    <a:gd name="T27" fmla="*/ 1364 h 1435"/>
                    <a:gd name="T28" fmla="*/ 1822 w 1894"/>
                    <a:gd name="T29" fmla="*/ 1364 h 1435"/>
                    <a:gd name="T30" fmla="*/ 1607 w 1894"/>
                    <a:gd name="T31" fmla="*/ 111 h 1435"/>
                    <a:gd name="T32" fmla="*/ 1568 w 1894"/>
                    <a:gd name="T33" fmla="*/ 111 h 1435"/>
                    <a:gd name="T34" fmla="*/ 1568 w 1894"/>
                    <a:gd name="T35" fmla="*/ 71 h 1435"/>
                    <a:gd name="T36" fmla="*/ 1607 w 1894"/>
                    <a:gd name="T37" fmla="*/ 71 h 1435"/>
                    <a:gd name="T38" fmla="*/ 1607 w 1894"/>
                    <a:gd name="T39" fmla="*/ 111 h 1435"/>
                    <a:gd name="T40" fmla="*/ 1607 w 1894"/>
                    <a:gd name="T41" fmla="*/ 111 h 1435"/>
                    <a:gd name="T42" fmla="*/ 1870 w 1894"/>
                    <a:gd name="T43" fmla="*/ 0 h 1435"/>
                    <a:gd name="T44" fmla="*/ 24 w 1894"/>
                    <a:gd name="T45" fmla="*/ 0 h 1435"/>
                    <a:gd name="T46" fmla="*/ 0 w 1894"/>
                    <a:gd name="T47" fmla="*/ 24 h 1435"/>
                    <a:gd name="T48" fmla="*/ 0 w 1894"/>
                    <a:gd name="T49" fmla="*/ 159 h 1435"/>
                    <a:gd name="T50" fmla="*/ 24 w 1894"/>
                    <a:gd name="T51" fmla="*/ 182 h 1435"/>
                    <a:gd name="T52" fmla="*/ 1870 w 1894"/>
                    <a:gd name="T53" fmla="*/ 182 h 1435"/>
                    <a:gd name="T54" fmla="*/ 1894 w 1894"/>
                    <a:gd name="T55" fmla="*/ 159 h 1435"/>
                    <a:gd name="T56" fmla="*/ 1894 w 1894"/>
                    <a:gd name="T57" fmla="*/ 24 h 1435"/>
                    <a:gd name="T58" fmla="*/ 1870 w 1894"/>
                    <a:gd name="T59" fmla="*/ 0 h 1435"/>
                    <a:gd name="T60" fmla="*/ 1504 w 1894"/>
                    <a:gd name="T61" fmla="*/ 127 h 1435"/>
                    <a:gd name="T62" fmla="*/ 1416 w 1894"/>
                    <a:gd name="T63" fmla="*/ 127 h 1435"/>
                    <a:gd name="T64" fmla="*/ 1416 w 1894"/>
                    <a:gd name="T65" fmla="*/ 111 h 1435"/>
                    <a:gd name="T66" fmla="*/ 1504 w 1894"/>
                    <a:gd name="T67" fmla="*/ 111 h 1435"/>
                    <a:gd name="T68" fmla="*/ 1504 w 1894"/>
                    <a:gd name="T69" fmla="*/ 127 h 1435"/>
                    <a:gd name="T70" fmla="*/ 1504 w 1894"/>
                    <a:gd name="T71" fmla="*/ 127 h 1435"/>
                    <a:gd name="T72" fmla="*/ 1615 w 1894"/>
                    <a:gd name="T73" fmla="*/ 127 h 1435"/>
                    <a:gd name="T74" fmla="*/ 1552 w 1894"/>
                    <a:gd name="T75" fmla="*/ 127 h 1435"/>
                    <a:gd name="T76" fmla="*/ 1552 w 1894"/>
                    <a:gd name="T77" fmla="*/ 56 h 1435"/>
                    <a:gd name="T78" fmla="*/ 1615 w 1894"/>
                    <a:gd name="T79" fmla="*/ 56 h 1435"/>
                    <a:gd name="T80" fmla="*/ 1615 w 1894"/>
                    <a:gd name="T81" fmla="*/ 127 h 1435"/>
                    <a:gd name="T82" fmla="*/ 1615 w 1894"/>
                    <a:gd name="T83" fmla="*/ 127 h 1435"/>
                    <a:gd name="T84" fmla="*/ 1774 w 1894"/>
                    <a:gd name="T85" fmla="*/ 127 h 1435"/>
                    <a:gd name="T86" fmla="*/ 1751 w 1894"/>
                    <a:gd name="T87" fmla="*/ 127 h 1435"/>
                    <a:gd name="T88" fmla="*/ 1735 w 1894"/>
                    <a:gd name="T89" fmla="*/ 111 h 1435"/>
                    <a:gd name="T90" fmla="*/ 1727 w 1894"/>
                    <a:gd name="T91" fmla="*/ 103 h 1435"/>
                    <a:gd name="T92" fmla="*/ 1703 w 1894"/>
                    <a:gd name="T93" fmla="*/ 127 h 1435"/>
                    <a:gd name="T94" fmla="*/ 1703 w 1894"/>
                    <a:gd name="T95" fmla="*/ 127 h 1435"/>
                    <a:gd name="T96" fmla="*/ 1679 w 1894"/>
                    <a:gd name="T97" fmla="*/ 127 h 1435"/>
                    <a:gd name="T98" fmla="*/ 1711 w 1894"/>
                    <a:gd name="T99" fmla="*/ 87 h 1435"/>
                    <a:gd name="T100" fmla="*/ 1679 w 1894"/>
                    <a:gd name="T101" fmla="*/ 56 h 1435"/>
                    <a:gd name="T102" fmla="*/ 1703 w 1894"/>
                    <a:gd name="T103" fmla="*/ 56 h 1435"/>
                    <a:gd name="T104" fmla="*/ 1727 w 1894"/>
                    <a:gd name="T105" fmla="*/ 79 h 1435"/>
                    <a:gd name="T106" fmla="*/ 1751 w 1894"/>
                    <a:gd name="T107" fmla="*/ 56 h 1435"/>
                    <a:gd name="T108" fmla="*/ 1774 w 1894"/>
                    <a:gd name="T109" fmla="*/ 56 h 1435"/>
                    <a:gd name="T110" fmla="*/ 1735 w 1894"/>
                    <a:gd name="T111" fmla="*/ 87 h 1435"/>
                    <a:gd name="T112" fmla="*/ 1774 w 1894"/>
                    <a:gd name="T113" fmla="*/ 127 h 1435"/>
                    <a:gd name="T114" fmla="*/ 1774 w 1894"/>
                    <a:gd name="T115" fmla="*/ 127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94" h="1435">
                      <a:moveTo>
                        <a:pt x="1870" y="214"/>
                      </a:moveTo>
                      <a:cubicBezTo>
                        <a:pt x="24" y="214"/>
                        <a:pt x="24" y="214"/>
                        <a:pt x="24" y="214"/>
                      </a:cubicBezTo>
                      <a:cubicBezTo>
                        <a:pt x="8" y="214"/>
                        <a:pt x="0" y="230"/>
                        <a:pt x="0" y="246"/>
                      </a:cubicBezTo>
                      <a:cubicBezTo>
                        <a:pt x="0" y="1404"/>
                        <a:pt x="0" y="1404"/>
                        <a:pt x="0" y="1404"/>
                      </a:cubicBezTo>
                      <a:cubicBezTo>
                        <a:pt x="0" y="1420"/>
                        <a:pt x="8" y="1435"/>
                        <a:pt x="24" y="1435"/>
                      </a:cubicBezTo>
                      <a:cubicBezTo>
                        <a:pt x="1870" y="1435"/>
                        <a:pt x="1870" y="1435"/>
                        <a:pt x="1870" y="1435"/>
                      </a:cubicBezTo>
                      <a:cubicBezTo>
                        <a:pt x="1886" y="1435"/>
                        <a:pt x="1894" y="1420"/>
                        <a:pt x="1894" y="1404"/>
                      </a:cubicBezTo>
                      <a:cubicBezTo>
                        <a:pt x="1894" y="246"/>
                        <a:pt x="1894" y="246"/>
                        <a:pt x="1894" y="246"/>
                      </a:cubicBezTo>
                      <a:cubicBezTo>
                        <a:pt x="1894" y="230"/>
                        <a:pt x="1886" y="214"/>
                        <a:pt x="1870" y="214"/>
                      </a:cubicBezTo>
                      <a:close/>
                      <a:moveTo>
                        <a:pt x="1822" y="1364"/>
                      </a:moveTo>
                      <a:cubicBezTo>
                        <a:pt x="72" y="1364"/>
                        <a:pt x="72" y="1364"/>
                        <a:pt x="72" y="1364"/>
                      </a:cubicBezTo>
                      <a:cubicBezTo>
                        <a:pt x="72" y="293"/>
                        <a:pt x="72" y="293"/>
                        <a:pt x="72" y="293"/>
                      </a:cubicBezTo>
                      <a:cubicBezTo>
                        <a:pt x="1822" y="293"/>
                        <a:pt x="1822" y="293"/>
                        <a:pt x="1822" y="293"/>
                      </a:cubicBezTo>
                      <a:cubicBezTo>
                        <a:pt x="1822" y="1364"/>
                        <a:pt x="1822" y="1364"/>
                        <a:pt x="1822" y="1364"/>
                      </a:cubicBezTo>
                      <a:cubicBezTo>
                        <a:pt x="1822" y="1364"/>
                        <a:pt x="1822" y="1364"/>
                        <a:pt x="1822" y="1364"/>
                      </a:cubicBezTo>
                      <a:close/>
                      <a:moveTo>
                        <a:pt x="1607" y="111"/>
                      </a:moveTo>
                      <a:cubicBezTo>
                        <a:pt x="1568" y="111"/>
                        <a:pt x="1568" y="111"/>
                        <a:pt x="1568" y="111"/>
                      </a:cubicBezTo>
                      <a:cubicBezTo>
                        <a:pt x="1568" y="71"/>
                        <a:pt x="1568" y="71"/>
                        <a:pt x="1568" y="71"/>
                      </a:cubicBezTo>
                      <a:cubicBezTo>
                        <a:pt x="1607" y="71"/>
                        <a:pt x="1607" y="71"/>
                        <a:pt x="1607" y="71"/>
                      </a:cubicBezTo>
                      <a:cubicBezTo>
                        <a:pt x="1607" y="111"/>
                        <a:pt x="1607" y="111"/>
                        <a:pt x="1607" y="111"/>
                      </a:cubicBezTo>
                      <a:cubicBezTo>
                        <a:pt x="1607" y="111"/>
                        <a:pt x="1607" y="111"/>
                        <a:pt x="1607" y="111"/>
                      </a:cubicBezTo>
                      <a:close/>
                      <a:moveTo>
                        <a:pt x="1870" y="0"/>
                      </a:moveTo>
                      <a:cubicBezTo>
                        <a:pt x="24" y="0"/>
                        <a:pt x="24" y="0"/>
                        <a:pt x="24" y="0"/>
                      </a:cubicBezTo>
                      <a:cubicBezTo>
                        <a:pt x="8" y="0"/>
                        <a:pt x="0" y="8"/>
                        <a:pt x="0" y="24"/>
                      </a:cubicBezTo>
                      <a:cubicBezTo>
                        <a:pt x="0" y="159"/>
                        <a:pt x="0" y="159"/>
                        <a:pt x="0" y="159"/>
                      </a:cubicBezTo>
                      <a:cubicBezTo>
                        <a:pt x="0" y="175"/>
                        <a:pt x="8" y="182"/>
                        <a:pt x="24" y="182"/>
                      </a:cubicBezTo>
                      <a:cubicBezTo>
                        <a:pt x="1870" y="182"/>
                        <a:pt x="1870" y="182"/>
                        <a:pt x="1870" y="182"/>
                      </a:cubicBezTo>
                      <a:cubicBezTo>
                        <a:pt x="1886" y="182"/>
                        <a:pt x="1894" y="175"/>
                        <a:pt x="1894" y="159"/>
                      </a:cubicBezTo>
                      <a:cubicBezTo>
                        <a:pt x="1894" y="24"/>
                        <a:pt x="1894" y="24"/>
                        <a:pt x="1894" y="24"/>
                      </a:cubicBezTo>
                      <a:cubicBezTo>
                        <a:pt x="1894" y="8"/>
                        <a:pt x="1886" y="0"/>
                        <a:pt x="1870" y="0"/>
                      </a:cubicBezTo>
                      <a:close/>
                      <a:moveTo>
                        <a:pt x="1504" y="127"/>
                      </a:moveTo>
                      <a:cubicBezTo>
                        <a:pt x="1416" y="127"/>
                        <a:pt x="1416" y="127"/>
                        <a:pt x="1416" y="127"/>
                      </a:cubicBezTo>
                      <a:cubicBezTo>
                        <a:pt x="1416" y="111"/>
                        <a:pt x="1416" y="111"/>
                        <a:pt x="1416" y="111"/>
                      </a:cubicBezTo>
                      <a:cubicBezTo>
                        <a:pt x="1504" y="111"/>
                        <a:pt x="1504" y="111"/>
                        <a:pt x="1504" y="111"/>
                      </a:cubicBezTo>
                      <a:cubicBezTo>
                        <a:pt x="1504" y="127"/>
                        <a:pt x="1504" y="127"/>
                        <a:pt x="1504" y="127"/>
                      </a:cubicBezTo>
                      <a:cubicBezTo>
                        <a:pt x="1504" y="127"/>
                        <a:pt x="1504" y="127"/>
                        <a:pt x="1504" y="127"/>
                      </a:cubicBezTo>
                      <a:close/>
                      <a:moveTo>
                        <a:pt x="1615" y="127"/>
                      </a:moveTo>
                      <a:cubicBezTo>
                        <a:pt x="1552" y="127"/>
                        <a:pt x="1552" y="127"/>
                        <a:pt x="1552" y="127"/>
                      </a:cubicBezTo>
                      <a:cubicBezTo>
                        <a:pt x="1552" y="56"/>
                        <a:pt x="1552" y="56"/>
                        <a:pt x="1552" y="56"/>
                      </a:cubicBezTo>
                      <a:cubicBezTo>
                        <a:pt x="1615" y="56"/>
                        <a:pt x="1615" y="56"/>
                        <a:pt x="1615" y="56"/>
                      </a:cubicBezTo>
                      <a:cubicBezTo>
                        <a:pt x="1615" y="127"/>
                        <a:pt x="1615" y="127"/>
                        <a:pt x="1615" y="127"/>
                      </a:cubicBezTo>
                      <a:cubicBezTo>
                        <a:pt x="1615" y="127"/>
                        <a:pt x="1615" y="127"/>
                        <a:pt x="1615" y="127"/>
                      </a:cubicBezTo>
                      <a:close/>
                      <a:moveTo>
                        <a:pt x="1774" y="127"/>
                      </a:moveTo>
                      <a:cubicBezTo>
                        <a:pt x="1751" y="127"/>
                        <a:pt x="1751" y="127"/>
                        <a:pt x="1751" y="127"/>
                      </a:cubicBezTo>
                      <a:cubicBezTo>
                        <a:pt x="1735" y="111"/>
                        <a:pt x="1735" y="111"/>
                        <a:pt x="1735" y="111"/>
                      </a:cubicBezTo>
                      <a:cubicBezTo>
                        <a:pt x="1727" y="103"/>
                        <a:pt x="1727" y="103"/>
                        <a:pt x="1727" y="103"/>
                      </a:cubicBezTo>
                      <a:cubicBezTo>
                        <a:pt x="1703" y="127"/>
                        <a:pt x="1703" y="127"/>
                        <a:pt x="1703" y="127"/>
                      </a:cubicBezTo>
                      <a:cubicBezTo>
                        <a:pt x="1703" y="127"/>
                        <a:pt x="1703" y="127"/>
                        <a:pt x="1703" y="127"/>
                      </a:cubicBezTo>
                      <a:cubicBezTo>
                        <a:pt x="1679" y="127"/>
                        <a:pt x="1679" y="127"/>
                        <a:pt x="1679" y="127"/>
                      </a:cubicBezTo>
                      <a:cubicBezTo>
                        <a:pt x="1711" y="87"/>
                        <a:pt x="1711" y="87"/>
                        <a:pt x="1711" y="87"/>
                      </a:cubicBezTo>
                      <a:cubicBezTo>
                        <a:pt x="1679" y="56"/>
                        <a:pt x="1679" y="56"/>
                        <a:pt x="1679" y="56"/>
                      </a:cubicBezTo>
                      <a:cubicBezTo>
                        <a:pt x="1703" y="56"/>
                        <a:pt x="1703" y="56"/>
                        <a:pt x="1703" y="56"/>
                      </a:cubicBezTo>
                      <a:cubicBezTo>
                        <a:pt x="1727" y="79"/>
                        <a:pt x="1727" y="79"/>
                        <a:pt x="1727" y="79"/>
                      </a:cubicBezTo>
                      <a:cubicBezTo>
                        <a:pt x="1751" y="56"/>
                        <a:pt x="1751" y="56"/>
                        <a:pt x="1751" y="56"/>
                      </a:cubicBezTo>
                      <a:cubicBezTo>
                        <a:pt x="1774" y="56"/>
                        <a:pt x="1774" y="56"/>
                        <a:pt x="1774" y="56"/>
                      </a:cubicBezTo>
                      <a:cubicBezTo>
                        <a:pt x="1735" y="87"/>
                        <a:pt x="1735" y="87"/>
                        <a:pt x="1735" y="87"/>
                      </a:cubicBezTo>
                      <a:cubicBezTo>
                        <a:pt x="1774" y="127"/>
                        <a:pt x="1774" y="127"/>
                        <a:pt x="1774" y="127"/>
                      </a:cubicBezTo>
                      <a:cubicBezTo>
                        <a:pt x="1774" y="127"/>
                        <a:pt x="1774" y="127"/>
                        <a:pt x="1774" y="12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Freeform 9"/>
                <p:cNvSpPr>
                  <a:spLocks noEditPoints="1"/>
                </p:cNvSpPr>
                <p:nvPr/>
              </p:nvSpPr>
              <p:spPr bwMode="auto">
                <a:xfrm>
                  <a:off x="6852499" y="-281905"/>
                  <a:ext cx="392657" cy="316491"/>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cxnSp>
        <p:nvCxnSpPr>
          <p:cNvPr id="100" name="Straight Connector 99"/>
          <p:cNvCxnSpPr/>
          <p:nvPr/>
        </p:nvCxnSpPr>
        <p:spPr>
          <a:xfrm>
            <a:off x="11668071" y="1933793"/>
            <a:ext cx="0" cy="2910498"/>
          </a:xfrm>
          <a:prstGeom prst="line">
            <a:avLst/>
          </a:prstGeom>
          <a:ln w="44450" cap="rnd">
            <a:solidFill>
              <a:srgbClr val="00BCF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9248876" y="3152125"/>
            <a:ext cx="792181" cy="4209"/>
          </a:xfrm>
          <a:prstGeom prst="line">
            <a:avLst/>
          </a:prstGeom>
          <a:ln w="44450" cap="rnd">
            <a:solidFill>
              <a:srgbClr val="00BCF2"/>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smtClean="0"/>
              <a:t>Hybrid Identity</a:t>
            </a:r>
            <a:endParaRPr lang="en-US" dirty="0"/>
          </a:p>
        </p:txBody>
      </p:sp>
    </p:spTree>
    <p:extLst>
      <p:ext uri="{BB962C8B-B14F-4D97-AF65-F5344CB8AC3E}">
        <p14:creationId xmlns:p14="http://schemas.microsoft.com/office/powerpoint/2010/main" val="421953262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z="3135" dirty="0">
                <a:gradFill>
                  <a:gsLst>
                    <a:gs pos="6195">
                      <a:schemeClr val="tx2"/>
                    </a:gs>
                    <a:gs pos="100000">
                      <a:schemeClr val="tx2"/>
                    </a:gs>
                  </a:gsLst>
                  <a:lin ang="5400000" scaled="0"/>
                </a:gradFill>
              </a:rPr>
              <a:t>Azure Active Directory free and premium offerings feature comparison </a:t>
            </a:r>
          </a:p>
        </p:txBody>
      </p:sp>
      <p:graphicFrame>
        <p:nvGraphicFramePr>
          <p:cNvPr id="87" name="Table 86"/>
          <p:cNvGraphicFramePr>
            <a:graphicFrameLocks noGrp="1"/>
          </p:cNvGraphicFramePr>
          <p:nvPr>
            <p:extLst/>
          </p:nvPr>
        </p:nvGraphicFramePr>
        <p:xfrm>
          <a:off x="300842" y="1188842"/>
          <a:ext cx="11648835" cy="4437988"/>
        </p:xfrm>
        <a:graphic>
          <a:graphicData uri="http://schemas.openxmlformats.org/drawingml/2006/table">
            <a:tbl>
              <a:tblPr firstRow="1" bandRow="1">
                <a:tableStyleId>{5C22544A-7EE6-4342-B048-85BDC9FD1C3A}</a:tableStyleId>
              </a:tblPr>
              <a:tblGrid>
                <a:gridCol w="5086480">
                  <a:extLst>
                    <a:ext uri="{9D8B030D-6E8A-4147-A177-3AD203B41FA5}">
                      <a16:colId xmlns:a16="http://schemas.microsoft.com/office/drawing/2014/main" val="1962465664"/>
                    </a:ext>
                  </a:extLst>
                </a:gridCol>
                <a:gridCol w="2240476">
                  <a:extLst>
                    <a:ext uri="{9D8B030D-6E8A-4147-A177-3AD203B41FA5}">
                      <a16:colId xmlns:a16="http://schemas.microsoft.com/office/drawing/2014/main" val="1603577953"/>
                    </a:ext>
                  </a:extLst>
                </a:gridCol>
                <a:gridCol w="2055311">
                  <a:extLst>
                    <a:ext uri="{9D8B030D-6E8A-4147-A177-3AD203B41FA5}">
                      <a16:colId xmlns:a16="http://schemas.microsoft.com/office/drawing/2014/main" val="3039063625"/>
                    </a:ext>
                  </a:extLst>
                </a:gridCol>
                <a:gridCol w="2266568">
                  <a:extLst>
                    <a:ext uri="{9D8B030D-6E8A-4147-A177-3AD203B41FA5}">
                      <a16:colId xmlns:a16="http://schemas.microsoft.com/office/drawing/2014/main" val="2834003277"/>
                    </a:ext>
                  </a:extLst>
                </a:gridCol>
              </a:tblGrid>
              <a:tr h="244382">
                <a:tc>
                  <a:txBody>
                    <a:bodyPr/>
                    <a:lstStyle/>
                    <a:p>
                      <a:endParaRPr lang="en-US" sz="1200" b="0" dirty="0">
                        <a:gradFill>
                          <a:gsLst>
                            <a:gs pos="0">
                              <a:schemeClr val="bg1"/>
                            </a:gs>
                            <a:gs pos="100000">
                              <a:schemeClr val="bg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smtClean="0">
                          <a:gradFill>
                            <a:gsLst>
                              <a:gs pos="0">
                                <a:schemeClr val="bg1"/>
                              </a:gs>
                              <a:gs pos="100000">
                                <a:schemeClr val="bg1"/>
                              </a:gs>
                            </a:gsLst>
                            <a:lin ang="5400000" scaled="1"/>
                          </a:gradFill>
                        </a:rPr>
                        <a:t>Azure AD Free </a:t>
                      </a:r>
                      <a:endParaRPr lang="en-US" sz="1200" b="1" dirty="0">
                        <a:gradFill>
                          <a:gsLst>
                            <a:gs pos="0">
                              <a:schemeClr val="bg1"/>
                            </a:gs>
                            <a:gs pos="100000">
                              <a:schemeClr val="bg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smtClean="0">
                          <a:gradFill>
                            <a:gsLst>
                              <a:gs pos="0">
                                <a:schemeClr val="bg1"/>
                              </a:gs>
                              <a:gs pos="100000">
                                <a:schemeClr val="bg1"/>
                              </a:gs>
                            </a:gsLst>
                            <a:lin ang="5400000" scaled="1"/>
                          </a:gradFill>
                        </a:rPr>
                        <a:t>Azure</a:t>
                      </a:r>
                      <a:r>
                        <a:rPr lang="en-US" sz="1200" b="1" baseline="0" dirty="0" smtClean="0">
                          <a:gradFill>
                            <a:gsLst>
                              <a:gs pos="0">
                                <a:schemeClr val="bg1"/>
                              </a:gs>
                              <a:gs pos="100000">
                                <a:schemeClr val="bg1"/>
                              </a:gs>
                            </a:gsLst>
                            <a:lin ang="5400000" scaled="1"/>
                          </a:gradFill>
                        </a:rPr>
                        <a:t> AD </a:t>
                      </a:r>
                      <a:r>
                        <a:rPr lang="en-US" sz="1200" b="1" dirty="0" smtClean="0">
                          <a:gradFill>
                            <a:gsLst>
                              <a:gs pos="0">
                                <a:schemeClr val="bg1"/>
                              </a:gs>
                              <a:gs pos="100000">
                                <a:schemeClr val="bg1"/>
                              </a:gs>
                            </a:gsLst>
                            <a:lin ang="5400000" scaled="1"/>
                          </a:gradFill>
                        </a:rPr>
                        <a:t>Basic</a:t>
                      </a:r>
                      <a:endParaRPr lang="en-US" sz="1200" b="1" dirty="0">
                        <a:gradFill>
                          <a:gsLst>
                            <a:gs pos="0">
                              <a:schemeClr val="bg1"/>
                            </a:gs>
                            <a:gs pos="100000">
                              <a:schemeClr val="bg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dirty="0" smtClean="0">
                          <a:gradFill>
                            <a:gsLst>
                              <a:gs pos="0">
                                <a:schemeClr val="bg1"/>
                              </a:gs>
                              <a:gs pos="100000">
                                <a:schemeClr val="bg1"/>
                              </a:gs>
                            </a:gsLst>
                            <a:lin ang="5400000" scaled="1"/>
                          </a:gradFill>
                        </a:rPr>
                        <a:t>Azure</a:t>
                      </a:r>
                      <a:r>
                        <a:rPr lang="en-US" sz="1200" b="1" baseline="0" dirty="0" smtClean="0">
                          <a:gradFill>
                            <a:gsLst>
                              <a:gs pos="0">
                                <a:schemeClr val="bg1"/>
                              </a:gs>
                              <a:gs pos="100000">
                                <a:schemeClr val="bg1"/>
                              </a:gs>
                            </a:gsLst>
                            <a:lin ang="5400000" scaled="1"/>
                          </a:gradFill>
                        </a:rPr>
                        <a:t> AD </a:t>
                      </a:r>
                      <a:r>
                        <a:rPr lang="en-US" sz="1200" b="1" dirty="0" smtClean="0">
                          <a:gradFill>
                            <a:gsLst>
                              <a:gs pos="0">
                                <a:schemeClr val="bg1"/>
                              </a:gs>
                              <a:gs pos="100000">
                                <a:schemeClr val="bg1"/>
                              </a:gs>
                            </a:gsLst>
                            <a:lin ang="5400000" scaled="1"/>
                          </a:gradFill>
                        </a:rPr>
                        <a:t>Premium</a:t>
                      </a:r>
                      <a:endParaRPr lang="en-US" sz="1200" b="1" dirty="0">
                        <a:gradFill>
                          <a:gsLst>
                            <a:gs pos="0">
                              <a:schemeClr val="bg1"/>
                            </a:gs>
                            <a:gs pos="100000">
                              <a:schemeClr val="bg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89563792"/>
                  </a:ext>
                </a:extLst>
              </a:tr>
              <a:tr h="244382">
                <a:tc>
                  <a:txBody>
                    <a:bodyPr/>
                    <a:lstStyle/>
                    <a:p>
                      <a:r>
                        <a:rPr lang="en-US" sz="1200" b="0" dirty="0" smtClean="0">
                          <a:gradFill>
                            <a:gsLst>
                              <a:gs pos="0">
                                <a:schemeClr val="tx1"/>
                              </a:gs>
                              <a:gs pos="100000">
                                <a:schemeClr val="tx1"/>
                              </a:gs>
                            </a:gsLst>
                            <a:lin ang="5400000" scaled="1"/>
                          </a:gradFill>
                        </a:rPr>
                        <a:t>Directory as</a:t>
                      </a:r>
                      <a:r>
                        <a:rPr lang="en-US" sz="1200" b="0" baseline="0" dirty="0" smtClean="0">
                          <a:gradFill>
                            <a:gsLst>
                              <a:gs pos="0">
                                <a:schemeClr val="tx1"/>
                              </a:gs>
                              <a:gs pos="100000">
                                <a:schemeClr val="tx1"/>
                              </a:gs>
                            </a:gsLst>
                            <a:lin ang="5400000" scaled="1"/>
                          </a:gradFill>
                        </a:rPr>
                        <a:t> a </a:t>
                      </a:r>
                      <a:r>
                        <a:rPr lang="en-US" sz="1200" b="0" dirty="0" smtClean="0">
                          <a:gradFill>
                            <a:gsLst>
                              <a:gs pos="0">
                                <a:schemeClr val="tx1"/>
                              </a:gs>
                              <a:gs pos="100000">
                                <a:schemeClr val="tx1"/>
                              </a:gs>
                            </a:gsLst>
                            <a:lin ang="5400000" scaled="1"/>
                          </a:gradFill>
                        </a:rPr>
                        <a:t> Service</a:t>
                      </a: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b="0" dirty="0" smtClean="0">
                          <a:gradFill>
                            <a:gsLst>
                              <a:gs pos="0">
                                <a:schemeClr val="tx1"/>
                              </a:gs>
                              <a:gs pos="100000">
                                <a:schemeClr val="tx1"/>
                              </a:gs>
                            </a:gsLst>
                            <a:lin ang="5400000" scaled="1"/>
                          </a:gradFill>
                        </a:rPr>
                        <a:t>up to 500K Objects</a:t>
                      </a:r>
                      <a:endParaRPr lang="en-US" sz="1200" b="0" dirty="0">
                        <a:gradFill>
                          <a:gsLst>
                            <a:gs pos="0">
                              <a:schemeClr val="tx1"/>
                            </a:gs>
                            <a:gs pos="100000">
                              <a:schemeClr val="tx1"/>
                            </a:gs>
                          </a:gsLst>
                          <a:lin ang="5400000" scaled="1"/>
                        </a:gradFill>
                      </a:endParaRPr>
                    </a:p>
                  </a:txBody>
                  <a:tcPr marL="358426"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gradFill>
                            <a:gsLst>
                              <a:gs pos="0">
                                <a:schemeClr val="tx1"/>
                              </a:gs>
                              <a:gs pos="100000">
                                <a:schemeClr val="tx1"/>
                              </a:gs>
                            </a:gsLst>
                            <a:lin ang="5400000" scaled="1"/>
                          </a:gradFill>
                        </a:rPr>
                        <a:t>No Limit</a:t>
                      </a:r>
                    </a:p>
                  </a:txBody>
                  <a:tcPr marL="358426"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gradFill>
                            <a:gsLst>
                              <a:gs pos="0">
                                <a:schemeClr val="tx1"/>
                              </a:gs>
                              <a:gs pos="100000">
                                <a:schemeClr val="tx1"/>
                              </a:gs>
                            </a:gsLst>
                            <a:lin ang="5400000" scaled="1"/>
                          </a:gradFill>
                        </a:rPr>
                        <a:t>No Limit</a:t>
                      </a:r>
                    </a:p>
                  </a:txBody>
                  <a:tcPr marL="358426"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95750660"/>
                  </a:ext>
                </a:extLst>
              </a:tr>
              <a:tr h="24438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gradFill>
                            <a:gsLst>
                              <a:gs pos="0">
                                <a:schemeClr val="tx1"/>
                              </a:gs>
                              <a:gs pos="100000">
                                <a:schemeClr val="tx1"/>
                              </a:gs>
                            </a:gsLst>
                            <a:lin ang="5400000" scaled="1"/>
                          </a:gradFill>
                        </a:rPr>
                        <a:t>User/Group Management</a:t>
                      </a: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95348559"/>
                  </a:ext>
                </a:extLst>
              </a:tr>
              <a:tr h="24438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dirty="0" smtClean="0">
                          <a:gradFill>
                            <a:gsLst>
                              <a:gs pos="0">
                                <a:schemeClr val="tx1"/>
                              </a:gs>
                              <a:gs pos="100000">
                                <a:schemeClr val="tx1"/>
                              </a:gs>
                            </a:gsLst>
                            <a:lin ang="5400000" scaled="1"/>
                          </a:gradFill>
                        </a:rPr>
                        <a:t>SSO</a:t>
                      </a:r>
                      <a:r>
                        <a:rPr lang="en-US" sz="1200" b="0" baseline="0" dirty="0" smtClean="0">
                          <a:gradFill>
                            <a:gsLst>
                              <a:gs pos="0">
                                <a:schemeClr val="tx1"/>
                              </a:gs>
                              <a:gs pos="100000">
                                <a:schemeClr val="tx1"/>
                              </a:gs>
                            </a:gsLst>
                            <a:lin ang="5400000" scaled="1"/>
                          </a:gradFill>
                        </a:rPr>
                        <a:t> to pre-integrated SAAS Applications /Custom Apps</a:t>
                      </a: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b="0" dirty="0" smtClean="0">
                          <a:gradFill>
                            <a:gsLst>
                              <a:gs pos="0">
                                <a:schemeClr val="tx1"/>
                              </a:gs>
                              <a:gs pos="100000">
                                <a:schemeClr val="tx1"/>
                              </a:gs>
                            </a:gsLst>
                            <a:lin ang="5400000" scaled="1"/>
                          </a:gradFill>
                        </a:rPr>
                        <a:t>   10 apps per user</a:t>
                      </a: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b="0" dirty="0" smtClean="0">
                          <a:gradFill>
                            <a:gsLst>
                              <a:gs pos="0">
                                <a:schemeClr val="tx1"/>
                              </a:gs>
                              <a:gs pos="100000">
                                <a:schemeClr val="tx1"/>
                              </a:gs>
                            </a:gsLst>
                            <a:lin ang="5400000" scaled="1"/>
                          </a:gradFill>
                        </a:rPr>
                        <a:t>       10</a:t>
                      </a:r>
                      <a:r>
                        <a:rPr lang="en-US" sz="1200" b="0" baseline="0" dirty="0" smtClean="0">
                          <a:gradFill>
                            <a:gsLst>
                              <a:gs pos="0">
                                <a:schemeClr val="tx1"/>
                              </a:gs>
                              <a:gs pos="100000">
                                <a:schemeClr val="tx1"/>
                              </a:gs>
                            </a:gsLst>
                            <a:lin ang="5400000" scaled="1"/>
                          </a:gradFill>
                        </a:rPr>
                        <a:t> apps per user</a:t>
                      </a: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b="0" dirty="0" smtClean="0">
                          <a:gradFill>
                            <a:gsLst>
                              <a:gs pos="0">
                                <a:schemeClr val="tx1"/>
                              </a:gs>
                              <a:gs pos="100000">
                                <a:schemeClr val="tx1"/>
                              </a:gs>
                            </a:gsLst>
                            <a:lin ang="5400000" scaled="1"/>
                          </a:gradFill>
                        </a:rPr>
                        <a:t>       No Limit</a:t>
                      </a: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48452741"/>
                  </a:ext>
                </a:extLst>
              </a:tr>
              <a:tr h="244382">
                <a:tc>
                  <a:txBody>
                    <a:bodyPr/>
                    <a:lstStyle/>
                    <a:p>
                      <a:r>
                        <a:rPr lang="en-US" sz="1200" b="0" dirty="0" smtClean="0">
                          <a:gradFill>
                            <a:gsLst>
                              <a:gs pos="0">
                                <a:schemeClr val="tx1"/>
                              </a:gs>
                              <a:gs pos="100000">
                                <a:schemeClr val="tx1"/>
                              </a:gs>
                            </a:gsLst>
                            <a:lin ang="5400000" scaled="1"/>
                          </a:gradFill>
                        </a:rPr>
                        <a:t>Directory</a:t>
                      </a:r>
                      <a:r>
                        <a:rPr lang="en-US" sz="1200" b="0" baseline="0" dirty="0" smtClean="0">
                          <a:gradFill>
                            <a:gsLst>
                              <a:gs pos="0">
                                <a:schemeClr val="tx1"/>
                              </a:gs>
                              <a:gs pos="100000">
                                <a:schemeClr val="tx1"/>
                              </a:gs>
                            </a:gsLst>
                            <a:lin ang="5400000" scaled="1"/>
                          </a:gradFill>
                        </a:rPr>
                        <a:t> Synchronization Tool</a:t>
                      </a:r>
                      <a:r>
                        <a:rPr lang="en-US" sz="1200" b="0" dirty="0" smtClean="0">
                          <a:gradFill>
                            <a:gsLst>
                              <a:gs pos="0">
                                <a:schemeClr val="tx1"/>
                              </a:gs>
                              <a:gs pos="100000">
                                <a:schemeClr val="tx1"/>
                              </a:gs>
                            </a:gsLst>
                            <a:lin ang="5400000" scaled="1"/>
                          </a:gradFill>
                        </a:rPr>
                        <a:t> (WSAD</a:t>
                      </a:r>
                      <a:r>
                        <a:rPr lang="en-US" sz="1200" b="0" baseline="0" dirty="0" smtClean="0">
                          <a:gradFill>
                            <a:gsLst>
                              <a:gs pos="0">
                                <a:schemeClr val="tx1"/>
                              </a:gs>
                              <a:gs pos="100000">
                                <a:schemeClr val="tx1"/>
                              </a:gs>
                            </a:gsLst>
                            <a:lin ang="5400000" scaled="1"/>
                          </a:gradFill>
                        </a:rPr>
                        <a:t> Extension)</a:t>
                      </a: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1647050"/>
                  </a:ext>
                </a:extLst>
              </a:tr>
              <a:tr h="244382">
                <a:tc>
                  <a:txBody>
                    <a:bodyPr/>
                    <a:lstStyle/>
                    <a:p>
                      <a:r>
                        <a:rPr lang="en-US" sz="1200" b="0" dirty="0" smtClean="0">
                          <a:gradFill>
                            <a:gsLst>
                              <a:gs pos="0">
                                <a:schemeClr val="tx1"/>
                              </a:gs>
                              <a:gs pos="100000">
                                <a:schemeClr val="tx1"/>
                              </a:gs>
                            </a:gsLst>
                            <a:lin ang="5400000" scaled="1"/>
                          </a:gradFill>
                        </a:rPr>
                        <a:t>User-Based access management/provisioning</a:t>
                      </a: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03609295"/>
                  </a:ext>
                </a:extLst>
              </a:tr>
              <a:tr h="244382">
                <a:tc>
                  <a:txBody>
                    <a:bodyPr/>
                    <a:lstStyle/>
                    <a:p>
                      <a:r>
                        <a:rPr lang="en-US" sz="1200" b="0" dirty="0" smtClean="0">
                          <a:gradFill>
                            <a:gsLst>
                              <a:gs pos="0">
                                <a:schemeClr val="tx1"/>
                              </a:gs>
                              <a:gs pos="100000">
                                <a:schemeClr val="tx1"/>
                              </a:gs>
                            </a:gsLst>
                            <a:lin ang="5400000" scaled="1"/>
                          </a:gradFill>
                        </a:rPr>
                        <a:t>Group-based access management/provisioning</a:t>
                      </a: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32437690"/>
                  </a:ext>
                </a:extLst>
              </a:tr>
              <a:tr h="244382">
                <a:tc>
                  <a:txBody>
                    <a:bodyPr/>
                    <a:lstStyle/>
                    <a:p>
                      <a:r>
                        <a:rPr lang="en-US" sz="1200" b="0" dirty="0" smtClean="0">
                          <a:gradFill>
                            <a:gsLst>
                              <a:gs pos="0">
                                <a:schemeClr val="tx1"/>
                              </a:gs>
                              <a:gs pos="100000">
                                <a:schemeClr val="tx1"/>
                              </a:gs>
                            </a:gsLst>
                            <a:lin ang="5400000" scaled="1"/>
                          </a:gradFill>
                        </a:rPr>
                        <a:t>Self-Service Group Management for cloud users</a:t>
                      </a: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21513596"/>
                  </a:ext>
                </a:extLst>
              </a:tr>
              <a:tr h="244382">
                <a:tc>
                  <a:txBody>
                    <a:bodyPr/>
                    <a:lstStyle/>
                    <a:p>
                      <a:r>
                        <a:rPr lang="en-US" sz="1200" b="0" dirty="0" smtClean="0">
                          <a:gradFill>
                            <a:gsLst>
                              <a:gs pos="0">
                                <a:schemeClr val="tx1"/>
                              </a:gs>
                              <a:gs pos="100000">
                                <a:schemeClr val="tx1"/>
                              </a:gs>
                            </a:gsLst>
                            <a:lin ang="5400000" scaled="1"/>
                          </a:gradFill>
                        </a:rPr>
                        <a:t>Self-Service Change</a:t>
                      </a:r>
                      <a:r>
                        <a:rPr lang="en-US" sz="1200" b="0" baseline="0" dirty="0" smtClean="0">
                          <a:gradFill>
                            <a:gsLst>
                              <a:gs pos="0">
                                <a:schemeClr val="tx1"/>
                              </a:gs>
                              <a:gs pos="100000">
                                <a:schemeClr val="tx1"/>
                              </a:gs>
                            </a:gsLst>
                            <a:lin ang="5400000" scaled="1"/>
                          </a:gradFill>
                        </a:rPr>
                        <a:t> Password for cloud users</a:t>
                      </a: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29671913"/>
                  </a:ext>
                </a:extLst>
              </a:tr>
              <a:tr h="244382">
                <a:tc>
                  <a:txBody>
                    <a:bodyPr/>
                    <a:lstStyle/>
                    <a:p>
                      <a:r>
                        <a:rPr lang="en-US" sz="1200" b="0" dirty="0" smtClean="0">
                          <a:gradFill>
                            <a:gsLst>
                              <a:gs pos="0">
                                <a:schemeClr val="tx1"/>
                              </a:gs>
                              <a:gs pos="100000">
                                <a:schemeClr val="tx1"/>
                              </a:gs>
                            </a:gsLst>
                            <a:lin ang="5400000" scaled="1"/>
                          </a:gradFill>
                        </a:rPr>
                        <a:t>Self-Service Reset Password for cloud users</a:t>
                      </a: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85319508"/>
                  </a:ext>
                </a:extLst>
              </a:tr>
              <a:tr h="283494">
                <a:tc>
                  <a:txBody>
                    <a:bodyPr/>
                    <a:lstStyle/>
                    <a:p>
                      <a:r>
                        <a:rPr lang="en-US" sz="1200" b="0" dirty="0" smtClean="0">
                          <a:gradFill>
                            <a:gsLst>
                              <a:gs pos="0">
                                <a:schemeClr val="tx1"/>
                              </a:gs>
                              <a:gs pos="100000">
                                <a:schemeClr val="tx1"/>
                              </a:gs>
                            </a:gsLst>
                            <a:lin ang="5400000" scaled="1"/>
                          </a:gradFill>
                        </a:rPr>
                        <a:t>Security Reports</a:t>
                      </a: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26863571"/>
                  </a:ext>
                </a:extLst>
              </a:tr>
              <a:tr h="244382">
                <a:tc>
                  <a:txBody>
                    <a:bodyPr/>
                    <a:lstStyle/>
                    <a:p>
                      <a:r>
                        <a:rPr lang="en-US" sz="1200" b="0" dirty="0" smtClean="0">
                          <a:gradFill>
                            <a:gsLst>
                              <a:gs pos="0">
                                <a:schemeClr val="tx1"/>
                              </a:gs>
                              <a:gs pos="100000">
                                <a:schemeClr val="tx1"/>
                              </a:gs>
                            </a:gsLst>
                            <a:lin ang="5400000" scaled="1"/>
                          </a:gradFill>
                        </a:rPr>
                        <a:t>Advanced Security Reporting (</a:t>
                      </a:r>
                      <a:r>
                        <a:rPr lang="en-US" sz="1200" b="0" baseline="0" dirty="0" smtClean="0">
                          <a:gradFill>
                            <a:gsLst>
                              <a:gs pos="0">
                                <a:schemeClr val="tx1"/>
                              </a:gs>
                              <a:gs pos="100000">
                                <a:schemeClr val="tx1"/>
                              </a:gs>
                            </a:gsLst>
                            <a:lin ang="5400000" scaled="1"/>
                          </a:gradFill>
                        </a:rPr>
                        <a:t>machine learning-based)</a:t>
                      </a: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18024837"/>
                  </a:ext>
                </a:extLst>
              </a:tr>
              <a:tr h="244382">
                <a:tc>
                  <a:txBody>
                    <a:bodyPr/>
                    <a:lstStyle/>
                    <a:p>
                      <a:r>
                        <a:rPr lang="en-US" sz="1200" b="0" dirty="0" smtClean="0">
                          <a:gradFill>
                            <a:gsLst>
                              <a:gs pos="0">
                                <a:schemeClr val="tx1"/>
                              </a:gs>
                              <a:gs pos="100000">
                                <a:schemeClr val="tx1"/>
                              </a:gs>
                            </a:gsLst>
                            <a:lin ang="5400000" scaled="1"/>
                          </a:gradFill>
                        </a:rPr>
                        <a:t>Usage Reporting</a:t>
                      </a: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67409493"/>
                  </a:ext>
                </a:extLst>
              </a:tr>
              <a:tr h="244382">
                <a:tc>
                  <a:txBody>
                    <a:bodyPr/>
                    <a:lstStyle/>
                    <a:p>
                      <a:r>
                        <a:rPr lang="en-US" sz="1200" b="0" dirty="0" smtClean="0">
                          <a:gradFill>
                            <a:gsLst>
                              <a:gs pos="0">
                                <a:schemeClr val="tx1"/>
                              </a:gs>
                              <a:gs pos="100000">
                                <a:schemeClr val="tx1"/>
                              </a:gs>
                            </a:gsLst>
                            <a:lin ang="5400000" scaled="1"/>
                          </a:gradFill>
                        </a:rPr>
                        <a:t>Company Branding </a:t>
                      </a:r>
                      <a:r>
                        <a:rPr lang="en-US" sz="1200" b="0" smtClean="0">
                          <a:gradFill>
                            <a:gsLst>
                              <a:gs pos="0">
                                <a:schemeClr val="tx1"/>
                              </a:gs>
                              <a:gs pos="100000">
                                <a:schemeClr val="tx1"/>
                              </a:gs>
                            </a:gsLst>
                            <a:lin ang="5400000" scaled="1"/>
                          </a:gradFill>
                        </a:rPr>
                        <a:t>(Logon Pages/Access </a:t>
                      </a:r>
                      <a:r>
                        <a:rPr lang="en-US" sz="1200" b="0" dirty="0" smtClean="0">
                          <a:gradFill>
                            <a:gsLst>
                              <a:gs pos="0">
                                <a:schemeClr val="tx1"/>
                              </a:gs>
                              <a:gs pos="100000">
                                <a:schemeClr val="tx1"/>
                              </a:gs>
                            </a:gsLst>
                            <a:lin ang="5400000" scaled="1"/>
                          </a:gradFill>
                        </a:rPr>
                        <a:t>Panel customization)</a:t>
                      </a: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53470803"/>
                  </a:ext>
                </a:extLst>
              </a:tr>
              <a:tr h="244382">
                <a:tc>
                  <a:txBody>
                    <a:bodyPr/>
                    <a:lstStyle/>
                    <a:p>
                      <a:r>
                        <a:rPr lang="en-US" sz="1200" b="0" dirty="0" smtClean="0">
                          <a:gradFill>
                            <a:gsLst>
                              <a:gs pos="0">
                                <a:schemeClr val="tx1"/>
                              </a:gs>
                              <a:gs pos="100000">
                                <a:schemeClr val="tx1"/>
                              </a:gs>
                            </a:gsLst>
                            <a:lin ang="5400000" scaled="1"/>
                          </a:gradFill>
                        </a:rPr>
                        <a:t>MFA (All</a:t>
                      </a:r>
                      <a:r>
                        <a:rPr lang="en-US" sz="1200" b="0" baseline="0" dirty="0" smtClean="0">
                          <a:gradFill>
                            <a:gsLst>
                              <a:gs pos="0">
                                <a:schemeClr val="tx1"/>
                              </a:gs>
                              <a:gs pos="100000">
                                <a:schemeClr val="tx1"/>
                              </a:gs>
                            </a:gsLst>
                            <a:lin ang="5400000" scaled="1"/>
                          </a:gradFill>
                        </a:rPr>
                        <a:t> available features on Windows Azure and on premises)</a:t>
                      </a: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17924486"/>
                  </a:ext>
                </a:extLst>
              </a:tr>
              <a:tr h="244382">
                <a:tc>
                  <a:txBody>
                    <a:bodyPr/>
                    <a:lstStyle/>
                    <a:p>
                      <a:endParaRPr lang="en-US" sz="1200" b="0" dirty="0">
                        <a:gradFill>
                          <a:gsLst>
                            <a:gs pos="0">
                              <a:schemeClr val="bg1"/>
                            </a:gs>
                            <a:gs pos="100000">
                              <a:schemeClr val="bg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solidFill>
                  </a:tcPr>
                </a:tc>
                <a:tc>
                  <a:txBody>
                    <a:bodyPr/>
                    <a:lstStyle/>
                    <a:p>
                      <a:pPr algn="ctr"/>
                      <a:endParaRPr lang="en-US" sz="1200" b="0" dirty="0">
                        <a:gradFill>
                          <a:gsLst>
                            <a:gs pos="0">
                              <a:schemeClr val="bg1"/>
                            </a:gs>
                            <a:gs pos="100000">
                              <a:schemeClr val="bg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solidFill>
                  </a:tcPr>
                </a:tc>
                <a:tc>
                  <a:txBody>
                    <a:bodyPr/>
                    <a:lstStyle/>
                    <a:p>
                      <a:pPr algn="ctr"/>
                      <a:endParaRPr lang="en-US" sz="1200" b="0" dirty="0">
                        <a:gradFill>
                          <a:gsLst>
                            <a:gs pos="0">
                              <a:schemeClr val="bg1"/>
                            </a:gs>
                            <a:gs pos="100000">
                              <a:schemeClr val="bg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solidFill>
                  </a:tcPr>
                </a:tc>
                <a:tc>
                  <a:txBody>
                    <a:bodyPr/>
                    <a:lstStyle/>
                    <a:p>
                      <a:pPr algn="ctr"/>
                      <a:endParaRPr lang="en-US" sz="1200" b="0" dirty="0">
                        <a:gradFill>
                          <a:gsLst>
                            <a:gs pos="0">
                              <a:schemeClr val="bg1"/>
                            </a:gs>
                            <a:gs pos="100000">
                              <a:schemeClr val="bg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515303471"/>
                  </a:ext>
                </a:extLst>
              </a:tr>
              <a:tr h="244382">
                <a:tc>
                  <a:txBody>
                    <a:bodyPr/>
                    <a:lstStyle/>
                    <a:p>
                      <a:r>
                        <a:rPr lang="en-US" sz="1200" b="0" dirty="0" smtClean="0">
                          <a:gradFill>
                            <a:gsLst>
                              <a:gs pos="0">
                                <a:schemeClr val="tx1"/>
                              </a:gs>
                              <a:gs pos="100000">
                                <a:schemeClr val="tx1"/>
                              </a:gs>
                            </a:gsLst>
                            <a:lin ang="5400000" scaled="1"/>
                          </a:gradFill>
                        </a:rPr>
                        <a:t>SLA (99.9%)</a:t>
                      </a: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26802656"/>
                  </a:ext>
                </a:extLst>
              </a:tr>
              <a:tr h="244382">
                <a:tc>
                  <a:txBody>
                    <a:bodyPr/>
                    <a:lstStyle/>
                    <a:p>
                      <a:pPr marL="0" algn="l" defTabSz="914400" rtl="0" eaLnBrk="1" latinLnBrk="0" hangingPunct="1"/>
                      <a:r>
                        <a:rPr lang="en-US" sz="1200" b="0" kern="1200" dirty="0" smtClean="0">
                          <a:gradFill>
                            <a:gsLst>
                              <a:gs pos="0">
                                <a:schemeClr val="tx1"/>
                              </a:gs>
                              <a:gs pos="100000">
                                <a:schemeClr val="tx1"/>
                              </a:gs>
                            </a:gsLst>
                            <a:lin ang="5400000" scaled="1"/>
                          </a:gradFill>
                        </a:rPr>
                        <a:t>FIM CAL + FIM</a:t>
                      </a:r>
                      <a:r>
                        <a:rPr lang="en-US" sz="1200" b="0" kern="1200" baseline="0" dirty="0" smtClean="0">
                          <a:gradFill>
                            <a:gsLst>
                              <a:gs pos="0">
                                <a:schemeClr val="tx1"/>
                              </a:gs>
                              <a:gs pos="100000">
                                <a:schemeClr val="tx1"/>
                              </a:gs>
                            </a:gsLst>
                            <a:lin ang="5400000" scaled="1"/>
                          </a:gradFill>
                        </a:rPr>
                        <a:t> Server</a:t>
                      </a:r>
                      <a:endParaRPr lang="en-US" sz="1200" b="0" kern="1200" dirty="0">
                        <a:gradFill>
                          <a:gsLst>
                            <a:gs pos="0">
                              <a:schemeClr val="tx1"/>
                            </a:gs>
                            <a:gs pos="100000">
                              <a:schemeClr val="tx1"/>
                            </a:gs>
                          </a:gsLst>
                          <a:lin ang="5400000" scaled="1"/>
                        </a:gradFill>
                        <a:latin typeface="+mn-lt"/>
                        <a:ea typeface="+mn-ea"/>
                        <a:cs typeface="+mn-cs"/>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1200" b="0" dirty="0">
                        <a:gradFill>
                          <a:gsLst>
                            <a:gs pos="0">
                              <a:schemeClr val="tx1"/>
                            </a:gs>
                            <a:gs pos="100000">
                              <a:schemeClr val="tx1"/>
                            </a:gs>
                          </a:gsLst>
                          <a:lin ang="5400000" scaled="1"/>
                        </a:gradFill>
                      </a:endParaRPr>
                    </a:p>
                  </a:txBody>
                  <a:tcPr marL="91377" marR="91377" marT="17922" marB="17922"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86925280"/>
                  </a:ext>
                </a:extLst>
              </a:tr>
            </a:tbl>
          </a:graphicData>
        </a:graphic>
      </p:graphicFrame>
      <p:grpSp>
        <p:nvGrpSpPr>
          <p:cNvPr id="179" name="Group 178"/>
          <p:cNvGrpSpPr/>
          <p:nvPr/>
        </p:nvGrpSpPr>
        <p:grpSpPr>
          <a:xfrm>
            <a:off x="8241014" y="1480651"/>
            <a:ext cx="134410" cy="134410"/>
            <a:chOff x="8754090" y="1484660"/>
            <a:chExt cx="137160" cy="137160"/>
          </a:xfrm>
        </p:grpSpPr>
        <p:sp>
          <p:nvSpPr>
            <p:cNvPr id="89" name="Oval 88"/>
            <p:cNvSpPr/>
            <p:nvPr/>
          </p:nvSpPr>
          <p:spPr bwMode="auto">
            <a:xfrm>
              <a:off x="8754090" y="1484660"/>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Freeform 5"/>
            <p:cNvSpPr>
              <a:spLocks/>
            </p:cNvSpPr>
            <p:nvPr/>
          </p:nvSpPr>
          <p:spPr bwMode="auto">
            <a:xfrm>
              <a:off x="8777798" y="1513492"/>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80" name="Group 179"/>
          <p:cNvGrpSpPr/>
          <p:nvPr/>
        </p:nvGrpSpPr>
        <p:grpSpPr>
          <a:xfrm>
            <a:off x="8604238" y="1719400"/>
            <a:ext cx="134410" cy="134410"/>
            <a:chOff x="8754090" y="1740593"/>
            <a:chExt cx="137160" cy="137160"/>
          </a:xfrm>
        </p:grpSpPr>
        <p:sp>
          <p:nvSpPr>
            <p:cNvPr id="92" name="Oval 91"/>
            <p:cNvSpPr/>
            <p:nvPr/>
          </p:nvSpPr>
          <p:spPr bwMode="auto">
            <a:xfrm>
              <a:off x="8754090" y="1740593"/>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Freeform 5"/>
            <p:cNvSpPr>
              <a:spLocks/>
            </p:cNvSpPr>
            <p:nvPr/>
          </p:nvSpPr>
          <p:spPr bwMode="auto">
            <a:xfrm>
              <a:off x="8777798" y="1769425"/>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81" name="Group 180"/>
          <p:cNvGrpSpPr/>
          <p:nvPr/>
        </p:nvGrpSpPr>
        <p:grpSpPr>
          <a:xfrm>
            <a:off x="8061077" y="1973915"/>
            <a:ext cx="134410" cy="134410"/>
            <a:chOff x="8754090" y="1977476"/>
            <a:chExt cx="137160" cy="137160"/>
          </a:xfrm>
        </p:grpSpPr>
        <p:sp>
          <p:nvSpPr>
            <p:cNvPr id="95" name="Oval 94"/>
            <p:cNvSpPr/>
            <p:nvPr/>
          </p:nvSpPr>
          <p:spPr bwMode="auto">
            <a:xfrm>
              <a:off x="8754090" y="1977476"/>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Freeform 5"/>
            <p:cNvSpPr>
              <a:spLocks/>
            </p:cNvSpPr>
            <p:nvPr/>
          </p:nvSpPr>
          <p:spPr bwMode="auto">
            <a:xfrm>
              <a:off x="8777798" y="2006308"/>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82" name="Group 181"/>
          <p:cNvGrpSpPr/>
          <p:nvPr/>
        </p:nvGrpSpPr>
        <p:grpSpPr>
          <a:xfrm>
            <a:off x="8581006" y="2221605"/>
            <a:ext cx="134410" cy="134410"/>
            <a:chOff x="8754090" y="2233409"/>
            <a:chExt cx="137160" cy="137160"/>
          </a:xfrm>
        </p:grpSpPr>
        <p:sp>
          <p:nvSpPr>
            <p:cNvPr id="98" name="Oval 97"/>
            <p:cNvSpPr/>
            <p:nvPr/>
          </p:nvSpPr>
          <p:spPr bwMode="auto">
            <a:xfrm>
              <a:off x="8754090" y="2233409"/>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Freeform 5"/>
            <p:cNvSpPr>
              <a:spLocks/>
            </p:cNvSpPr>
            <p:nvPr/>
          </p:nvSpPr>
          <p:spPr bwMode="auto">
            <a:xfrm>
              <a:off x="8777798" y="2262241"/>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83" name="Group 182"/>
          <p:cNvGrpSpPr/>
          <p:nvPr/>
        </p:nvGrpSpPr>
        <p:grpSpPr>
          <a:xfrm>
            <a:off x="8581006" y="2472407"/>
            <a:ext cx="134410" cy="134410"/>
            <a:chOff x="8754090" y="2489342"/>
            <a:chExt cx="137160" cy="137160"/>
          </a:xfrm>
        </p:grpSpPr>
        <p:sp>
          <p:nvSpPr>
            <p:cNvPr id="101" name="Oval 100"/>
            <p:cNvSpPr/>
            <p:nvPr/>
          </p:nvSpPr>
          <p:spPr bwMode="auto">
            <a:xfrm>
              <a:off x="8754090" y="2489342"/>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5"/>
            <p:cNvSpPr>
              <a:spLocks/>
            </p:cNvSpPr>
            <p:nvPr/>
          </p:nvSpPr>
          <p:spPr bwMode="auto">
            <a:xfrm>
              <a:off x="8777798" y="2518174"/>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86" name="Group 185"/>
          <p:cNvGrpSpPr/>
          <p:nvPr/>
        </p:nvGrpSpPr>
        <p:grpSpPr>
          <a:xfrm>
            <a:off x="8581006" y="3199918"/>
            <a:ext cx="134410" cy="134410"/>
            <a:chOff x="8754090" y="3238091"/>
            <a:chExt cx="137160" cy="137160"/>
          </a:xfrm>
        </p:grpSpPr>
        <p:sp>
          <p:nvSpPr>
            <p:cNvPr id="110" name="Oval 109"/>
            <p:cNvSpPr/>
            <p:nvPr/>
          </p:nvSpPr>
          <p:spPr bwMode="auto">
            <a:xfrm>
              <a:off x="8754090" y="3238091"/>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Freeform 5"/>
            <p:cNvSpPr>
              <a:spLocks/>
            </p:cNvSpPr>
            <p:nvPr/>
          </p:nvSpPr>
          <p:spPr bwMode="auto">
            <a:xfrm>
              <a:off x="8777798" y="3266923"/>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87" name="Group 186"/>
          <p:cNvGrpSpPr/>
          <p:nvPr/>
        </p:nvGrpSpPr>
        <p:grpSpPr>
          <a:xfrm>
            <a:off x="8581006" y="3444497"/>
            <a:ext cx="134410" cy="134410"/>
            <a:chOff x="8754090" y="3474974"/>
            <a:chExt cx="137160" cy="137160"/>
          </a:xfrm>
        </p:grpSpPr>
        <p:sp>
          <p:nvSpPr>
            <p:cNvPr id="113" name="Oval 112"/>
            <p:cNvSpPr/>
            <p:nvPr/>
          </p:nvSpPr>
          <p:spPr bwMode="auto">
            <a:xfrm>
              <a:off x="8754090" y="3474974"/>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Freeform 5"/>
            <p:cNvSpPr>
              <a:spLocks/>
            </p:cNvSpPr>
            <p:nvPr/>
          </p:nvSpPr>
          <p:spPr bwMode="auto">
            <a:xfrm>
              <a:off x="8777798" y="3503806"/>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88" name="Group 187"/>
          <p:cNvGrpSpPr/>
          <p:nvPr/>
        </p:nvGrpSpPr>
        <p:grpSpPr>
          <a:xfrm>
            <a:off x="8581006" y="3689075"/>
            <a:ext cx="134410" cy="134410"/>
            <a:chOff x="8754090" y="3740432"/>
            <a:chExt cx="137160" cy="137160"/>
          </a:xfrm>
        </p:grpSpPr>
        <p:sp>
          <p:nvSpPr>
            <p:cNvPr id="116" name="Oval 115"/>
            <p:cNvSpPr/>
            <p:nvPr/>
          </p:nvSpPr>
          <p:spPr bwMode="auto">
            <a:xfrm>
              <a:off x="8754090" y="3740432"/>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Freeform 5"/>
            <p:cNvSpPr>
              <a:spLocks/>
            </p:cNvSpPr>
            <p:nvPr/>
          </p:nvSpPr>
          <p:spPr bwMode="auto">
            <a:xfrm>
              <a:off x="8777798" y="3769264"/>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91" name="Group 190"/>
          <p:cNvGrpSpPr/>
          <p:nvPr/>
        </p:nvGrpSpPr>
        <p:grpSpPr>
          <a:xfrm>
            <a:off x="8581006" y="4422810"/>
            <a:ext cx="134410" cy="134410"/>
            <a:chOff x="8754090" y="4479656"/>
            <a:chExt cx="137160" cy="137160"/>
          </a:xfrm>
        </p:grpSpPr>
        <p:sp>
          <p:nvSpPr>
            <p:cNvPr id="125" name="Oval 124"/>
            <p:cNvSpPr/>
            <p:nvPr/>
          </p:nvSpPr>
          <p:spPr bwMode="auto">
            <a:xfrm>
              <a:off x="8754090" y="4479656"/>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26" name="Freeform 5"/>
            <p:cNvSpPr>
              <a:spLocks/>
            </p:cNvSpPr>
            <p:nvPr/>
          </p:nvSpPr>
          <p:spPr bwMode="auto">
            <a:xfrm>
              <a:off x="8777798" y="4508488"/>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93" name="Group 192"/>
          <p:cNvGrpSpPr/>
          <p:nvPr/>
        </p:nvGrpSpPr>
        <p:grpSpPr>
          <a:xfrm>
            <a:off x="8581006" y="5160873"/>
            <a:ext cx="134410" cy="134410"/>
            <a:chOff x="8754090" y="5229646"/>
            <a:chExt cx="137160" cy="137160"/>
          </a:xfrm>
        </p:grpSpPr>
        <p:sp>
          <p:nvSpPr>
            <p:cNvPr id="131" name="Oval 130"/>
            <p:cNvSpPr/>
            <p:nvPr/>
          </p:nvSpPr>
          <p:spPr bwMode="auto">
            <a:xfrm>
              <a:off x="8754090" y="5229646"/>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Freeform 5"/>
            <p:cNvSpPr>
              <a:spLocks/>
            </p:cNvSpPr>
            <p:nvPr/>
          </p:nvSpPr>
          <p:spPr bwMode="auto">
            <a:xfrm>
              <a:off x="8777798" y="5258478"/>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78" name="Group 177"/>
          <p:cNvGrpSpPr/>
          <p:nvPr/>
        </p:nvGrpSpPr>
        <p:grpSpPr>
          <a:xfrm>
            <a:off x="5814403" y="1480653"/>
            <a:ext cx="134410" cy="134410"/>
            <a:chOff x="5111773" y="4266738"/>
            <a:chExt cx="137160" cy="137160"/>
          </a:xfrm>
        </p:grpSpPr>
        <p:sp>
          <p:nvSpPr>
            <p:cNvPr id="137" name="Oval 136"/>
            <p:cNvSpPr/>
            <p:nvPr/>
          </p:nvSpPr>
          <p:spPr bwMode="auto">
            <a:xfrm>
              <a:off x="5111773" y="4266738"/>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5"/>
            <p:cNvSpPr>
              <a:spLocks/>
            </p:cNvSpPr>
            <p:nvPr/>
          </p:nvSpPr>
          <p:spPr bwMode="auto">
            <a:xfrm>
              <a:off x="5135481" y="4295570"/>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77" name="Group 176"/>
          <p:cNvGrpSpPr/>
          <p:nvPr/>
        </p:nvGrpSpPr>
        <p:grpSpPr>
          <a:xfrm>
            <a:off x="6396014" y="1734791"/>
            <a:ext cx="134410" cy="134410"/>
            <a:chOff x="5111773" y="4503621"/>
            <a:chExt cx="137160" cy="137160"/>
          </a:xfrm>
        </p:grpSpPr>
        <p:sp>
          <p:nvSpPr>
            <p:cNvPr id="139" name="Oval 138"/>
            <p:cNvSpPr/>
            <p:nvPr/>
          </p:nvSpPr>
          <p:spPr bwMode="auto">
            <a:xfrm>
              <a:off x="5111773" y="4503621"/>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5"/>
            <p:cNvSpPr>
              <a:spLocks/>
            </p:cNvSpPr>
            <p:nvPr/>
          </p:nvSpPr>
          <p:spPr bwMode="auto">
            <a:xfrm>
              <a:off x="5135481" y="4532453"/>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76" name="Group 175"/>
          <p:cNvGrpSpPr/>
          <p:nvPr/>
        </p:nvGrpSpPr>
        <p:grpSpPr>
          <a:xfrm>
            <a:off x="5814403" y="1973915"/>
            <a:ext cx="134410" cy="134410"/>
            <a:chOff x="5111773" y="4759554"/>
            <a:chExt cx="137160" cy="137160"/>
          </a:xfrm>
        </p:grpSpPr>
        <p:sp>
          <p:nvSpPr>
            <p:cNvPr id="141" name="Oval 140"/>
            <p:cNvSpPr/>
            <p:nvPr/>
          </p:nvSpPr>
          <p:spPr bwMode="auto">
            <a:xfrm>
              <a:off x="5111773" y="4759554"/>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Freeform 5"/>
            <p:cNvSpPr>
              <a:spLocks/>
            </p:cNvSpPr>
            <p:nvPr/>
          </p:nvSpPr>
          <p:spPr bwMode="auto">
            <a:xfrm>
              <a:off x="5135481" y="4788386"/>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75" name="Group 174"/>
          <p:cNvGrpSpPr/>
          <p:nvPr/>
        </p:nvGrpSpPr>
        <p:grpSpPr>
          <a:xfrm>
            <a:off x="6396014" y="2223023"/>
            <a:ext cx="134410" cy="134410"/>
            <a:chOff x="5111773" y="5015487"/>
            <a:chExt cx="137160" cy="137160"/>
          </a:xfrm>
        </p:grpSpPr>
        <p:sp>
          <p:nvSpPr>
            <p:cNvPr id="143" name="Oval 142"/>
            <p:cNvSpPr/>
            <p:nvPr/>
          </p:nvSpPr>
          <p:spPr bwMode="auto">
            <a:xfrm>
              <a:off x="5111773" y="5015487"/>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4" name="Freeform 5"/>
            <p:cNvSpPr>
              <a:spLocks/>
            </p:cNvSpPr>
            <p:nvPr/>
          </p:nvSpPr>
          <p:spPr bwMode="auto">
            <a:xfrm>
              <a:off x="5135481" y="5044319"/>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74" name="Group 173"/>
          <p:cNvGrpSpPr/>
          <p:nvPr/>
        </p:nvGrpSpPr>
        <p:grpSpPr>
          <a:xfrm>
            <a:off x="6396014" y="2468666"/>
            <a:ext cx="134410" cy="134410"/>
            <a:chOff x="5111773" y="5261895"/>
            <a:chExt cx="137160" cy="137160"/>
          </a:xfrm>
        </p:grpSpPr>
        <p:sp>
          <p:nvSpPr>
            <p:cNvPr id="145" name="Oval 144"/>
            <p:cNvSpPr/>
            <p:nvPr/>
          </p:nvSpPr>
          <p:spPr bwMode="auto">
            <a:xfrm>
              <a:off x="5111773" y="5261895"/>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5"/>
            <p:cNvSpPr>
              <a:spLocks/>
            </p:cNvSpPr>
            <p:nvPr/>
          </p:nvSpPr>
          <p:spPr bwMode="auto">
            <a:xfrm>
              <a:off x="5135481" y="5290727"/>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73" name="Group 172"/>
          <p:cNvGrpSpPr/>
          <p:nvPr/>
        </p:nvGrpSpPr>
        <p:grpSpPr>
          <a:xfrm>
            <a:off x="6396014" y="3195814"/>
            <a:ext cx="134410" cy="134410"/>
            <a:chOff x="5111773" y="5517828"/>
            <a:chExt cx="137160" cy="137160"/>
          </a:xfrm>
        </p:grpSpPr>
        <p:sp>
          <p:nvSpPr>
            <p:cNvPr id="147" name="Oval 146"/>
            <p:cNvSpPr/>
            <p:nvPr/>
          </p:nvSpPr>
          <p:spPr bwMode="auto">
            <a:xfrm>
              <a:off x="5111773" y="5517828"/>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Freeform 5"/>
            <p:cNvSpPr>
              <a:spLocks/>
            </p:cNvSpPr>
            <p:nvPr/>
          </p:nvSpPr>
          <p:spPr bwMode="auto">
            <a:xfrm>
              <a:off x="5135481" y="5546660"/>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72" name="Group 171"/>
          <p:cNvGrpSpPr/>
          <p:nvPr/>
        </p:nvGrpSpPr>
        <p:grpSpPr>
          <a:xfrm>
            <a:off x="6396014" y="3687100"/>
            <a:ext cx="134410" cy="134410"/>
            <a:chOff x="5111773" y="5764236"/>
            <a:chExt cx="137160" cy="137160"/>
          </a:xfrm>
        </p:grpSpPr>
        <p:sp>
          <p:nvSpPr>
            <p:cNvPr id="149" name="Oval 148"/>
            <p:cNvSpPr/>
            <p:nvPr/>
          </p:nvSpPr>
          <p:spPr bwMode="auto">
            <a:xfrm>
              <a:off x="5111773" y="5764236"/>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Freeform 5"/>
            <p:cNvSpPr>
              <a:spLocks/>
            </p:cNvSpPr>
            <p:nvPr/>
          </p:nvSpPr>
          <p:spPr bwMode="auto">
            <a:xfrm>
              <a:off x="5135481" y="5793068"/>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79" name="Group 78"/>
          <p:cNvGrpSpPr/>
          <p:nvPr/>
        </p:nvGrpSpPr>
        <p:grpSpPr>
          <a:xfrm>
            <a:off x="10348745" y="1480650"/>
            <a:ext cx="134410" cy="134410"/>
            <a:chOff x="8754090" y="1484660"/>
            <a:chExt cx="137160" cy="137160"/>
          </a:xfrm>
        </p:grpSpPr>
        <p:sp>
          <p:nvSpPr>
            <p:cNvPr id="80" name="Oval 79"/>
            <p:cNvSpPr/>
            <p:nvPr/>
          </p:nvSpPr>
          <p:spPr bwMode="auto">
            <a:xfrm>
              <a:off x="8754090" y="1484660"/>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Freeform 5"/>
            <p:cNvSpPr>
              <a:spLocks/>
            </p:cNvSpPr>
            <p:nvPr/>
          </p:nvSpPr>
          <p:spPr bwMode="auto">
            <a:xfrm>
              <a:off x="8777798" y="1513492"/>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82" name="Group 81"/>
          <p:cNvGrpSpPr/>
          <p:nvPr/>
        </p:nvGrpSpPr>
        <p:grpSpPr>
          <a:xfrm>
            <a:off x="10767571" y="1734790"/>
            <a:ext cx="134410" cy="134410"/>
            <a:chOff x="8754090" y="1740593"/>
            <a:chExt cx="137160" cy="137160"/>
          </a:xfrm>
        </p:grpSpPr>
        <p:sp>
          <p:nvSpPr>
            <p:cNvPr id="83" name="Oval 82"/>
            <p:cNvSpPr/>
            <p:nvPr/>
          </p:nvSpPr>
          <p:spPr bwMode="auto">
            <a:xfrm>
              <a:off x="8754090" y="1740593"/>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Freeform 5"/>
            <p:cNvSpPr>
              <a:spLocks/>
            </p:cNvSpPr>
            <p:nvPr/>
          </p:nvSpPr>
          <p:spPr bwMode="auto">
            <a:xfrm>
              <a:off x="8777798" y="1769425"/>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61" name="Group 160"/>
          <p:cNvGrpSpPr/>
          <p:nvPr/>
        </p:nvGrpSpPr>
        <p:grpSpPr>
          <a:xfrm>
            <a:off x="10757894" y="5145563"/>
            <a:ext cx="134410" cy="134410"/>
            <a:chOff x="8754090" y="2233409"/>
            <a:chExt cx="137160" cy="137160"/>
          </a:xfrm>
        </p:grpSpPr>
        <p:sp>
          <p:nvSpPr>
            <p:cNvPr id="162" name="Oval 161"/>
            <p:cNvSpPr/>
            <p:nvPr/>
          </p:nvSpPr>
          <p:spPr bwMode="auto">
            <a:xfrm>
              <a:off x="8754090" y="2233409"/>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Freeform 5"/>
            <p:cNvSpPr>
              <a:spLocks/>
            </p:cNvSpPr>
            <p:nvPr/>
          </p:nvSpPr>
          <p:spPr bwMode="auto">
            <a:xfrm>
              <a:off x="8777798" y="2262241"/>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67" name="Group 166"/>
          <p:cNvGrpSpPr/>
          <p:nvPr/>
        </p:nvGrpSpPr>
        <p:grpSpPr>
          <a:xfrm>
            <a:off x="10757897" y="5416187"/>
            <a:ext cx="134410" cy="134410"/>
            <a:chOff x="8754090" y="2233409"/>
            <a:chExt cx="137160" cy="137160"/>
          </a:xfrm>
        </p:grpSpPr>
        <p:sp>
          <p:nvSpPr>
            <p:cNvPr id="168" name="Oval 167"/>
            <p:cNvSpPr/>
            <p:nvPr/>
          </p:nvSpPr>
          <p:spPr bwMode="auto">
            <a:xfrm>
              <a:off x="8754090" y="2233409"/>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69" name="Freeform 5"/>
            <p:cNvSpPr>
              <a:spLocks/>
            </p:cNvSpPr>
            <p:nvPr/>
          </p:nvSpPr>
          <p:spPr bwMode="auto">
            <a:xfrm>
              <a:off x="8777798" y="2262241"/>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94" name="Group 193"/>
          <p:cNvGrpSpPr/>
          <p:nvPr/>
        </p:nvGrpSpPr>
        <p:grpSpPr>
          <a:xfrm>
            <a:off x="10751940" y="2207755"/>
            <a:ext cx="134410" cy="134410"/>
            <a:chOff x="8754090" y="2233409"/>
            <a:chExt cx="137160" cy="137160"/>
          </a:xfrm>
        </p:grpSpPr>
        <p:sp>
          <p:nvSpPr>
            <p:cNvPr id="195" name="Oval 194"/>
            <p:cNvSpPr/>
            <p:nvPr/>
          </p:nvSpPr>
          <p:spPr bwMode="auto">
            <a:xfrm>
              <a:off x="8754090" y="2233409"/>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Freeform 5"/>
            <p:cNvSpPr>
              <a:spLocks/>
            </p:cNvSpPr>
            <p:nvPr/>
          </p:nvSpPr>
          <p:spPr bwMode="auto">
            <a:xfrm>
              <a:off x="8777798" y="2262241"/>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197" name="Group 196"/>
          <p:cNvGrpSpPr/>
          <p:nvPr/>
        </p:nvGrpSpPr>
        <p:grpSpPr>
          <a:xfrm>
            <a:off x="10751940" y="2458557"/>
            <a:ext cx="134410" cy="134410"/>
            <a:chOff x="8754090" y="2489342"/>
            <a:chExt cx="137160" cy="137160"/>
          </a:xfrm>
        </p:grpSpPr>
        <p:sp>
          <p:nvSpPr>
            <p:cNvPr id="198" name="Oval 197"/>
            <p:cNvSpPr/>
            <p:nvPr/>
          </p:nvSpPr>
          <p:spPr bwMode="auto">
            <a:xfrm>
              <a:off x="8754090" y="2489342"/>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Freeform 5"/>
            <p:cNvSpPr>
              <a:spLocks/>
            </p:cNvSpPr>
            <p:nvPr/>
          </p:nvSpPr>
          <p:spPr bwMode="auto">
            <a:xfrm>
              <a:off x="8777798" y="2518174"/>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200" name="Group 199"/>
          <p:cNvGrpSpPr/>
          <p:nvPr/>
        </p:nvGrpSpPr>
        <p:grpSpPr>
          <a:xfrm>
            <a:off x="10751940" y="2693801"/>
            <a:ext cx="134410" cy="134410"/>
            <a:chOff x="8754090" y="2735750"/>
            <a:chExt cx="137160" cy="137160"/>
          </a:xfrm>
        </p:grpSpPr>
        <p:sp>
          <p:nvSpPr>
            <p:cNvPr id="201" name="Oval 200"/>
            <p:cNvSpPr/>
            <p:nvPr/>
          </p:nvSpPr>
          <p:spPr bwMode="auto">
            <a:xfrm>
              <a:off x="8754090" y="2735750"/>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Freeform 5"/>
            <p:cNvSpPr>
              <a:spLocks/>
            </p:cNvSpPr>
            <p:nvPr/>
          </p:nvSpPr>
          <p:spPr bwMode="auto">
            <a:xfrm>
              <a:off x="8777798" y="2764582"/>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203" name="Group 202"/>
          <p:cNvGrpSpPr/>
          <p:nvPr/>
        </p:nvGrpSpPr>
        <p:grpSpPr>
          <a:xfrm>
            <a:off x="10751940" y="2941490"/>
            <a:ext cx="134410" cy="134410"/>
            <a:chOff x="8754090" y="2991683"/>
            <a:chExt cx="137160" cy="137160"/>
          </a:xfrm>
        </p:grpSpPr>
        <p:sp>
          <p:nvSpPr>
            <p:cNvPr id="204" name="Oval 203"/>
            <p:cNvSpPr/>
            <p:nvPr/>
          </p:nvSpPr>
          <p:spPr bwMode="auto">
            <a:xfrm>
              <a:off x="8754090" y="2991683"/>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05" name="Freeform 5"/>
            <p:cNvSpPr>
              <a:spLocks/>
            </p:cNvSpPr>
            <p:nvPr/>
          </p:nvSpPr>
          <p:spPr bwMode="auto">
            <a:xfrm>
              <a:off x="8777798" y="3020515"/>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206" name="Group 205"/>
          <p:cNvGrpSpPr/>
          <p:nvPr/>
        </p:nvGrpSpPr>
        <p:grpSpPr>
          <a:xfrm>
            <a:off x="10751940" y="3186069"/>
            <a:ext cx="134410" cy="134410"/>
            <a:chOff x="8754090" y="3238091"/>
            <a:chExt cx="137160" cy="137160"/>
          </a:xfrm>
        </p:grpSpPr>
        <p:sp>
          <p:nvSpPr>
            <p:cNvPr id="207" name="Oval 206"/>
            <p:cNvSpPr/>
            <p:nvPr/>
          </p:nvSpPr>
          <p:spPr bwMode="auto">
            <a:xfrm>
              <a:off x="8754090" y="3238091"/>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08" name="Freeform 5"/>
            <p:cNvSpPr>
              <a:spLocks/>
            </p:cNvSpPr>
            <p:nvPr/>
          </p:nvSpPr>
          <p:spPr bwMode="auto">
            <a:xfrm>
              <a:off x="8777798" y="3266923"/>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209" name="Group 208"/>
          <p:cNvGrpSpPr/>
          <p:nvPr/>
        </p:nvGrpSpPr>
        <p:grpSpPr>
          <a:xfrm>
            <a:off x="10751940" y="3430646"/>
            <a:ext cx="134410" cy="134410"/>
            <a:chOff x="8754090" y="3474974"/>
            <a:chExt cx="137160" cy="137160"/>
          </a:xfrm>
        </p:grpSpPr>
        <p:sp>
          <p:nvSpPr>
            <p:cNvPr id="210" name="Oval 209"/>
            <p:cNvSpPr/>
            <p:nvPr/>
          </p:nvSpPr>
          <p:spPr bwMode="auto">
            <a:xfrm>
              <a:off x="8754090" y="3474974"/>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Freeform 5"/>
            <p:cNvSpPr>
              <a:spLocks/>
            </p:cNvSpPr>
            <p:nvPr/>
          </p:nvSpPr>
          <p:spPr bwMode="auto">
            <a:xfrm>
              <a:off x="8777798" y="3503806"/>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212" name="Group 211"/>
          <p:cNvGrpSpPr/>
          <p:nvPr/>
        </p:nvGrpSpPr>
        <p:grpSpPr>
          <a:xfrm>
            <a:off x="10751940" y="3675225"/>
            <a:ext cx="134410" cy="134410"/>
            <a:chOff x="8754090" y="3740432"/>
            <a:chExt cx="137160" cy="137160"/>
          </a:xfrm>
        </p:grpSpPr>
        <p:sp>
          <p:nvSpPr>
            <p:cNvPr id="213" name="Oval 212"/>
            <p:cNvSpPr/>
            <p:nvPr/>
          </p:nvSpPr>
          <p:spPr bwMode="auto">
            <a:xfrm>
              <a:off x="8754090" y="3740432"/>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Freeform 5"/>
            <p:cNvSpPr>
              <a:spLocks/>
            </p:cNvSpPr>
            <p:nvPr/>
          </p:nvSpPr>
          <p:spPr bwMode="auto">
            <a:xfrm>
              <a:off x="8777798" y="3769264"/>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215" name="Group 214"/>
          <p:cNvGrpSpPr/>
          <p:nvPr/>
        </p:nvGrpSpPr>
        <p:grpSpPr>
          <a:xfrm>
            <a:off x="10751940" y="3919804"/>
            <a:ext cx="134410" cy="134410"/>
            <a:chOff x="8754090" y="3977315"/>
            <a:chExt cx="137160" cy="137160"/>
          </a:xfrm>
        </p:grpSpPr>
        <p:sp>
          <p:nvSpPr>
            <p:cNvPr id="216" name="Oval 215"/>
            <p:cNvSpPr/>
            <p:nvPr/>
          </p:nvSpPr>
          <p:spPr bwMode="auto">
            <a:xfrm>
              <a:off x="8754090" y="3977315"/>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17" name="Freeform 5"/>
            <p:cNvSpPr>
              <a:spLocks/>
            </p:cNvSpPr>
            <p:nvPr/>
          </p:nvSpPr>
          <p:spPr bwMode="auto">
            <a:xfrm>
              <a:off x="8777798" y="4006147"/>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218" name="Group 217"/>
          <p:cNvGrpSpPr/>
          <p:nvPr/>
        </p:nvGrpSpPr>
        <p:grpSpPr>
          <a:xfrm>
            <a:off x="10751940" y="4164381"/>
            <a:ext cx="134410" cy="134410"/>
            <a:chOff x="8754090" y="4233248"/>
            <a:chExt cx="137160" cy="137160"/>
          </a:xfrm>
        </p:grpSpPr>
        <p:sp>
          <p:nvSpPr>
            <p:cNvPr id="219" name="Oval 218"/>
            <p:cNvSpPr/>
            <p:nvPr/>
          </p:nvSpPr>
          <p:spPr bwMode="auto">
            <a:xfrm>
              <a:off x="8754090" y="4233248"/>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20" name="Freeform 5"/>
            <p:cNvSpPr>
              <a:spLocks/>
            </p:cNvSpPr>
            <p:nvPr/>
          </p:nvSpPr>
          <p:spPr bwMode="auto">
            <a:xfrm>
              <a:off x="8777798" y="4262080"/>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221" name="Group 220"/>
          <p:cNvGrpSpPr/>
          <p:nvPr/>
        </p:nvGrpSpPr>
        <p:grpSpPr>
          <a:xfrm>
            <a:off x="10751940" y="4408960"/>
            <a:ext cx="134410" cy="134410"/>
            <a:chOff x="8754090" y="4479656"/>
            <a:chExt cx="137160" cy="137160"/>
          </a:xfrm>
        </p:grpSpPr>
        <p:sp>
          <p:nvSpPr>
            <p:cNvPr id="222" name="Oval 221"/>
            <p:cNvSpPr/>
            <p:nvPr/>
          </p:nvSpPr>
          <p:spPr bwMode="auto">
            <a:xfrm>
              <a:off x="8754090" y="4479656"/>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23" name="Freeform 5"/>
            <p:cNvSpPr>
              <a:spLocks/>
            </p:cNvSpPr>
            <p:nvPr/>
          </p:nvSpPr>
          <p:spPr bwMode="auto">
            <a:xfrm>
              <a:off x="8777798" y="4508488"/>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224" name="Group 223"/>
          <p:cNvGrpSpPr/>
          <p:nvPr/>
        </p:nvGrpSpPr>
        <p:grpSpPr>
          <a:xfrm>
            <a:off x="10751940" y="4650426"/>
            <a:ext cx="134410" cy="134410"/>
            <a:chOff x="8754090" y="4735589"/>
            <a:chExt cx="137160" cy="137160"/>
          </a:xfrm>
        </p:grpSpPr>
        <p:sp>
          <p:nvSpPr>
            <p:cNvPr id="225" name="Oval 224"/>
            <p:cNvSpPr/>
            <p:nvPr/>
          </p:nvSpPr>
          <p:spPr bwMode="auto">
            <a:xfrm>
              <a:off x="8754090" y="4735589"/>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26" name="Freeform 5"/>
            <p:cNvSpPr>
              <a:spLocks/>
            </p:cNvSpPr>
            <p:nvPr/>
          </p:nvSpPr>
          <p:spPr bwMode="auto">
            <a:xfrm>
              <a:off x="8777798" y="4764421"/>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grpSp>
        <p:nvGrpSpPr>
          <p:cNvPr id="260" name="Group 259"/>
          <p:cNvGrpSpPr/>
          <p:nvPr/>
        </p:nvGrpSpPr>
        <p:grpSpPr>
          <a:xfrm>
            <a:off x="8581006" y="2713672"/>
            <a:ext cx="134410" cy="134410"/>
            <a:chOff x="8754090" y="2489342"/>
            <a:chExt cx="137160" cy="137160"/>
          </a:xfrm>
        </p:grpSpPr>
        <p:sp>
          <p:nvSpPr>
            <p:cNvPr id="261" name="Oval 260"/>
            <p:cNvSpPr/>
            <p:nvPr/>
          </p:nvSpPr>
          <p:spPr bwMode="auto">
            <a:xfrm>
              <a:off x="8754090" y="2489342"/>
              <a:ext cx="137160" cy="1371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62" name="Freeform 5"/>
            <p:cNvSpPr>
              <a:spLocks/>
            </p:cNvSpPr>
            <p:nvPr/>
          </p:nvSpPr>
          <p:spPr bwMode="auto">
            <a:xfrm>
              <a:off x="8777798" y="2518174"/>
              <a:ext cx="89744" cy="79497"/>
            </a:xfrm>
            <a:custGeom>
              <a:avLst/>
              <a:gdLst>
                <a:gd name="T0" fmla="*/ 543 w 543"/>
                <a:gd name="T1" fmla="*/ 80 h 481"/>
                <a:gd name="T2" fmla="*/ 441 w 543"/>
                <a:gd name="T3" fmla="*/ 0 h 481"/>
                <a:gd name="T4" fmla="*/ 207 w 543"/>
                <a:gd name="T5" fmla="*/ 305 h 481"/>
                <a:gd name="T6" fmla="*/ 74 w 543"/>
                <a:gd name="T7" fmla="*/ 203 h 481"/>
                <a:gd name="T8" fmla="*/ 0 w 543"/>
                <a:gd name="T9" fmla="*/ 299 h 481"/>
                <a:gd name="T10" fmla="*/ 236 w 543"/>
                <a:gd name="T11" fmla="*/ 481 h 481"/>
                <a:gd name="T12" fmla="*/ 310 w 543"/>
                <a:gd name="T13" fmla="*/ 385 h 481"/>
                <a:gd name="T14" fmla="*/ 310 w 543"/>
                <a:gd name="T15" fmla="*/ 385 h 481"/>
                <a:gd name="T16" fmla="*/ 543 w 543"/>
                <a:gd name="T17" fmla="*/ 80 h 481"/>
                <a:gd name="T18" fmla="*/ 543 w 543"/>
                <a:gd name="T19" fmla="*/ 80 h 481"/>
                <a:gd name="T20" fmla="*/ 543 w 543"/>
                <a:gd name="T21" fmla="*/ 8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3" h="481">
                  <a:moveTo>
                    <a:pt x="543" y="80"/>
                  </a:moveTo>
                  <a:lnTo>
                    <a:pt x="441" y="0"/>
                  </a:lnTo>
                  <a:lnTo>
                    <a:pt x="207" y="305"/>
                  </a:lnTo>
                  <a:lnTo>
                    <a:pt x="74" y="203"/>
                  </a:lnTo>
                  <a:lnTo>
                    <a:pt x="0" y="299"/>
                  </a:lnTo>
                  <a:lnTo>
                    <a:pt x="236" y="481"/>
                  </a:lnTo>
                  <a:lnTo>
                    <a:pt x="310" y="385"/>
                  </a:lnTo>
                  <a:lnTo>
                    <a:pt x="310" y="385"/>
                  </a:lnTo>
                  <a:lnTo>
                    <a:pt x="543" y="80"/>
                  </a:lnTo>
                  <a:lnTo>
                    <a:pt x="543" y="80"/>
                  </a:lnTo>
                  <a:lnTo>
                    <a:pt x="543" y="80"/>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505050"/>
                </a:solidFill>
              </a:endParaRPr>
            </a:p>
          </p:txBody>
        </p:sp>
      </p:grpSp>
      <p:sp>
        <p:nvSpPr>
          <p:cNvPr id="2" name="TextBox 1"/>
          <p:cNvSpPr txBox="1"/>
          <p:nvPr/>
        </p:nvSpPr>
        <p:spPr>
          <a:xfrm>
            <a:off x="269755" y="5676582"/>
            <a:ext cx="8311250" cy="516991"/>
          </a:xfrm>
          <a:prstGeom prst="rect">
            <a:avLst/>
          </a:prstGeom>
          <a:noFill/>
        </p:spPr>
        <p:txBody>
          <a:bodyPr wrap="square" lIns="182854" tIns="146284" rIns="182854" bIns="146284" rtlCol="0">
            <a:spAutoFit/>
          </a:bodyPr>
          <a:lstStyle/>
          <a:p>
            <a:pPr defTabSz="914225">
              <a:lnSpc>
                <a:spcPct val="90000"/>
              </a:lnSpc>
              <a:spcAft>
                <a:spcPts val="600"/>
              </a:spcAft>
            </a:pPr>
            <a:r>
              <a:rPr lang="en-US" sz="1600" dirty="0">
                <a:gradFill>
                  <a:gsLst>
                    <a:gs pos="2917">
                      <a:srgbClr val="505050"/>
                    </a:gs>
                    <a:gs pos="30000">
                      <a:srgbClr val="505050"/>
                    </a:gs>
                  </a:gsLst>
                  <a:lin ang="5400000" scaled="0"/>
                </a:gradFill>
              </a:rPr>
              <a:t>http://msdn.microsoft.com/library/azure/dn532272.aspx</a:t>
            </a:r>
          </a:p>
        </p:txBody>
      </p:sp>
    </p:spTree>
    <p:extLst>
      <p:ext uri="{BB962C8B-B14F-4D97-AF65-F5344CB8AC3E}">
        <p14:creationId xmlns:p14="http://schemas.microsoft.com/office/powerpoint/2010/main" val="353380106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4751905" y="1510740"/>
            <a:ext cx="7168514" cy="5228896"/>
          </a:xfrm>
        </p:spPr>
        <p:txBody>
          <a:bodyPr/>
          <a:lstStyle/>
          <a:p>
            <a:pPr marL="0" indent="0">
              <a:spcBef>
                <a:spcPts val="2399"/>
              </a:spcBef>
              <a:buNone/>
            </a:pPr>
            <a:r>
              <a:rPr lang="en-US" sz="3135" spc="-70" dirty="0">
                <a:solidFill>
                  <a:schemeClr val="bg1"/>
                </a:solidFill>
                <a:latin typeface="Segoe UI Light"/>
              </a:rPr>
              <a:t>A stand-alone Azure Identity and Access management service also included in Azure Active Directory Premium</a:t>
            </a:r>
          </a:p>
          <a:p>
            <a:pPr marL="0" indent="0">
              <a:spcBef>
                <a:spcPts val="2399"/>
              </a:spcBef>
              <a:buNone/>
            </a:pPr>
            <a:r>
              <a:rPr lang="en-US" sz="3135" spc="-70" dirty="0">
                <a:solidFill>
                  <a:schemeClr val="bg1"/>
                </a:solidFill>
                <a:latin typeface="Segoe UI Light"/>
              </a:rPr>
              <a:t>Prevents unauthorized access to both on-premises and cloud applications by providing an additional level of authentication</a:t>
            </a:r>
          </a:p>
          <a:p>
            <a:pPr marL="0" indent="0">
              <a:spcBef>
                <a:spcPts val="2399"/>
              </a:spcBef>
              <a:buNone/>
            </a:pPr>
            <a:r>
              <a:rPr lang="en-US" sz="3135" spc="-70" dirty="0">
                <a:solidFill>
                  <a:schemeClr val="bg1"/>
                </a:solidFill>
                <a:latin typeface="Segoe UI Light"/>
              </a:rPr>
              <a:t>Trusted by thousands of enterprises to authenticate employee, customer, and partner access.</a:t>
            </a:r>
          </a:p>
        </p:txBody>
      </p:sp>
      <p:sp useBgFill="1">
        <p:nvSpPr>
          <p:cNvPr id="2" name="Rectangle 1"/>
          <p:cNvSpPr/>
          <p:nvPr/>
        </p:nvSpPr>
        <p:spPr bwMode="auto">
          <a:xfrm>
            <a:off x="2453" y="1866"/>
            <a:ext cx="4824124" cy="685427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15" name="Freeform 128"/>
          <p:cNvSpPr>
            <a:spLocks noChangeAspect="1"/>
          </p:cNvSpPr>
          <p:nvPr/>
        </p:nvSpPr>
        <p:spPr bwMode="black">
          <a:xfrm>
            <a:off x="360897" y="2160035"/>
            <a:ext cx="4107236" cy="226889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38100">
            <a:noFill/>
          </a:ln>
          <a:extLst/>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sp>
        <p:nvSpPr>
          <p:cNvPr id="16" name="Freeform 128"/>
          <p:cNvSpPr>
            <a:spLocks noChangeAspect="1"/>
          </p:cNvSpPr>
          <p:nvPr/>
        </p:nvSpPr>
        <p:spPr bwMode="black">
          <a:xfrm>
            <a:off x="457851" y="822136"/>
            <a:ext cx="4107234" cy="226889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38100">
            <a:solidFill>
              <a:srgbClr val="FFFFFF"/>
            </a:solidFill>
          </a:ln>
          <a:extLst/>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pic>
        <p:nvPicPr>
          <p:cNvPr id="14" name="Picture 1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rot="-600000">
            <a:off x="2268921" y="2487584"/>
            <a:ext cx="587635" cy="1500766"/>
          </a:xfrm>
          <a:prstGeom prst="rect">
            <a:avLst/>
          </a:prstGeom>
        </p:spPr>
      </p:pic>
      <p:grpSp>
        <p:nvGrpSpPr>
          <p:cNvPr id="3" name="Group 2"/>
          <p:cNvGrpSpPr/>
          <p:nvPr/>
        </p:nvGrpSpPr>
        <p:grpSpPr>
          <a:xfrm>
            <a:off x="2537602" y="5128483"/>
            <a:ext cx="1840662" cy="1111620"/>
            <a:chOff x="2197330" y="5313554"/>
            <a:chExt cx="2659244" cy="1605981"/>
          </a:xfrm>
          <a:solidFill>
            <a:srgbClr val="00188F"/>
          </a:solidFill>
        </p:grpSpPr>
        <p:sp>
          <p:nvSpPr>
            <p:cNvPr id="21" name="Freeform 6"/>
            <p:cNvSpPr>
              <a:spLocks/>
            </p:cNvSpPr>
            <p:nvPr/>
          </p:nvSpPr>
          <p:spPr bwMode="auto">
            <a:xfrm>
              <a:off x="2955897" y="5313554"/>
              <a:ext cx="1900677" cy="1018116"/>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292929"/>
                </a:solidFill>
              </a:endParaRPr>
            </a:p>
          </p:txBody>
        </p:sp>
        <p:sp>
          <p:nvSpPr>
            <p:cNvPr id="22" name="Freeform 7"/>
            <p:cNvSpPr>
              <a:spLocks/>
            </p:cNvSpPr>
            <p:nvPr userDrawn="1"/>
          </p:nvSpPr>
          <p:spPr bwMode="auto">
            <a:xfrm>
              <a:off x="2197330" y="5769364"/>
              <a:ext cx="2156374" cy="1150171"/>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292929"/>
                </a:solidFill>
              </a:endParaRPr>
            </a:p>
          </p:txBody>
        </p:sp>
      </p:grpSp>
      <p:sp>
        <p:nvSpPr>
          <p:cNvPr id="20" name="Freeform 5"/>
          <p:cNvSpPr>
            <a:spLocks noEditPoints="1"/>
          </p:cNvSpPr>
          <p:nvPr/>
        </p:nvSpPr>
        <p:spPr bwMode="auto">
          <a:xfrm>
            <a:off x="756170" y="4878034"/>
            <a:ext cx="1048277" cy="1612521"/>
          </a:xfrm>
          <a:custGeom>
            <a:avLst/>
            <a:gdLst>
              <a:gd name="T0" fmla="*/ 785 w 1503"/>
              <a:gd name="T1" fmla="*/ 824 h 2312"/>
              <a:gd name="T2" fmla="*/ 998 w 1503"/>
              <a:gd name="T3" fmla="*/ 824 h 2312"/>
              <a:gd name="T4" fmla="*/ 998 w 1503"/>
              <a:gd name="T5" fmla="*/ 2312 h 2312"/>
              <a:gd name="T6" fmla="*/ 592 w 1503"/>
              <a:gd name="T7" fmla="*/ 0 h 2312"/>
              <a:gd name="T8" fmla="*/ 998 w 1503"/>
              <a:gd name="T9" fmla="*/ 664 h 2312"/>
              <a:gd name="T10" fmla="*/ 998 w 1503"/>
              <a:gd name="T11" fmla="*/ 452 h 2312"/>
              <a:gd name="T12" fmla="*/ 998 w 1503"/>
              <a:gd name="T13" fmla="*/ 664 h 2312"/>
              <a:gd name="T14" fmla="*/ 785 w 1503"/>
              <a:gd name="T15" fmla="*/ 153 h 2312"/>
              <a:gd name="T16" fmla="*/ 998 w 1503"/>
              <a:gd name="T17" fmla="*/ 365 h 2312"/>
              <a:gd name="T18" fmla="*/ 1104 w 1503"/>
              <a:gd name="T19" fmla="*/ 1861 h 2312"/>
              <a:gd name="T20" fmla="*/ 1310 w 1503"/>
              <a:gd name="T21" fmla="*/ 1861 h 2312"/>
              <a:gd name="T22" fmla="*/ 1310 w 1503"/>
              <a:gd name="T23" fmla="*/ 1562 h 2312"/>
              <a:gd name="T24" fmla="*/ 1310 w 1503"/>
              <a:gd name="T25" fmla="*/ 1355 h 2312"/>
              <a:gd name="T26" fmla="*/ 1310 w 1503"/>
              <a:gd name="T27" fmla="*/ 1562 h 2312"/>
              <a:gd name="T28" fmla="*/ 1104 w 1503"/>
              <a:gd name="T29" fmla="*/ 1050 h 2312"/>
              <a:gd name="T30" fmla="*/ 1310 w 1503"/>
              <a:gd name="T31" fmla="*/ 1262 h 2312"/>
              <a:gd name="T32" fmla="*/ 1104 w 1503"/>
              <a:gd name="T33" fmla="*/ 963 h 2312"/>
              <a:gd name="T34" fmla="*/ 1310 w 1503"/>
              <a:gd name="T35" fmla="*/ 963 h 2312"/>
              <a:gd name="T36" fmla="*/ 1310 w 1503"/>
              <a:gd name="T37" fmla="*/ 664 h 2312"/>
              <a:gd name="T38" fmla="*/ 1310 w 1503"/>
              <a:gd name="T39" fmla="*/ 452 h 2312"/>
              <a:gd name="T40" fmla="*/ 1310 w 1503"/>
              <a:gd name="T41" fmla="*/ 664 h 2312"/>
              <a:gd name="T42" fmla="*/ 1104 w 1503"/>
              <a:gd name="T43" fmla="*/ 153 h 2312"/>
              <a:gd name="T44" fmla="*/ 1310 w 1503"/>
              <a:gd name="T45" fmla="*/ 365 h 2312"/>
              <a:gd name="T46" fmla="*/ 0 w 1503"/>
              <a:gd name="T47" fmla="*/ 2312 h 2312"/>
              <a:gd name="T48" fmla="*/ 0 w 1503"/>
              <a:gd name="T49" fmla="*/ 911 h 2312"/>
              <a:gd name="T50" fmla="*/ 399 w 1503"/>
              <a:gd name="T51" fmla="*/ 2166 h 2312"/>
              <a:gd name="T52" fmla="*/ 399 w 1503"/>
              <a:gd name="T53" fmla="*/ 1954 h 2312"/>
              <a:gd name="T54" fmla="*/ 399 w 1503"/>
              <a:gd name="T55" fmla="*/ 2166 h 2312"/>
              <a:gd name="T56" fmla="*/ 193 w 1503"/>
              <a:gd name="T57" fmla="*/ 1654 h 2312"/>
              <a:gd name="T58" fmla="*/ 399 w 1503"/>
              <a:gd name="T59" fmla="*/ 1861 h 2312"/>
              <a:gd name="T60" fmla="*/ 193 w 1503"/>
              <a:gd name="T61" fmla="*/ 1562 h 2312"/>
              <a:gd name="T62" fmla="*/ 399 w 1503"/>
              <a:gd name="T63" fmla="*/ 1562 h 2312"/>
              <a:gd name="T64" fmla="*/ 399 w 1503"/>
              <a:gd name="T65" fmla="*/ 1262 h 2312"/>
              <a:gd name="T66" fmla="*/ 399 w 1503"/>
              <a:gd name="T67" fmla="*/ 1050 h 2312"/>
              <a:gd name="T68" fmla="*/ 399 w 1503"/>
              <a:gd name="T69" fmla="*/ 1262 h 2312"/>
              <a:gd name="T70" fmla="*/ 506 w 1503"/>
              <a:gd name="T71" fmla="*/ 1954 h 2312"/>
              <a:gd name="T72" fmla="*/ 718 w 1503"/>
              <a:gd name="T73" fmla="*/ 2166 h 2312"/>
              <a:gd name="T74" fmla="*/ 506 w 1503"/>
              <a:gd name="T75" fmla="*/ 1861 h 2312"/>
              <a:gd name="T76" fmla="*/ 718 w 1503"/>
              <a:gd name="T77" fmla="*/ 1861 h 2312"/>
              <a:gd name="T78" fmla="*/ 718 w 1503"/>
              <a:gd name="T79" fmla="*/ 1562 h 2312"/>
              <a:gd name="T80" fmla="*/ 718 w 1503"/>
              <a:gd name="T81" fmla="*/ 1355 h 2312"/>
              <a:gd name="T82" fmla="*/ 718 w 1503"/>
              <a:gd name="T83" fmla="*/ 1562 h 2312"/>
              <a:gd name="T84" fmla="*/ 506 w 1503"/>
              <a:gd name="T85" fmla="*/ 1050 h 2312"/>
              <a:gd name="T86" fmla="*/ 718 w 1503"/>
              <a:gd name="T87" fmla="*/ 1262 h 2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03" h="2312">
                <a:moveTo>
                  <a:pt x="592" y="0"/>
                </a:moveTo>
                <a:lnTo>
                  <a:pt x="592" y="824"/>
                </a:lnTo>
                <a:lnTo>
                  <a:pt x="785" y="824"/>
                </a:lnTo>
                <a:lnTo>
                  <a:pt x="785" y="751"/>
                </a:lnTo>
                <a:lnTo>
                  <a:pt x="998" y="751"/>
                </a:lnTo>
                <a:lnTo>
                  <a:pt x="998" y="824"/>
                </a:lnTo>
                <a:lnTo>
                  <a:pt x="998" y="911"/>
                </a:lnTo>
                <a:lnTo>
                  <a:pt x="998" y="963"/>
                </a:lnTo>
                <a:lnTo>
                  <a:pt x="998" y="2312"/>
                </a:lnTo>
                <a:lnTo>
                  <a:pt x="1503" y="2312"/>
                </a:lnTo>
                <a:lnTo>
                  <a:pt x="1503" y="0"/>
                </a:lnTo>
                <a:lnTo>
                  <a:pt x="592" y="0"/>
                </a:lnTo>
                <a:lnTo>
                  <a:pt x="592" y="0"/>
                </a:lnTo>
                <a:lnTo>
                  <a:pt x="592" y="0"/>
                </a:lnTo>
                <a:close/>
                <a:moveTo>
                  <a:pt x="998" y="664"/>
                </a:moveTo>
                <a:lnTo>
                  <a:pt x="785" y="664"/>
                </a:lnTo>
                <a:lnTo>
                  <a:pt x="785" y="452"/>
                </a:lnTo>
                <a:lnTo>
                  <a:pt x="998" y="452"/>
                </a:lnTo>
                <a:lnTo>
                  <a:pt x="998" y="664"/>
                </a:lnTo>
                <a:lnTo>
                  <a:pt x="998" y="664"/>
                </a:lnTo>
                <a:lnTo>
                  <a:pt x="998" y="664"/>
                </a:lnTo>
                <a:close/>
                <a:moveTo>
                  <a:pt x="998" y="365"/>
                </a:moveTo>
                <a:lnTo>
                  <a:pt x="785" y="365"/>
                </a:lnTo>
                <a:lnTo>
                  <a:pt x="785" y="153"/>
                </a:lnTo>
                <a:lnTo>
                  <a:pt x="998" y="153"/>
                </a:lnTo>
                <a:lnTo>
                  <a:pt x="998" y="365"/>
                </a:lnTo>
                <a:lnTo>
                  <a:pt x="998" y="365"/>
                </a:lnTo>
                <a:lnTo>
                  <a:pt x="998" y="365"/>
                </a:lnTo>
                <a:close/>
                <a:moveTo>
                  <a:pt x="1310" y="1861"/>
                </a:moveTo>
                <a:lnTo>
                  <a:pt x="1104" y="1861"/>
                </a:lnTo>
                <a:lnTo>
                  <a:pt x="1104" y="1654"/>
                </a:lnTo>
                <a:lnTo>
                  <a:pt x="1310" y="1654"/>
                </a:lnTo>
                <a:lnTo>
                  <a:pt x="1310" y="1861"/>
                </a:lnTo>
                <a:lnTo>
                  <a:pt x="1310" y="1861"/>
                </a:lnTo>
                <a:lnTo>
                  <a:pt x="1310" y="1861"/>
                </a:lnTo>
                <a:close/>
                <a:moveTo>
                  <a:pt x="1310" y="1562"/>
                </a:moveTo>
                <a:lnTo>
                  <a:pt x="1104" y="1562"/>
                </a:lnTo>
                <a:lnTo>
                  <a:pt x="1104" y="1355"/>
                </a:lnTo>
                <a:lnTo>
                  <a:pt x="1310" y="1355"/>
                </a:lnTo>
                <a:lnTo>
                  <a:pt x="1310" y="1562"/>
                </a:lnTo>
                <a:lnTo>
                  <a:pt x="1310" y="1562"/>
                </a:lnTo>
                <a:lnTo>
                  <a:pt x="1310" y="1562"/>
                </a:lnTo>
                <a:close/>
                <a:moveTo>
                  <a:pt x="1310" y="1262"/>
                </a:moveTo>
                <a:lnTo>
                  <a:pt x="1104" y="1262"/>
                </a:lnTo>
                <a:lnTo>
                  <a:pt x="1104" y="1050"/>
                </a:lnTo>
                <a:lnTo>
                  <a:pt x="1310" y="1050"/>
                </a:lnTo>
                <a:lnTo>
                  <a:pt x="1310" y="1262"/>
                </a:lnTo>
                <a:lnTo>
                  <a:pt x="1310" y="1262"/>
                </a:lnTo>
                <a:lnTo>
                  <a:pt x="1310" y="1262"/>
                </a:lnTo>
                <a:close/>
                <a:moveTo>
                  <a:pt x="1310" y="963"/>
                </a:moveTo>
                <a:lnTo>
                  <a:pt x="1104" y="963"/>
                </a:lnTo>
                <a:lnTo>
                  <a:pt x="1104" y="751"/>
                </a:lnTo>
                <a:lnTo>
                  <a:pt x="1310" y="751"/>
                </a:lnTo>
                <a:lnTo>
                  <a:pt x="1310" y="963"/>
                </a:lnTo>
                <a:lnTo>
                  <a:pt x="1310" y="963"/>
                </a:lnTo>
                <a:lnTo>
                  <a:pt x="1310" y="963"/>
                </a:lnTo>
                <a:close/>
                <a:moveTo>
                  <a:pt x="1310" y="664"/>
                </a:moveTo>
                <a:lnTo>
                  <a:pt x="1104" y="664"/>
                </a:lnTo>
                <a:lnTo>
                  <a:pt x="1104" y="452"/>
                </a:lnTo>
                <a:lnTo>
                  <a:pt x="1310" y="452"/>
                </a:lnTo>
                <a:lnTo>
                  <a:pt x="1310" y="664"/>
                </a:lnTo>
                <a:lnTo>
                  <a:pt x="1310" y="664"/>
                </a:lnTo>
                <a:lnTo>
                  <a:pt x="1310" y="664"/>
                </a:lnTo>
                <a:close/>
                <a:moveTo>
                  <a:pt x="1310" y="365"/>
                </a:moveTo>
                <a:lnTo>
                  <a:pt x="1104" y="365"/>
                </a:lnTo>
                <a:lnTo>
                  <a:pt x="1104" y="153"/>
                </a:lnTo>
                <a:lnTo>
                  <a:pt x="1310" y="153"/>
                </a:lnTo>
                <a:lnTo>
                  <a:pt x="1310" y="365"/>
                </a:lnTo>
                <a:lnTo>
                  <a:pt x="1310" y="365"/>
                </a:lnTo>
                <a:lnTo>
                  <a:pt x="1310" y="365"/>
                </a:lnTo>
                <a:close/>
                <a:moveTo>
                  <a:pt x="0" y="911"/>
                </a:moveTo>
                <a:lnTo>
                  <a:pt x="0" y="2312"/>
                </a:lnTo>
                <a:lnTo>
                  <a:pt x="911" y="2312"/>
                </a:lnTo>
                <a:lnTo>
                  <a:pt x="911" y="911"/>
                </a:lnTo>
                <a:lnTo>
                  <a:pt x="0" y="911"/>
                </a:lnTo>
                <a:lnTo>
                  <a:pt x="0" y="911"/>
                </a:lnTo>
                <a:lnTo>
                  <a:pt x="0" y="911"/>
                </a:lnTo>
                <a:close/>
                <a:moveTo>
                  <a:pt x="399" y="2166"/>
                </a:moveTo>
                <a:lnTo>
                  <a:pt x="193" y="2166"/>
                </a:lnTo>
                <a:lnTo>
                  <a:pt x="193" y="1954"/>
                </a:lnTo>
                <a:lnTo>
                  <a:pt x="399" y="1954"/>
                </a:lnTo>
                <a:lnTo>
                  <a:pt x="399" y="2166"/>
                </a:lnTo>
                <a:lnTo>
                  <a:pt x="399" y="2166"/>
                </a:lnTo>
                <a:lnTo>
                  <a:pt x="399" y="2166"/>
                </a:lnTo>
                <a:close/>
                <a:moveTo>
                  <a:pt x="399" y="1861"/>
                </a:moveTo>
                <a:lnTo>
                  <a:pt x="193" y="1861"/>
                </a:lnTo>
                <a:lnTo>
                  <a:pt x="193" y="1654"/>
                </a:lnTo>
                <a:lnTo>
                  <a:pt x="399" y="1654"/>
                </a:lnTo>
                <a:lnTo>
                  <a:pt x="399" y="1861"/>
                </a:lnTo>
                <a:lnTo>
                  <a:pt x="399" y="1861"/>
                </a:lnTo>
                <a:lnTo>
                  <a:pt x="399" y="1861"/>
                </a:lnTo>
                <a:close/>
                <a:moveTo>
                  <a:pt x="399" y="1562"/>
                </a:moveTo>
                <a:lnTo>
                  <a:pt x="193" y="1562"/>
                </a:lnTo>
                <a:lnTo>
                  <a:pt x="193" y="1355"/>
                </a:lnTo>
                <a:lnTo>
                  <a:pt x="399" y="1355"/>
                </a:lnTo>
                <a:lnTo>
                  <a:pt x="399" y="1562"/>
                </a:lnTo>
                <a:lnTo>
                  <a:pt x="399" y="1562"/>
                </a:lnTo>
                <a:lnTo>
                  <a:pt x="399" y="1562"/>
                </a:lnTo>
                <a:close/>
                <a:moveTo>
                  <a:pt x="399" y="1262"/>
                </a:moveTo>
                <a:lnTo>
                  <a:pt x="193" y="1262"/>
                </a:lnTo>
                <a:lnTo>
                  <a:pt x="193" y="1050"/>
                </a:lnTo>
                <a:lnTo>
                  <a:pt x="399" y="1050"/>
                </a:lnTo>
                <a:lnTo>
                  <a:pt x="399" y="1262"/>
                </a:lnTo>
                <a:lnTo>
                  <a:pt x="399" y="1262"/>
                </a:lnTo>
                <a:lnTo>
                  <a:pt x="399" y="1262"/>
                </a:lnTo>
                <a:close/>
                <a:moveTo>
                  <a:pt x="718" y="2166"/>
                </a:moveTo>
                <a:lnTo>
                  <a:pt x="506" y="2166"/>
                </a:lnTo>
                <a:lnTo>
                  <a:pt x="506" y="1954"/>
                </a:lnTo>
                <a:lnTo>
                  <a:pt x="718" y="1954"/>
                </a:lnTo>
                <a:lnTo>
                  <a:pt x="718" y="2166"/>
                </a:lnTo>
                <a:lnTo>
                  <a:pt x="718" y="2166"/>
                </a:lnTo>
                <a:lnTo>
                  <a:pt x="718" y="2166"/>
                </a:lnTo>
                <a:close/>
                <a:moveTo>
                  <a:pt x="718" y="1861"/>
                </a:moveTo>
                <a:lnTo>
                  <a:pt x="506" y="1861"/>
                </a:lnTo>
                <a:lnTo>
                  <a:pt x="506" y="1654"/>
                </a:lnTo>
                <a:lnTo>
                  <a:pt x="718" y="1654"/>
                </a:lnTo>
                <a:lnTo>
                  <a:pt x="718" y="1861"/>
                </a:lnTo>
                <a:lnTo>
                  <a:pt x="718" y="1861"/>
                </a:lnTo>
                <a:lnTo>
                  <a:pt x="718" y="1861"/>
                </a:lnTo>
                <a:close/>
                <a:moveTo>
                  <a:pt x="718" y="1562"/>
                </a:moveTo>
                <a:lnTo>
                  <a:pt x="506" y="1562"/>
                </a:lnTo>
                <a:lnTo>
                  <a:pt x="506" y="1355"/>
                </a:lnTo>
                <a:lnTo>
                  <a:pt x="718" y="1355"/>
                </a:lnTo>
                <a:lnTo>
                  <a:pt x="718" y="1562"/>
                </a:lnTo>
                <a:lnTo>
                  <a:pt x="718" y="1562"/>
                </a:lnTo>
                <a:lnTo>
                  <a:pt x="718" y="1562"/>
                </a:lnTo>
                <a:close/>
                <a:moveTo>
                  <a:pt x="718" y="1262"/>
                </a:moveTo>
                <a:lnTo>
                  <a:pt x="506" y="1262"/>
                </a:lnTo>
                <a:lnTo>
                  <a:pt x="506" y="1050"/>
                </a:lnTo>
                <a:lnTo>
                  <a:pt x="718" y="1050"/>
                </a:lnTo>
                <a:lnTo>
                  <a:pt x="718" y="1262"/>
                </a:lnTo>
                <a:lnTo>
                  <a:pt x="718" y="1262"/>
                </a:lnTo>
                <a:lnTo>
                  <a:pt x="718" y="1262"/>
                </a:ln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sp>
        <p:nvSpPr>
          <p:cNvPr id="5" name="Title 4"/>
          <p:cNvSpPr>
            <a:spLocks noGrp="1"/>
          </p:cNvSpPr>
          <p:nvPr>
            <p:ph type="title"/>
          </p:nvPr>
        </p:nvSpPr>
        <p:spPr/>
        <p:txBody>
          <a:bodyPr/>
          <a:lstStyle/>
          <a:p>
            <a:r>
              <a:rPr lang="en-US" sz="3919" dirty="0">
                <a:gradFill>
                  <a:gsLst>
                    <a:gs pos="6195">
                      <a:schemeClr val="bg2"/>
                    </a:gs>
                    <a:gs pos="100000">
                      <a:schemeClr val="bg2"/>
                    </a:gs>
                  </a:gsLst>
                  <a:lin ang="5400000" scaled="0"/>
                </a:gradFill>
              </a:rPr>
              <a:t>What is Azure Multi-Factor Authentication?</a:t>
            </a:r>
          </a:p>
        </p:txBody>
      </p:sp>
    </p:spTree>
    <p:extLst>
      <p:ext uri="{BB962C8B-B14F-4D97-AF65-F5344CB8AC3E}">
        <p14:creationId xmlns:p14="http://schemas.microsoft.com/office/powerpoint/2010/main" val="2207399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grpId="0" nodeType="withEffect">
                                  <p:stCondLst>
                                    <p:cond delay="0"/>
                                  </p:stCondLst>
                                  <p:childTnLst>
                                    <p:animMotion origin="layout" path="M 1.24585E-6 4.49841E-6 L -0.27572 0.07376 " pathEditMode="relative" rAng="0" ptsTypes="AA">
                                      <p:cBhvr>
                                        <p:cTn id="6" dur="700" fill="hold"/>
                                        <p:tgtEl>
                                          <p:spTgt spid="16"/>
                                        </p:tgtEl>
                                        <p:attrNameLst>
                                          <p:attrName>ppt_x</p:attrName>
                                          <p:attrName>ppt_y</p:attrName>
                                        </p:attrNameLst>
                                      </p:cBhvr>
                                      <p:rCtr x="-13786" y="3677"/>
                                    </p:animMotion>
                                  </p:childTnLst>
                                </p:cTn>
                              </p:par>
                              <p:par>
                                <p:cTn id="7" presetID="6" presetClass="emph" presetSubtype="0" decel="100000" fill="hold" grpId="0" nodeType="withEffect">
                                  <p:stCondLst>
                                    <p:cond delay="0"/>
                                  </p:stCondLst>
                                  <p:childTnLst>
                                    <p:animScale>
                                      <p:cBhvr>
                                        <p:cTn id="8" dur="700" fill="hold"/>
                                        <p:tgtEl>
                                          <p:spTgt spid="15"/>
                                        </p:tgtEl>
                                      </p:cBhvr>
                                      <p:by x="85000" y="85000"/>
                                    </p:animScale>
                                  </p:childTnLst>
                                </p:cTn>
                              </p:par>
                              <p:par>
                                <p:cTn id="9" presetID="42" presetClass="path" presetSubtype="0" decel="100000" fill="hold" grpId="1" nodeType="withEffect">
                                  <p:stCondLst>
                                    <p:cond delay="0"/>
                                  </p:stCondLst>
                                  <p:childTnLst>
                                    <p:animMotion origin="layout" path="M 1.24585E-6 4.49841E-6 L -0.33572 -0.03927 " pathEditMode="relative" rAng="0" ptsTypes="AA">
                                      <p:cBhvr>
                                        <p:cTn id="10" dur="700" fill="hold"/>
                                        <p:tgtEl>
                                          <p:spTgt spid="15"/>
                                        </p:tgtEl>
                                        <p:attrNameLst>
                                          <p:attrName>ppt_x</p:attrName>
                                          <p:attrName>ppt_y</p:attrName>
                                        </p:attrNameLst>
                                      </p:cBhvr>
                                      <p:rCtr x="-16786" y="-1975"/>
                                    </p:animMotion>
                                  </p:childTnLst>
                                </p:cTn>
                              </p:par>
                            </p:childTnLst>
                          </p:cTn>
                        </p:par>
                        <p:par>
                          <p:cTn id="11" fill="hold">
                            <p:stCondLst>
                              <p:cond delay="700"/>
                            </p:stCondLst>
                            <p:childTnLst>
                              <p:par>
                                <p:cTn id="12" presetID="53" presetClass="entr" presetSubtype="16" fill="hold" nodeType="after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p:cTn id="14" dur="250" fill="hold"/>
                                        <p:tgtEl>
                                          <p:spTgt spid="14"/>
                                        </p:tgtEl>
                                        <p:attrNameLst>
                                          <p:attrName>ppt_w</p:attrName>
                                        </p:attrNameLst>
                                      </p:cBhvr>
                                      <p:tavLst>
                                        <p:tav tm="0">
                                          <p:val>
                                            <p:fltVal val="0"/>
                                          </p:val>
                                        </p:tav>
                                        <p:tav tm="100000">
                                          <p:val>
                                            <p:strVal val="#ppt_w"/>
                                          </p:val>
                                        </p:tav>
                                      </p:tavLst>
                                    </p:anim>
                                    <p:anim calcmode="lin" valueType="num">
                                      <p:cBhvr>
                                        <p:cTn id="15" dur="250" fill="hold"/>
                                        <p:tgtEl>
                                          <p:spTgt spid="14"/>
                                        </p:tgtEl>
                                        <p:attrNameLst>
                                          <p:attrName>ppt_h</p:attrName>
                                        </p:attrNameLst>
                                      </p:cBhvr>
                                      <p:tavLst>
                                        <p:tav tm="0">
                                          <p:val>
                                            <p:fltVal val="0"/>
                                          </p:val>
                                        </p:tav>
                                        <p:tav tm="100000">
                                          <p:val>
                                            <p:strVal val="#ppt_h"/>
                                          </p:val>
                                        </p:tav>
                                      </p:tavLst>
                                    </p:anim>
                                    <p:animEffect transition="in" filter="fade">
                                      <p:cBhvr>
                                        <p:cTn id="16" dur="250"/>
                                        <p:tgtEl>
                                          <p:spTgt spid="14"/>
                                        </p:tgtEl>
                                      </p:cBhvr>
                                    </p:animEffect>
                                  </p:childTnLst>
                                </p:cTn>
                              </p:par>
                              <p:par>
                                <p:cTn id="17" presetID="6" presetClass="emph" presetSubtype="0" decel="100000" fill="hold" nodeType="withEffect">
                                  <p:stCondLst>
                                    <p:cond delay="200"/>
                                  </p:stCondLst>
                                  <p:childTnLst>
                                    <p:animScale>
                                      <p:cBhvr>
                                        <p:cTn id="18" dur="250" fill="hold"/>
                                        <p:tgtEl>
                                          <p:spTgt spid="14"/>
                                        </p:tgtEl>
                                      </p:cBhvr>
                                      <p:by x="110000" y="110000"/>
                                    </p:animScale>
                                  </p:childTnLst>
                                </p:cTn>
                              </p:par>
                              <p:par>
                                <p:cTn id="19" presetID="6" presetClass="emph" presetSubtype="0" decel="100000" fill="hold" nodeType="withEffect">
                                  <p:stCondLst>
                                    <p:cond delay="300"/>
                                  </p:stCondLst>
                                  <p:childTnLst>
                                    <p:animScale>
                                      <p:cBhvr>
                                        <p:cTn id="20" dur="250" fill="hold"/>
                                        <p:tgtEl>
                                          <p:spTgt spid="14"/>
                                        </p:tgtEl>
                                      </p:cBhvr>
                                      <p:by x="91000" y="91000"/>
                                    </p:animScale>
                                  </p:childTnLst>
                                </p:cTn>
                              </p:par>
                            </p:childTnLst>
                          </p:cTn>
                        </p:par>
                        <p:par>
                          <p:cTn id="21" fill="hold">
                            <p:stCondLst>
                              <p:cond delay="1250"/>
                            </p:stCondLst>
                            <p:childTnLst>
                              <p:par>
                                <p:cTn id="22" presetID="2" presetClass="entr" presetSubtype="4" decel="100000" fill="hold" grpId="0" nodeType="afterEffect">
                                  <p:stCondLst>
                                    <p:cond delay="0"/>
                                  </p:stCondLst>
                                  <p:childTnLst>
                                    <p:set>
                                      <p:cBhvr>
                                        <p:cTn id="23" dur="1" fill="hold">
                                          <p:stCondLst>
                                            <p:cond delay="0"/>
                                          </p:stCondLst>
                                        </p:cTn>
                                        <p:tgtEl>
                                          <p:spTgt spid="20"/>
                                        </p:tgtEl>
                                        <p:attrNameLst>
                                          <p:attrName>style.visibility</p:attrName>
                                        </p:attrNameLst>
                                      </p:cBhvr>
                                      <p:to>
                                        <p:strVal val="visible"/>
                                      </p:to>
                                    </p:set>
                                    <p:anim calcmode="lin" valueType="num">
                                      <p:cBhvr additive="base">
                                        <p:cTn id="24" dur="500" fill="hold"/>
                                        <p:tgtEl>
                                          <p:spTgt spid="20"/>
                                        </p:tgtEl>
                                        <p:attrNameLst>
                                          <p:attrName>ppt_x</p:attrName>
                                        </p:attrNameLst>
                                      </p:cBhvr>
                                      <p:tavLst>
                                        <p:tav tm="0">
                                          <p:val>
                                            <p:strVal val="#ppt_x"/>
                                          </p:val>
                                        </p:tav>
                                        <p:tav tm="100000">
                                          <p:val>
                                            <p:strVal val="#ppt_x"/>
                                          </p:val>
                                        </p:tav>
                                      </p:tavLst>
                                    </p:anim>
                                    <p:anim calcmode="lin" valueType="num">
                                      <p:cBhvr additive="base">
                                        <p:cTn id="25" dur="500" fill="hold"/>
                                        <p:tgtEl>
                                          <p:spTgt spid="20"/>
                                        </p:tgtEl>
                                        <p:attrNameLst>
                                          <p:attrName>ppt_y</p:attrName>
                                        </p:attrNameLst>
                                      </p:cBhvr>
                                      <p:tavLst>
                                        <p:tav tm="0">
                                          <p:val>
                                            <p:strVal val="1+#ppt_h/2"/>
                                          </p:val>
                                        </p:tav>
                                        <p:tav tm="100000">
                                          <p:val>
                                            <p:strVal val="#ppt_y"/>
                                          </p:val>
                                        </p:tav>
                                      </p:tavLst>
                                    </p:anim>
                                  </p:childTnLst>
                                </p:cTn>
                              </p:par>
                              <p:par>
                                <p:cTn id="26" presetID="2" presetClass="entr" presetSubtype="4" decel="100000" fill="hold" nodeType="withEffect">
                                  <p:stCondLst>
                                    <p:cond delay="0"/>
                                  </p:stCondLst>
                                  <p:childTnLst>
                                    <p:set>
                                      <p:cBhvr>
                                        <p:cTn id="27" dur="1" fill="hold">
                                          <p:stCondLst>
                                            <p:cond delay="0"/>
                                          </p:stCondLst>
                                        </p:cTn>
                                        <p:tgtEl>
                                          <p:spTgt spid="3"/>
                                        </p:tgtEl>
                                        <p:attrNameLst>
                                          <p:attrName>style.visibility</p:attrName>
                                        </p:attrNameLst>
                                      </p:cBhvr>
                                      <p:to>
                                        <p:strVal val="visible"/>
                                      </p:to>
                                    </p:set>
                                    <p:anim calcmode="lin" valueType="num">
                                      <p:cBhvr additive="base">
                                        <p:cTn id="28" dur="500" fill="hold"/>
                                        <p:tgtEl>
                                          <p:spTgt spid="3"/>
                                        </p:tgtEl>
                                        <p:attrNameLst>
                                          <p:attrName>ppt_x</p:attrName>
                                        </p:attrNameLst>
                                      </p:cBhvr>
                                      <p:tavLst>
                                        <p:tav tm="0">
                                          <p:val>
                                            <p:strVal val="#ppt_x"/>
                                          </p:val>
                                        </p:tav>
                                        <p:tav tm="100000">
                                          <p:val>
                                            <p:strVal val="#ppt_x"/>
                                          </p:val>
                                        </p:tav>
                                      </p:tavLst>
                                    </p:anim>
                                    <p:anim calcmode="lin" valueType="num">
                                      <p:cBhvr additive="base">
                                        <p:cTn id="29" dur="500" fill="hold"/>
                                        <p:tgtEl>
                                          <p:spTgt spid="3"/>
                                        </p:tgtEl>
                                        <p:attrNameLst>
                                          <p:attrName>ppt_y</p:attrName>
                                        </p:attrNameLst>
                                      </p:cBhvr>
                                      <p:tavLst>
                                        <p:tav tm="0">
                                          <p:val>
                                            <p:strVal val="1+#ppt_h/2"/>
                                          </p:val>
                                        </p:tav>
                                        <p:tav tm="100000">
                                          <p:val>
                                            <p:strVal val="#ppt_y"/>
                                          </p:val>
                                        </p:tav>
                                      </p:tavLst>
                                    </p:anim>
                                  </p:childTnLst>
                                </p:cTn>
                              </p:par>
                            </p:childTnLst>
                          </p:cTn>
                        </p:par>
                        <p:par>
                          <p:cTn id="30" fill="hold">
                            <p:stCondLst>
                              <p:cond delay="1750"/>
                            </p:stCondLst>
                            <p:childTnLst>
                              <p:par>
                                <p:cTn id="31" presetID="2" presetClass="entr" presetSubtype="8" decel="100000" fill="hold" grpId="0" nodeType="afterEffect">
                                  <p:stCondLst>
                                    <p:cond delay="0"/>
                                  </p:stCondLst>
                                  <p:childTnLst>
                                    <p:set>
                                      <p:cBhvr>
                                        <p:cTn id="32" dur="1" fill="hold">
                                          <p:stCondLst>
                                            <p:cond delay="0"/>
                                          </p:stCondLst>
                                        </p:cTn>
                                        <p:tgtEl>
                                          <p:spTgt spid="6">
                                            <p:txEl>
                                              <p:pRg st="0" end="0"/>
                                            </p:txEl>
                                          </p:spTgt>
                                        </p:tgtEl>
                                        <p:attrNameLst>
                                          <p:attrName>style.visibility</p:attrName>
                                        </p:attrNameLst>
                                      </p:cBhvr>
                                      <p:to>
                                        <p:strVal val="visible"/>
                                      </p:to>
                                    </p:set>
                                    <p:anim calcmode="lin" valueType="num">
                                      <p:cBhvr additive="base">
                                        <p:cTn id="33" dur="900" fill="hold"/>
                                        <p:tgtEl>
                                          <p:spTgt spid="6">
                                            <p:txEl>
                                              <p:pRg st="0" end="0"/>
                                            </p:txEl>
                                          </p:spTgt>
                                        </p:tgtEl>
                                        <p:attrNameLst>
                                          <p:attrName>ppt_x</p:attrName>
                                        </p:attrNameLst>
                                      </p:cBhvr>
                                      <p:tavLst>
                                        <p:tav tm="0">
                                          <p:val>
                                            <p:strVal val="0-#ppt_w/2"/>
                                          </p:val>
                                        </p:tav>
                                        <p:tav tm="100000">
                                          <p:val>
                                            <p:strVal val="#ppt_x"/>
                                          </p:val>
                                        </p:tav>
                                      </p:tavLst>
                                    </p:anim>
                                    <p:anim calcmode="lin" valueType="num">
                                      <p:cBhvr additive="base">
                                        <p:cTn id="34" dur="900" fill="hold"/>
                                        <p:tgtEl>
                                          <p:spTgt spid="6">
                                            <p:txEl>
                                              <p:pRg st="0" end="0"/>
                                            </p:txEl>
                                          </p:spTgt>
                                        </p:tgtEl>
                                        <p:attrNameLst>
                                          <p:attrName>ppt_y</p:attrName>
                                        </p:attrNameLst>
                                      </p:cBhvr>
                                      <p:tavLst>
                                        <p:tav tm="0">
                                          <p:val>
                                            <p:strVal val="#ppt_y"/>
                                          </p:val>
                                        </p:tav>
                                        <p:tav tm="100000">
                                          <p:val>
                                            <p:strVal val="#ppt_y"/>
                                          </p:val>
                                        </p:tav>
                                      </p:tavLst>
                                    </p:anim>
                                  </p:childTnLst>
                                </p:cTn>
                              </p:par>
                              <p:par>
                                <p:cTn id="35" presetID="2" presetClass="entr" presetSubtype="8" decel="100000" fill="hold" grpId="0" nodeType="withEffect">
                                  <p:stCondLst>
                                    <p:cond delay="0"/>
                                  </p:stCondLst>
                                  <p:childTnLst>
                                    <p:set>
                                      <p:cBhvr>
                                        <p:cTn id="36" dur="1" fill="hold">
                                          <p:stCondLst>
                                            <p:cond delay="0"/>
                                          </p:stCondLst>
                                        </p:cTn>
                                        <p:tgtEl>
                                          <p:spTgt spid="6">
                                            <p:txEl>
                                              <p:pRg st="1" end="1"/>
                                            </p:txEl>
                                          </p:spTgt>
                                        </p:tgtEl>
                                        <p:attrNameLst>
                                          <p:attrName>style.visibility</p:attrName>
                                        </p:attrNameLst>
                                      </p:cBhvr>
                                      <p:to>
                                        <p:strVal val="visible"/>
                                      </p:to>
                                    </p:set>
                                    <p:anim calcmode="lin" valueType="num">
                                      <p:cBhvr additive="base">
                                        <p:cTn id="37" dur="900" fill="hold"/>
                                        <p:tgtEl>
                                          <p:spTgt spid="6">
                                            <p:txEl>
                                              <p:pRg st="1" end="1"/>
                                            </p:txEl>
                                          </p:spTgt>
                                        </p:tgtEl>
                                        <p:attrNameLst>
                                          <p:attrName>ppt_x</p:attrName>
                                        </p:attrNameLst>
                                      </p:cBhvr>
                                      <p:tavLst>
                                        <p:tav tm="0">
                                          <p:val>
                                            <p:strVal val="0-#ppt_w/2"/>
                                          </p:val>
                                        </p:tav>
                                        <p:tav tm="100000">
                                          <p:val>
                                            <p:strVal val="#ppt_x"/>
                                          </p:val>
                                        </p:tav>
                                      </p:tavLst>
                                    </p:anim>
                                    <p:anim calcmode="lin" valueType="num">
                                      <p:cBhvr additive="base">
                                        <p:cTn id="38" dur="900" fill="hold"/>
                                        <p:tgtEl>
                                          <p:spTgt spid="6">
                                            <p:txEl>
                                              <p:pRg st="1" end="1"/>
                                            </p:txEl>
                                          </p:spTgt>
                                        </p:tgtEl>
                                        <p:attrNameLst>
                                          <p:attrName>ppt_y</p:attrName>
                                        </p:attrNameLst>
                                      </p:cBhvr>
                                      <p:tavLst>
                                        <p:tav tm="0">
                                          <p:val>
                                            <p:strVal val="#ppt_y"/>
                                          </p:val>
                                        </p:tav>
                                        <p:tav tm="100000">
                                          <p:val>
                                            <p:strVal val="#ppt_y"/>
                                          </p:val>
                                        </p:tav>
                                      </p:tavLst>
                                    </p:anim>
                                  </p:childTnLst>
                                </p:cTn>
                              </p:par>
                              <p:par>
                                <p:cTn id="39" presetID="2" presetClass="entr" presetSubtype="8" decel="100000" fill="hold" grpId="0" nodeType="withEffect">
                                  <p:stCondLst>
                                    <p:cond delay="0"/>
                                  </p:stCondLst>
                                  <p:childTnLst>
                                    <p:set>
                                      <p:cBhvr>
                                        <p:cTn id="40" dur="1" fill="hold">
                                          <p:stCondLst>
                                            <p:cond delay="0"/>
                                          </p:stCondLst>
                                        </p:cTn>
                                        <p:tgtEl>
                                          <p:spTgt spid="6">
                                            <p:txEl>
                                              <p:pRg st="2" end="2"/>
                                            </p:txEl>
                                          </p:spTgt>
                                        </p:tgtEl>
                                        <p:attrNameLst>
                                          <p:attrName>style.visibility</p:attrName>
                                        </p:attrNameLst>
                                      </p:cBhvr>
                                      <p:to>
                                        <p:strVal val="visible"/>
                                      </p:to>
                                    </p:set>
                                    <p:anim calcmode="lin" valueType="num">
                                      <p:cBhvr additive="base">
                                        <p:cTn id="41" dur="900" fill="hold"/>
                                        <p:tgtEl>
                                          <p:spTgt spid="6">
                                            <p:txEl>
                                              <p:pRg st="2" end="2"/>
                                            </p:txEl>
                                          </p:spTgt>
                                        </p:tgtEl>
                                        <p:attrNameLst>
                                          <p:attrName>ppt_x</p:attrName>
                                        </p:attrNameLst>
                                      </p:cBhvr>
                                      <p:tavLst>
                                        <p:tav tm="0">
                                          <p:val>
                                            <p:strVal val="0-#ppt_w/2"/>
                                          </p:val>
                                        </p:tav>
                                        <p:tav tm="100000">
                                          <p:val>
                                            <p:strVal val="#ppt_x"/>
                                          </p:val>
                                        </p:tav>
                                      </p:tavLst>
                                    </p:anim>
                                    <p:anim calcmode="lin" valueType="num">
                                      <p:cBhvr additive="base">
                                        <p:cTn id="42" dur="900" fill="hold"/>
                                        <p:tgtEl>
                                          <p:spTgt spid="6">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15" grpId="0" animBg="1"/>
      <p:bldP spid="15" grpId="1" animBg="1"/>
      <p:bldP spid="16" grpId="0" animBg="1"/>
      <p:bldP spid="2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589" y="4363564"/>
            <a:ext cx="12188825" cy="2127424"/>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gradFill>
                <a:gsLst>
                  <a:gs pos="1250">
                    <a:srgbClr val="EFEFEF"/>
                  </a:gs>
                  <a:gs pos="10417">
                    <a:srgbClr val="EFEFEF"/>
                  </a:gs>
                </a:gsLst>
                <a:lin ang="5400000" scaled="0"/>
              </a:gradFill>
            </a:endParaRPr>
          </a:p>
        </p:txBody>
      </p:sp>
      <p:sp>
        <p:nvSpPr>
          <p:cNvPr id="3" name="Title 2"/>
          <p:cNvSpPr>
            <a:spLocks noGrp="1"/>
          </p:cNvSpPr>
          <p:nvPr>
            <p:ph type="title"/>
          </p:nvPr>
        </p:nvSpPr>
        <p:spPr>
          <a:xfrm>
            <a:off x="270757" y="287647"/>
            <a:ext cx="11650488" cy="651525"/>
          </a:xfrm>
        </p:spPr>
        <p:txBody>
          <a:bodyPr>
            <a:normAutofit fontScale="90000"/>
          </a:bodyPr>
          <a:lstStyle/>
          <a:p>
            <a:r>
              <a:rPr lang="en-US" sz="4704" dirty="0"/>
              <a:t>What is multi-factor authentication?</a:t>
            </a:r>
          </a:p>
        </p:txBody>
      </p:sp>
      <p:sp>
        <p:nvSpPr>
          <p:cNvPr id="6" name="Content Placeholder 5"/>
          <p:cNvSpPr>
            <a:spLocks noGrp="1"/>
          </p:cNvSpPr>
          <p:nvPr>
            <p:ph sz="quarter" idx="4294967295"/>
          </p:nvPr>
        </p:nvSpPr>
        <p:spPr>
          <a:xfrm>
            <a:off x="1588" y="1527175"/>
            <a:ext cx="11272838" cy="2579688"/>
          </a:xfrm>
        </p:spPr>
        <p:txBody>
          <a:bodyPr>
            <a:normAutofit lnSpcReduction="10000"/>
          </a:bodyPr>
          <a:lstStyle/>
          <a:p>
            <a:pPr marL="0" indent="0">
              <a:buNone/>
              <a:defRPr/>
            </a:pPr>
            <a:r>
              <a:rPr lang="en-US" sz="3920" dirty="0"/>
              <a:t>Any two or more of the following factors:</a:t>
            </a:r>
            <a:endParaRPr lang="en-US" b="1" dirty="0"/>
          </a:p>
          <a:p>
            <a:pPr marL="56013" indent="0">
              <a:buNone/>
              <a:defRPr/>
            </a:pPr>
            <a:r>
              <a:rPr lang="en-US" sz="1960" dirty="0"/>
              <a:t>Something you know: a password or PIN.</a:t>
            </a:r>
          </a:p>
          <a:p>
            <a:pPr marL="56013" indent="0">
              <a:buNone/>
              <a:defRPr/>
            </a:pPr>
            <a:r>
              <a:rPr lang="en-US" sz="1960" dirty="0"/>
              <a:t>Something you have: a phone, credit card or hardware token.</a:t>
            </a:r>
          </a:p>
          <a:p>
            <a:pPr marL="56013" indent="0">
              <a:buNone/>
              <a:defRPr/>
            </a:pPr>
            <a:r>
              <a:rPr lang="en-US" sz="1960" dirty="0"/>
              <a:t>Something you are: a fingerprint, retinal scan or other biometric.</a:t>
            </a:r>
          </a:p>
          <a:p>
            <a:pPr marL="56013" indent="0">
              <a:buNone/>
              <a:defRPr/>
            </a:pPr>
            <a:endParaRPr lang="en-US" sz="1960" b="1" dirty="0"/>
          </a:p>
          <a:p>
            <a:pPr marL="56013" indent="0">
              <a:buNone/>
              <a:defRPr/>
            </a:pPr>
            <a:r>
              <a:rPr lang="en-US" sz="1960" b="1" dirty="0"/>
              <a:t>Stronger when using two different channels (out-of-band).</a:t>
            </a:r>
            <a:endParaRPr lang="en-US" sz="2744" b="1" dirty="0"/>
          </a:p>
          <a:p>
            <a:pPr marL="227163" indent="-227163">
              <a:lnSpc>
                <a:spcPct val="105000"/>
              </a:lnSpc>
              <a:defRPr/>
            </a:pPr>
            <a:endParaRPr lang="en-US" sz="1960" b="1" dirty="0"/>
          </a:p>
        </p:txBody>
      </p:sp>
      <p:grpSp>
        <p:nvGrpSpPr>
          <p:cNvPr id="30" name="Group 29"/>
          <p:cNvGrpSpPr>
            <a:grpSpLocks noChangeAspect="1"/>
          </p:cNvGrpSpPr>
          <p:nvPr/>
        </p:nvGrpSpPr>
        <p:grpSpPr>
          <a:xfrm>
            <a:off x="3036499" y="4578151"/>
            <a:ext cx="1532081" cy="1520863"/>
            <a:chOff x="2136833" y="5111938"/>
            <a:chExt cx="1392838" cy="1382638"/>
          </a:xfrm>
        </p:grpSpPr>
        <p:sp>
          <p:nvSpPr>
            <p:cNvPr id="26" name="Oval 25"/>
            <p:cNvSpPr/>
            <p:nvPr/>
          </p:nvSpPr>
          <p:spPr bwMode="auto">
            <a:xfrm>
              <a:off x="2136833" y="5111938"/>
              <a:ext cx="1392838" cy="1382638"/>
            </a:xfrm>
            <a:prstGeom prst="ellipse">
              <a:avLst/>
            </a:prstGeom>
            <a:solidFill>
              <a:schemeClr val="tx2"/>
            </a:solidFill>
            <a:ln w="47625">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ln w="15875">
                  <a:noFill/>
                </a:ln>
                <a:gradFill>
                  <a:gsLst>
                    <a:gs pos="1250">
                      <a:srgbClr val="EFEFEF"/>
                    </a:gs>
                    <a:gs pos="10417">
                      <a:srgbClr val="EFEFEF"/>
                    </a:gs>
                  </a:gsLst>
                  <a:lin ang="5400000" scaled="0"/>
                </a:gradFill>
              </a:endParaRPr>
            </a:p>
          </p:txBody>
        </p:sp>
        <p:sp>
          <p:nvSpPr>
            <p:cNvPr id="20" name="Freeform 15"/>
            <p:cNvSpPr>
              <a:spLocks noEditPoints="1"/>
            </p:cNvSpPr>
            <p:nvPr/>
          </p:nvSpPr>
          <p:spPr bwMode="auto">
            <a:xfrm>
              <a:off x="2354219" y="5402497"/>
              <a:ext cx="958067" cy="801520"/>
            </a:xfrm>
            <a:custGeom>
              <a:avLst/>
              <a:gdLst>
                <a:gd name="T0" fmla="*/ 1479 w 2504"/>
                <a:gd name="T1" fmla="*/ 1116 h 2093"/>
                <a:gd name="T2" fmla="*/ 1968 w 2504"/>
                <a:gd name="T3" fmla="*/ 880 h 2093"/>
                <a:gd name="T4" fmla="*/ 1940 w 2504"/>
                <a:gd name="T5" fmla="*/ 822 h 2093"/>
                <a:gd name="T6" fmla="*/ 1450 w 2504"/>
                <a:gd name="T7" fmla="*/ 1052 h 2093"/>
                <a:gd name="T8" fmla="*/ 1479 w 2504"/>
                <a:gd name="T9" fmla="*/ 1116 h 2093"/>
                <a:gd name="T10" fmla="*/ 1479 w 2504"/>
                <a:gd name="T11" fmla="*/ 1116 h 2093"/>
                <a:gd name="T12" fmla="*/ 1571 w 2504"/>
                <a:gd name="T13" fmla="*/ 1311 h 2093"/>
                <a:gd name="T14" fmla="*/ 2061 w 2504"/>
                <a:gd name="T15" fmla="*/ 1075 h 2093"/>
                <a:gd name="T16" fmla="*/ 2032 w 2504"/>
                <a:gd name="T17" fmla="*/ 1012 h 2093"/>
                <a:gd name="T18" fmla="*/ 1542 w 2504"/>
                <a:gd name="T19" fmla="*/ 1248 h 2093"/>
                <a:gd name="T20" fmla="*/ 1571 w 2504"/>
                <a:gd name="T21" fmla="*/ 1311 h 2093"/>
                <a:gd name="T22" fmla="*/ 1571 w 2504"/>
                <a:gd name="T23" fmla="*/ 1311 h 2093"/>
                <a:gd name="T24" fmla="*/ 857 w 2504"/>
                <a:gd name="T25" fmla="*/ 1570 h 2093"/>
                <a:gd name="T26" fmla="*/ 886 w 2504"/>
                <a:gd name="T27" fmla="*/ 1633 h 2093"/>
                <a:gd name="T28" fmla="*/ 1381 w 2504"/>
                <a:gd name="T29" fmla="*/ 1397 h 2093"/>
                <a:gd name="T30" fmla="*/ 1347 w 2504"/>
                <a:gd name="T31" fmla="*/ 1340 h 2093"/>
                <a:gd name="T32" fmla="*/ 857 w 2504"/>
                <a:gd name="T33" fmla="*/ 1570 h 2093"/>
                <a:gd name="T34" fmla="*/ 857 w 2504"/>
                <a:gd name="T35" fmla="*/ 1570 h 2093"/>
                <a:gd name="T36" fmla="*/ 1784 w 2504"/>
                <a:gd name="T37" fmla="*/ 494 h 2093"/>
                <a:gd name="T38" fmla="*/ 1755 w 2504"/>
                <a:gd name="T39" fmla="*/ 431 h 2093"/>
                <a:gd name="T40" fmla="*/ 1266 w 2504"/>
                <a:gd name="T41" fmla="*/ 661 h 2093"/>
                <a:gd name="T42" fmla="*/ 1295 w 2504"/>
                <a:gd name="T43" fmla="*/ 725 h 2093"/>
                <a:gd name="T44" fmla="*/ 1784 w 2504"/>
                <a:gd name="T45" fmla="*/ 494 h 2093"/>
                <a:gd name="T46" fmla="*/ 1784 w 2504"/>
                <a:gd name="T47" fmla="*/ 494 h 2093"/>
                <a:gd name="T48" fmla="*/ 2487 w 2504"/>
                <a:gd name="T49" fmla="*/ 1167 h 2093"/>
                <a:gd name="T50" fmla="*/ 1968 w 2504"/>
                <a:gd name="T51" fmla="*/ 75 h 2093"/>
                <a:gd name="T52" fmla="*/ 1888 w 2504"/>
                <a:gd name="T53" fmla="*/ 23 h 2093"/>
                <a:gd name="T54" fmla="*/ 1848 w 2504"/>
                <a:gd name="T55" fmla="*/ 34 h 2093"/>
                <a:gd name="T56" fmla="*/ 1594 w 2504"/>
                <a:gd name="T57" fmla="*/ 155 h 2093"/>
                <a:gd name="T58" fmla="*/ 1502 w 2504"/>
                <a:gd name="T59" fmla="*/ 46 h 2093"/>
                <a:gd name="T60" fmla="*/ 1376 w 2504"/>
                <a:gd name="T61" fmla="*/ 34 h 2093"/>
                <a:gd name="T62" fmla="*/ 800 w 2504"/>
                <a:gd name="T63" fmla="*/ 529 h 2093"/>
                <a:gd name="T64" fmla="*/ 196 w 2504"/>
                <a:gd name="T65" fmla="*/ 817 h 2093"/>
                <a:gd name="T66" fmla="*/ 149 w 2504"/>
                <a:gd name="T67" fmla="*/ 937 h 2093"/>
                <a:gd name="T68" fmla="*/ 201 w 2504"/>
                <a:gd name="T69" fmla="*/ 1041 h 2093"/>
                <a:gd name="T70" fmla="*/ 40 w 2504"/>
                <a:gd name="T71" fmla="*/ 1179 h 2093"/>
                <a:gd name="T72" fmla="*/ 29 w 2504"/>
                <a:gd name="T73" fmla="*/ 1311 h 2093"/>
                <a:gd name="T74" fmla="*/ 645 w 2504"/>
                <a:gd name="T75" fmla="*/ 2036 h 2093"/>
                <a:gd name="T76" fmla="*/ 788 w 2504"/>
                <a:gd name="T77" fmla="*/ 2070 h 2093"/>
                <a:gd name="T78" fmla="*/ 1612 w 2504"/>
                <a:gd name="T79" fmla="*/ 1679 h 2093"/>
                <a:gd name="T80" fmla="*/ 2440 w 2504"/>
                <a:gd name="T81" fmla="*/ 1288 h 2093"/>
                <a:gd name="T82" fmla="*/ 2452 w 2504"/>
                <a:gd name="T83" fmla="*/ 1282 h 2093"/>
                <a:gd name="T84" fmla="*/ 2458 w 2504"/>
                <a:gd name="T85" fmla="*/ 1277 h 2093"/>
                <a:gd name="T86" fmla="*/ 2487 w 2504"/>
                <a:gd name="T87" fmla="*/ 1167 h 2093"/>
                <a:gd name="T88" fmla="*/ 742 w 2504"/>
                <a:gd name="T89" fmla="*/ 1915 h 2093"/>
                <a:gd name="T90" fmla="*/ 265 w 2504"/>
                <a:gd name="T91" fmla="*/ 909 h 2093"/>
                <a:gd name="T92" fmla="*/ 1876 w 2504"/>
                <a:gd name="T93" fmla="*/ 149 h 2093"/>
                <a:gd name="T94" fmla="*/ 2354 w 2504"/>
                <a:gd name="T95" fmla="*/ 1156 h 2093"/>
                <a:gd name="T96" fmla="*/ 742 w 2504"/>
                <a:gd name="T97" fmla="*/ 1915 h 2093"/>
                <a:gd name="T98" fmla="*/ 742 w 2504"/>
                <a:gd name="T99" fmla="*/ 1915 h 2093"/>
                <a:gd name="T100" fmla="*/ 1358 w 2504"/>
                <a:gd name="T101" fmla="*/ 857 h 2093"/>
                <a:gd name="T102" fmla="*/ 1387 w 2504"/>
                <a:gd name="T103" fmla="*/ 920 h 2093"/>
                <a:gd name="T104" fmla="*/ 1876 w 2504"/>
                <a:gd name="T105" fmla="*/ 690 h 2093"/>
                <a:gd name="T106" fmla="*/ 1848 w 2504"/>
                <a:gd name="T107" fmla="*/ 627 h 2093"/>
                <a:gd name="T108" fmla="*/ 1358 w 2504"/>
                <a:gd name="T109" fmla="*/ 857 h 2093"/>
                <a:gd name="T110" fmla="*/ 1358 w 2504"/>
                <a:gd name="T111" fmla="*/ 857 h 2093"/>
                <a:gd name="T112" fmla="*/ 1082 w 2504"/>
                <a:gd name="T113" fmla="*/ 730 h 2093"/>
                <a:gd name="T114" fmla="*/ 558 w 2504"/>
                <a:gd name="T115" fmla="*/ 978 h 2093"/>
                <a:gd name="T116" fmla="*/ 771 w 2504"/>
                <a:gd name="T117" fmla="*/ 1432 h 2093"/>
                <a:gd name="T118" fmla="*/ 1301 w 2504"/>
                <a:gd name="T119" fmla="*/ 1185 h 2093"/>
                <a:gd name="T120" fmla="*/ 1082 w 2504"/>
                <a:gd name="T121" fmla="*/ 730 h 2093"/>
                <a:gd name="T122" fmla="*/ 1082 w 2504"/>
                <a:gd name="T123" fmla="*/ 730 h 2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04" h="2093">
                  <a:moveTo>
                    <a:pt x="1479" y="1116"/>
                  </a:moveTo>
                  <a:cubicBezTo>
                    <a:pt x="1968" y="880"/>
                    <a:pt x="1968" y="880"/>
                    <a:pt x="1968" y="880"/>
                  </a:cubicBezTo>
                  <a:cubicBezTo>
                    <a:pt x="1940" y="822"/>
                    <a:pt x="1940" y="822"/>
                    <a:pt x="1940" y="822"/>
                  </a:cubicBezTo>
                  <a:cubicBezTo>
                    <a:pt x="1450" y="1052"/>
                    <a:pt x="1450" y="1052"/>
                    <a:pt x="1450" y="1052"/>
                  </a:cubicBezTo>
                  <a:cubicBezTo>
                    <a:pt x="1479" y="1116"/>
                    <a:pt x="1479" y="1116"/>
                    <a:pt x="1479" y="1116"/>
                  </a:cubicBezTo>
                  <a:cubicBezTo>
                    <a:pt x="1479" y="1116"/>
                    <a:pt x="1479" y="1116"/>
                    <a:pt x="1479" y="1116"/>
                  </a:cubicBezTo>
                  <a:close/>
                  <a:moveTo>
                    <a:pt x="1571" y="1311"/>
                  </a:moveTo>
                  <a:cubicBezTo>
                    <a:pt x="2061" y="1075"/>
                    <a:pt x="2061" y="1075"/>
                    <a:pt x="2061" y="1075"/>
                  </a:cubicBezTo>
                  <a:cubicBezTo>
                    <a:pt x="2032" y="1012"/>
                    <a:pt x="2032" y="1012"/>
                    <a:pt x="2032" y="1012"/>
                  </a:cubicBezTo>
                  <a:cubicBezTo>
                    <a:pt x="1542" y="1248"/>
                    <a:pt x="1542" y="1248"/>
                    <a:pt x="1542" y="1248"/>
                  </a:cubicBezTo>
                  <a:cubicBezTo>
                    <a:pt x="1571" y="1311"/>
                    <a:pt x="1571" y="1311"/>
                    <a:pt x="1571" y="1311"/>
                  </a:cubicBezTo>
                  <a:cubicBezTo>
                    <a:pt x="1571" y="1311"/>
                    <a:pt x="1571" y="1311"/>
                    <a:pt x="1571" y="1311"/>
                  </a:cubicBezTo>
                  <a:close/>
                  <a:moveTo>
                    <a:pt x="857" y="1570"/>
                  </a:moveTo>
                  <a:cubicBezTo>
                    <a:pt x="886" y="1633"/>
                    <a:pt x="886" y="1633"/>
                    <a:pt x="886" y="1633"/>
                  </a:cubicBezTo>
                  <a:cubicBezTo>
                    <a:pt x="1381" y="1397"/>
                    <a:pt x="1381" y="1397"/>
                    <a:pt x="1381" y="1397"/>
                  </a:cubicBezTo>
                  <a:cubicBezTo>
                    <a:pt x="1347" y="1340"/>
                    <a:pt x="1347" y="1340"/>
                    <a:pt x="1347" y="1340"/>
                  </a:cubicBezTo>
                  <a:cubicBezTo>
                    <a:pt x="857" y="1570"/>
                    <a:pt x="857" y="1570"/>
                    <a:pt x="857" y="1570"/>
                  </a:cubicBezTo>
                  <a:cubicBezTo>
                    <a:pt x="857" y="1570"/>
                    <a:pt x="857" y="1570"/>
                    <a:pt x="857" y="1570"/>
                  </a:cubicBezTo>
                  <a:close/>
                  <a:moveTo>
                    <a:pt x="1784" y="494"/>
                  </a:moveTo>
                  <a:cubicBezTo>
                    <a:pt x="1755" y="431"/>
                    <a:pt x="1755" y="431"/>
                    <a:pt x="1755" y="431"/>
                  </a:cubicBezTo>
                  <a:cubicBezTo>
                    <a:pt x="1266" y="661"/>
                    <a:pt x="1266" y="661"/>
                    <a:pt x="1266" y="661"/>
                  </a:cubicBezTo>
                  <a:cubicBezTo>
                    <a:pt x="1295" y="725"/>
                    <a:pt x="1295" y="725"/>
                    <a:pt x="1295" y="725"/>
                  </a:cubicBezTo>
                  <a:cubicBezTo>
                    <a:pt x="1784" y="494"/>
                    <a:pt x="1784" y="494"/>
                    <a:pt x="1784" y="494"/>
                  </a:cubicBezTo>
                  <a:cubicBezTo>
                    <a:pt x="1784" y="494"/>
                    <a:pt x="1784" y="494"/>
                    <a:pt x="1784" y="494"/>
                  </a:cubicBezTo>
                  <a:close/>
                  <a:moveTo>
                    <a:pt x="2487" y="1167"/>
                  </a:moveTo>
                  <a:cubicBezTo>
                    <a:pt x="1968" y="75"/>
                    <a:pt x="1968" y="75"/>
                    <a:pt x="1968" y="75"/>
                  </a:cubicBezTo>
                  <a:cubicBezTo>
                    <a:pt x="1951" y="46"/>
                    <a:pt x="1922" y="23"/>
                    <a:pt x="1888" y="23"/>
                  </a:cubicBezTo>
                  <a:cubicBezTo>
                    <a:pt x="1871" y="23"/>
                    <a:pt x="1859" y="29"/>
                    <a:pt x="1848" y="34"/>
                  </a:cubicBezTo>
                  <a:cubicBezTo>
                    <a:pt x="1594" y="155"/>
                    <a:pt x="1594" y="155"/>
                    <a:pt x="1594" y="155"/>
                  </a:cubicBezTo>
                  <a:cubicBezTo>
                    <a:pt x="1502" y="46"/>
                    <a:pt x="1502" y="46"/>
                    <a:pt x="1502" y="46"/>
                  </a:cubicBezTo>
                  <a:cubicBezTo>
                    <a:pt x="1468" y="6"/>
                    <a:pt x="1410" y="0"/>
                    <a:pt x="1376" y="34"/>
                  </a:cubicBezTo>
                  <a:cubicBezTo>
                    <a:pt x="800" y="529"/>
                    <a:pt x="800" y="529"/>
                    <a:pt x="800" y="529"/>
                  </a:cubicBezTo>
                  <a:cubicBezTo>
                    <a:pt x="196" y="817"/>
                    <a:pt x="196" y="817"/>
                    <a:pt x="196" y="817"/>
                  </a:cubicBezTo>
                  <a:cubicBezTo>
                    <a:pt x="149" y="834"/>
                    <a:pt x="126" y="891"/>
                    <a:pt x="149" y="937"/>
                  </a:cubicBezTo>
                  <a:cubicBezTo>
                    <a:pt x="201" y="1041"/>
                    <a:pt x="201" y="1041"/>
                    <a:pt x="201" y="1041"/>
                  </a:cubicBezTo>
                  <a:cubicBezTo>
                    <a:pt x="40" y="1179"/>
                    <a:pt x="40" y="1179"/>
                    <a:pt x="40" y="1179"/>
                  </a:cubicBezTo>
                  <a:cubicBezTo>
                    <a:pt x="6" y="1213"/>
                    <a:pt x="0" y="1271"/>
                    <a:pt x="29" y="1311"/>
                  </a:cubicBezTo>
                  <a:cubicBezTo>
                    <a:pt x="645" y="2036"/>
                    <a:pt x="645" y="2036"/>
                    <a:pt x="645" y="2036"/>
                  </a:cubicBezTo>
                  <a:cubicBezTo>
                    <a:pt x="679" y="2076"/>
                    <a:pt x="742" y="2093"/>
                    <a:pt x="788" y="2070"/>
                  </a:cubicBezTo>
                  <a:cubicBezTo>
                    <a:pt x="1612" y="1679"/>
                    <a:pt x="1612" y="1679"/>
                    <a:pt x="1612" y="1679"/>
                  </a:cubicBezTo>
                  <a:cubicBezTo>
                    <a:pt x="2440" y="1288"/>
                    <a:pt x="2440" y="1288"/>
                    <a:pt x="2440" y="1288"/>
                  </a:cubicBezTo>
                  <a:cubicBezTo>
                    <a:pt x="2446" y="1288"/>
                    <a:pt x="2452" y="1282"/>
                    <a:pt x="2452" y="1282"/>
                  </a:cubicBezTo>
                  <a:cubicBezTo>
                    <a:pt x="2452" y="1282"/>
                    <a:pt x="2452" y="1282"/>
                    <a:pt x="2458" y="1277"/>
                  </a:cubicBezTo>
                  <a:cubicBezTo>
                    <a:pt x="2492" y="1254"/>
                    <a:pt x="2504" y="1208"/>
                    <a:pt x="2487" y="1167"/>
                  </a:cubicBezTo>
                  <a:close/>
                  <a:moveTo>
                    <a:pt x="742" y="1915"/>
                  </a:moveTo>
                  <a:cubicBezTo>
                    <a:pt x="265" y="909"/>
                    <a:pt x="265" y="909"/>
                    <a:pt x="265" y="909"/>
                  </a:cubicBezTo>
                  <a:cubicBezTo>
                    <a:pt x="1876" y="149"/>
                    <a:pt x="1876" y="149"/>
                    <a:pt x="1876" y="149"/>
                  </a:cubicBezTo>
                  <a:cubicBezTo>
                    <a:pt x="2354" y="1156"/>
                    <a:pt x="2354" y="1156"/>
                    <a:pt x="2354" y="1156"/>
                  </a:cubicBezTo>
                  <a:cubicBezTo>
                    <a:pt x="742" y="1915"/>
                    <a:pt x="742" y="1915"/>
                    <a:pt x="742" y="1915"/>
                  </a:cubicBezTo>
                  <a:cubicBezTo>
                    <a:pt x="742" y="1915"/>
                    <a:pt x="742" y="1915"/>
                    <a:pt x="742" y="1915"/>
                  </a:cubicBezTo>
                  <a:close/>
                  <a:moveTo>
                    <a:pt x="1358" y="857"/>
                  </a:moveTo>
                  <a:cubicBezTo>
                    <a:pt x="1387" y="920"/>
                    <a:pt x="1387" y="920"/>
                    <a:pt x="1387" y="920"/>
                  </a:cubicBezTo>
                  <a:cubicBezTo>
                    <a:pt x="1876" y="690"/>
                    <a:pt x="1876" y="690"/>
                    <a:pt x="1876" y="690"/>
                  </a:cubicBezTo>
                  <a:cubicBezTo>
                    <a:pt x="1848" y="627"/>
                    <a:pt x="1848" y="627"/>
                    <a:pt x="1848" y="627"/>
                  </a:cubicBezTo>
                  <a:cubicBezTo>
                    <a:pt x="1358" y="857"/>
                    <a:pt x="1358" y="857"/>
                    <a:pt x="1358" y="857"/>
                  </a:cubicBezTo>
                  <a:cubicBezTo>
                    <a:pt x="1358" y="857"/>
                    <a:pt x="1358" y="857"/>
                    <a:pt x="1358" y="857"/>
                  </a:cubicBezTo>
                  <a:close/>
                  <a:moveTo>
                    <a:pt x="1082" y="730"/>
                  </a:moveTo>
                  <a:cubicBezTo>
                    <a:pt x="558" y="978"/>
                    <a:pt x="558" y="978"/>
                    <a:pt x="558" y="978"/>
                  </a:cubicBezTo>
                  <a:cubicBezTo>
                    <a:pt x="771" y="1432"/>
                    <a:pt x="771" y="1432"/>
                    <a:pt x="771" y="1432"/>
                  </a:cubicBezTo>
                  <a:cubicBezTo>
                    <a:pt x="1301" y="1185"/>
                    <a:pt x="1301" y="1185"/>
                    <a:pt x="1301" y="1185"/>
                  </a:cubicBezTo>
                  <a:cubicBezTo>
                    <a:pt x="1082" y="730"/>
                    <a:pt x="1082" y="730"/>
                    <a:pt x="1082" y="730"/>
                  </a:cubicBezTo>
                  <a:cubicBezTo>
                    <a:pt x="1082" y="730"/>
                    <a:pt x="1082" y="730"/>
                    <a:pt x="1082" y="730"/>
                  </a:cubicBez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defTabSz="913946"/>
              <a:endParaRPr lang="en-US">
                <a:solidFill>
                  <a:srgbClr val="505050"/>
                </a:solidFill>
              </a:endParaRPr>
            </a:p>
          </p:txBody>
        </p:sp>
      </p:grpSp>
      <p:grpSp>
        <p:nvGrpSpPr>
          <p:cNvPr id="32" name="Group 31"/>
          <p:cNvGrpSpPr>
            <a:grpSpLocks noChangeAspect="1"/>
          </p:cNvGrpSpPr>
          <p:nvPr/>
        </p:nvGrpSpPr>
        <p:grpSpPr>
          <a:xfrm>
            <a:off x="8168592" y="4578151"/>
            <a:ext cx="1532081" cy="1520863"/>
            <a:chOff x="5383362" y="5111938"/>
            <a:chExt cx="1392838" cy="1382638"/>
          </a:xfrm>
        </p:grpSpPr>
        <p:sp>
          <p:nvSpPr>
            <p:cNvPr id="28" name="Oval 27"/>
            <p:cNvSpPr/>
            <p:nvPr/>
          </p:nvSpPr>
          <p:spPr bwMode="auto">
            <a:xfrm>
              <a:off x="5383362" y="5111938"/>
              <a:ext cx="1392838" cy="1382638"/>
            </a:xfrm>
            <a:prstGeom prst="ellipse">
              <a:avLst/>
            </a:prstGeom>
            <a:solidFill>
              <a:schemeClr val="tx2"/>
            </a:solidFill>
            <a:ln w="47625">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ln w="15875">
                  <a:noFill/>
                </a:ln>
                <a:gradFill>
                  <a:gsLst>
                    <a:gs pos="1250">
                      <a:srgbClr val="EFEFEF"/>
                    </a:gs>
                    <a:gs pos="10417">
                      <a:srgbClr val="EFEFEF"/>
                    </a:gs>
                  </a:gsLst>
                  <a:lin ang="5400000" scaled="0"/>
                </a:gradFill>
              </a:endParaRPr>
            </a:p>
          </p:txBody>
        </p:sp>
        <p:sp>
          <p:nvSpPr>
            <p:cNvPr id="24" name="Freeform 19"/>
            <p:cNvSpPr>
              <a:spLocks noEditPoints="1"/>
            </p:cNvSpPr>
            <p:nvPr/>
          </p:nvSpPr>
          <p:spPr bwMode="auto">
            <a:xfrm>
              <a:off x="5837369" y="5339249"/>
              <a:ext cx="484824" cy="928016"/>
            </a:xfrm>
            <a:custGeom>
              <a:avLst/>
              <a:gdLst>
                <a:gd name="T0" fmla="*/ 1104 w 1184"/>
                <a:gd name="T1" fmla="*/ 0 h 2267"/>
                <a:gd name="T2" fmla="*/ 74 w 1184"/>
                <a:gd name="T3" fmla="*/ 0 h 2267"/>
                <a:gd name="T4" fmla="*/ 0 w 1184"/>
                <a:gd name="T5" fmla="*/ 79 h 2267"/>
                <a:gd name="T6" fmla="*/ 0 w 1184"/>
                <a:gd name="T7" fmla="*/ 2193 h 2267"/>
                <a:gd name="T8" fmla="*/ 74 w 1184"/>
                <a:gd name="T9" fmla="*/ 2267 h 2267"/>
                <a:gd name="T10" fmla="*/ 1104 w 1184"/>
                <a:gd name="T11" fmla="*/ 2267 h 2267"/>
                <a:gd name="T12" fmla="*/ 1184 w 1184"/>
                <a:gd name="T13" fmla="*/ 2193 h 2267"/>
                <a:gd name="T14" fmla="*/ 1184 w 1184"/>
                <a:gd name="T15" fmla="*/ 79 h 2267"/>
                <a:gd name="T16" fmla="*/ 1104 w 1184"/>
                <a:gd name="T17" fmla="*/ 0 h 2267"/>
                <a:gd name="T18" fmla="*/ 580 w 1184"/>
                <a:gd name="T19" fmla="*/ 2163 h 2267"/>
                <a:gd name="T20" fmla="*/ 531 w 1184"/>
                <a:gd name="T21" fmla="*/ 2157 h 2267"/>
                <a:gd name="T22" fmla="*/ 531 w 1184"/>
                <a:gd name="T23" fmla="*/ 2114 h 2267"/>
                <a:gd name="T24" fmla="*/ 580 w 1184"/>
                <a:gd name="T25" fmla="*/ 2114 h 2267"/>
                <a:gd name="T26" fmla="*/ 580 w 1184"/>
                <a:gd name="T27" fmla="*/ 2163 h 2267"/>
                <a:gd name="T28" fmla="*/ 580 w 1184"/>
                <a:gd name="T29" fmla="*/ 2163 h 2267"/>
                <a:gd name="T30" fmla="*/ 580 w 1184"/>
                <a:gd name="T31" fmla="*/ 2108 h 2267"/>
                <a:gd name="T32" fmla="*/ 531 w 1184"/>
                <a:gd name="T33" fmla="*/ 2108 h 2267"/>
                <a:gd name="T34" fmla="*/ 531 w 1184"/>
                <a:gd name="T35" fmla="*/ 2065 h 2267"/>
                <a:gd name="T36" fmla="*/ 580 w 1184"/>
                <a:gd name="T37" fmla="*/ 2059 h 2267"/>
                <a:gd name="T38" fmla="*/ 580 w 1184"/>
                <a:gd name="T39" fmla="*/ 2108 h 2267"/>
                <a:gd name="T40" fmla="*/ 580 w 1184"/>
                <a:gd name="T41" fmla="*/ 2108 h 2267"/>
                <a:gd name="T42" fmla="*/ 654 w 1184"/>
                <a:gd name="T43" fmla="*/ 2175 h 2267"/>
                <a:gd name="T44" fmla="*/ 586 w 1184"/>
                <a:gd name="T45" fmla="*/ 2163 h 2267"/>
                <a:gd name="T46" fmla="*/ 586 w 1184"/>
                <a:gd name="T47" fmla="*/ 2114 h 2267"/>
                <a:gd name="T48" fmla="*/ 654 w 1184"/>
                <a:gd name="T49" fmla="*/ 2114 h 2267"/>
                <a:gd name="T50" fmla="*/ 654 w 1184"/>
                <a:gd name="T51" fmla="*/ 2175 h 2267"/>
                <a:gd name="T52" fmla="*/ 654 w 1184"/>
                <a:gd name="T53" fmla="*/ 2175 h 2267"/>
                <a:gd name="T54" fmla="*/ 654 w 1184"/>
                <a:gd name="T55" fmla="*/ 2108 h 2267"/>
                <a:gd name="T56" fmla="*/ 586 w 1184"/>
                <a:gd name="T57" fmla="*/ 2108 h 2267"/>
                <a:gd name="T58" fmla="*/ 586 w 1184"/>
                <a:gd name="T59" fmla="*/ 2059 h 2267"/>
                <a:gd name="T60" fmla="*/ 654 w 1184"/>
                <a:gd name="T61" fmla="*/ 2046 h 2267"/>
                <a:gd name="T62" fmla="*/ 654 w 1184"/>
                <a:gd name="T63" fmla="*/ 2108 h 2267"/>
                <a:gd name="T64" fmla="*/ 654 w 1184"/>
                <a:gd name="T65" fmla="*/ 2108 h 2267"/>
                <a:gd name="T66" fmla="*/ 1080 w 1184"/>
                <a:gd name="T67" fmla="*/ 1961 h 2267"/>
                <a:gd name="T68" fmla="*/ 111 w 1184"/>
                <a:gd name="T69" fmla="*/ 1961 h 2267"/>
                <a:gd name="T70" fmla="*/ 111 w 1184"/>
                <a:gd name="T71" fmla="*/ 184 h 2267"/>
                <a:gd name="T72" fmla="*/ 1080 w 1184"/>
                <a:gd name="T73" fmla="*/ 184 h 2267"/>
                <a:gd name="T74" fmla="*/ 1080 w 1184"/>
                <a:gd name="T75" fmla="*/ 1961 h 2267"/>
                <a:gd name="T76" fmla="*/ 1080 w 1184"/>
                <a:gd name="T77" fmla="*/ 1961 h 2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4" h="2267">
                  <a:moveTo>
                    <a:pt x="1104" y="0"/>
                  </a:moveTo>
                  <a:cubicBezTo>
                    <a:pt x="74" y="0"/>
                    <a:pt x="74" y="0"/>
                    <a:pt x="74" y="0"/>
                  </a:cubicBezTo>
                  <a:cubicBezTo>
                    <a:pt x="31" y="0"/>
                    <a:pt x="0" y="36"/>
                    <a:pt x="0" y="79"/>
                  </a:cubicBezTo>
                  <a:cubicBezTo>
                    <a:pt x="0" y="2193"/>
                    <a:pt x="0" y="2193"/>
                    <a:pt x="0" y="2193"/>
                  </a:cubicBezTo>
                  <a:cubicBezTo>
                    <a:pt x="0" y="2230"/>
                    <a:pt x="31" y="2267"/>
                    <a:pt x="74" y="2267"/>
                  </a:cubicBezTo>
                  <a:cubicBezTo>
                    <a:pt x="1104" y="2267"/>
                    <a:pt x="1104" y="2267"/>
                    <a:pt x="1104" y="2267"/>
                  </a:cubicBezTo>
                  <a:cubicBezTo>
                    <a:pt x="1153" y="2267"/>
                    <a:pt x="1184" y="2230"/>
                    <a:pt x="1184" y="2193"/>
                  </a:cubicBezTo>
                  <a:cubicBezTo>
                    <a:pt x="1184" y="79"/>
                    <a:pt x="1184" y="79"/>
                    <a:pt x="1184" y="79"/>
                  </a:cubicBezTo>
                  <a:cubicBezTo>
                    <a:pt x="1184" y="36"/>
                    <a:pt x="1153" y="0"/>
                    <a:pt x="1104" y="0"/>
                  </a:cubicBezTo>
                  <a:close/>
                  <a:moveTo>
                    <a:pt x="580" y="2163"/>
                  </a:moveTo>
                  <a:cubicBezTo>
                    <a:pt x="531" y="2157"/>
                    <a:pt x="531" y="2157"/>
                    <a:pt x="531" y="2157"/>
                  </a:cubicBezTo>
                  <a:cubicBezTo>
                    <a:pt x="531" y="2114"/>
                    <a:pt x="531" y="2114"/>
                    <a:pt x="531" y="2114"/>
                  </a:cubicBezTo>
                  <a:cubicBezTo>
                    <a:pt x="580" y="2114"/>
                    <a:pt x="580" y="2114"/>
                    <a:pt x="580" y="2114"/>
                  </a:cubicBezTo>
                  <a:cubicBezTo>
                    <a:pt x="580" y="2163"/>
                    <a:pt x="580" y="2163"/>
                    <a:pt x="580" y="2163"/>
                  </a:cubicBezTo>
                  <a:cubicBezTo>
                    <a:pt x="580" y="2163"/>
                    <a:pt x="580" y="2163"/>
                    <a:pt x="580" y="2163"/>
                  </a:cubicBezTo>
                  <a:close/>
                  <a:moveTo>
                    <a:pt x="580" y="2108"/>
                  </a:moveTo>
                  <a:cubicBezTo>
                    <a:pt x="531" y="2108"/>
                    <a:pt x="531" y="2108"/>
                    <a:pt x="531" y="2108"/>
                  </a:cubicBezTo>
                  <a:cubicBezTo>
                    <a:pt x="531" y="2065"/>
                    <a:pt x="531" y="2065"/>
                    <a:pt x="531" y="2065"/>
                  </a:cubicBezTo>
                  <a:cubicBezTo>
                    <a:pt x="580" y="2059"/>
                    <a:pt x="580" y="2059"/>
                    <a:pt x="580" y="2059"/>
                  </a:cubicBezTo>
                  <a:cubicBezTo>
                    <a:pt x="580" y="2108"/>
                    <a:pt x="580" y="2108"/>
                    <a:pt x="580" y="2108"/>
                  </a:cubicBezTo>
                  <a:cubicBezTo>
                    <a:pt x="580" y="2108"/>
                    <a:pt x="580" y="2108"/>
                    <a:pt x="580" y="2108"/>
                  </a:cubicBezTo>
                  <a:close/>
                  <a:moveTo>
                    <a:pt x="654" y="2175"/>
                  </a:moveTo>
                  <a:cubicBezTo>
                    <a:pt x="586" y="2163"/>
                    <a:pt x="586" y="2163"/>
                    <a:pt x="586" y="2163"/>
                  </a:cubicBezTo>
                  <a:cubicBezTo>
                    <a:pt x="586" y="2114"/>
                    <a:pt x="586" y="2114"/>
                    <a:pt x="586" y="2114"/>
                  </a:cubicBezTo>
                  <a:cubicBezTo>
                    <a:pt x="654" y="2114"/>
                    <a:pt x="654" y="2114"/>
                    <a:pt x="654" y="2114"/>
                  </a:cubicBezTo>
                  <a:cubicBezTo>
                    <a:pt x="654" y="2175"/>
                    <a:pt x="654" y="2175"/>
                    <a:pt x="654" y="2175"/>
                  </a:cubicBezTo>
                  <a:cubicBezTo>
                    <a:pt x="654" y="2175"/>
                    <a:pt x="654" y="2175"/>
                    <a:pt x="654" y="2175"/>
                  </a:cubicBezTo>
                  <a:close/>
                  <a:moveTo>
                    <a:pt x="654" y="2108"/>
                  </a:moveTo>
                  <a:cubicBezTo>
                    <a:pt x="586" y="2108"/>
                    <a:pt x="586" y="2108"/>
                    <a:pt x="586" y="2108"/>
                  </a:cubicBezTo>
                  <a:cubicBezTo>
                    <a:pt x="586" y="2059"/>
                    <a:pt x="586" y="2059"/>
                    <a:pt x="586" y="2059"/>
                  </a:cubicBezTo>
                  <a:cubicBezTo>
                    <a:pt x="654" y="2046"/>
                    <a:pt x="654" y="2046"/>
                    <a:pt x="654" y="2046"/>
                  </a:cubicBezTo>
                  <a:cubicBezTo>
                    <a:pt x="654" y="2108"/>
                    <a:pt x="654" y="2108"/>
                    <a:pt x="654" y="2108"/>
                  </a:cubicBezTo>
                  <a:cubicBezTo>
                    <a:pt x="654" y="2108"/>
                    <a:pt x="654" y="2108"/>
                    <a:pt x="654" y="2108"/>
                  </a:cubicBezTo>
                  <a:close/>
                  <a:moveTo>
                    <a:pt x="1080" y="1961"/>
                  </a:moveTo>
                  <a:cubicBezTo>
                    <a:pt x="111" y="1961"/>
                    <a:pt x="111" y="1961"/>
                    <a:pt x="111" y="1961"/>
                  </a:cubicBezTo>
                  <a:cubicBezTo>
                    <a:pt x="111" y="355"/>
                    <a:pt x="111" y="184"/>
                    <a:pt x="111" y="184"/>
                  </a:cubicBezTo>
                  <a:cubicBezTo>
                    <a:pt x="1080" y="184"/>
                    <a:pt x="1080" y="184"/>
                    <a:pt x="1080" y="184"/>
                  </a:cubicBezTo>
                  <a:cubicBezTo>
                    <a:pt x="1080" y="1961"/>
                    <a:pt x="1080" y="1961"/>
                    <a:pt x="1080" y="1961"/>
                  </a:cubicBezTo>
                  <a:cubicBezTo>
                    <a:pt x="1080" y="1961"/>
                    <a:pt x="1080" y="1961"/>
                    <a:pt x="1080" y="1961"/>
                  </a:cubicBez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defTabSz="913946"/>
              <a:endParaRPr lang="en-US">
                <a:solidFill>
                  <a:srgbClr val="505050"/>
                </a:solidFill>
              </a:endParaRPr>
            </a:p>
          </p:txBody>
        </p:sp>
      </p:grpSp>
      <p:sp>
        <p:nvSpPr>
          <p:cNvPr id="33" name="TextBox 32"/>
          <p:cNvSpPr txBox="1"/>
          <p:nvPr/>
        </p:nvSpPr>
        <p:spPr>
          <a:xfrm>
            <a:off x="470450" y="6050170"/>
            <a:ext cx="1532082" cy="479620"/>
          </a:xfrm>
          <a:prstGeom prst="rect">
            <a:avLst/>
          </a:prstGeom>
          <a:noFill/>
        </p:spPr>
        <p:txBody>
          <a:bodyPr wrap="square" lIns="179238" tIns="143391" rIns="179238" bIns="143391" rtlCol="0">
            <a:spAutoFit/>
          </a:bodyPr>
          <a:lstStyle/>
          <a:p>
            <a:pPr algn="ctr" defTabSz="913946">
              <a:lnSpc>
                <a:spcPct val="90000"/>
              </a:lnSpc>
            </a:pPr>
            <a:r>
              <a:rPr lang="en-US" sz="1372" spc="-49" dirty="0">
                <a:gradFill>
                  <a:gsLst>
                    <a:gs pos="18349">
                      <a:srgbClr val="FFFFFF"/>
                    </a:gs>
                    <a:gs pos="40000">
                      <a:srgbClr val="FFFFFF"/>
                    </a:gs>
                  </a:gsLst>
                  <a:lin ang="5400000" scaled="0"/>
                </a:gradFill>
              </a:rPr>
              <a:t>Hardware token</a:t>
            </a:r>
          </a:p>
        </p:txBody>
      </p:sp>
      <p:sp>
        <p:nvSpPr>
          <p:cNvPr id="34" name="TextBox 33"/>
          <p:cNvSpPr txBox="1"/>
          <p:nvPr/>
        </p:nvSpPr>
        <p:spPr>
          <a:xfrm>
            <a:off x="3036497" y="6050170"/>
            <a:ext cx="1532082" cy="479620"/>
          </a:xfrm>
          <a:prstGeom prst="rect">
            <a:avLst/>
          </a:prstGeom>
          <a:noFill/>
        </p:spPr>
        <p:txBody>
          <a:bodyPr wrap="square" lIns="179238" tIns="143391" rIns="179238" bIns="143391" rtlCol="0">
            <a:spAutoFit/>
          </a:bodyPr>
          <a:lstStyle/>
          <a:p>
            <a:pPr algn="ctr" defTabSz="913946">
              <a:lnSpc>
                <a:spcPct val="90000"/>
              </a:lnSpc>
            </a:pPr>
            <a:r>
              <a:rPr lang="en-US" sz="1372" spc="-49" dirty="0">
                <a:gradFill>
                  <a:gsLst>
                    <a:gs pos="18349">
                      <a:srgbClr val="FFFFFF"/>
                    </a:gs>
                    <a:gs pos="40000">
                      <a:srgbClr val="FFFFFF"/>
                    </a:gs>
                  </a:gsLst>
                  <a:lin ang="5400000" scaled="0"/>
                </a:gradFill>
              </a:rPr>
              <a:t>Certificates</a:t>
            </a:r>
          </a:p>
        </p:txBody>
      </p:sp>
      <p:sp>
        <p:nvSpPr>
          <p:cNvPr id="35" name="TextBox 34"/>
          <p:cNvSpPr txBox="1"/>
          <p:nvPr/>
        </p:nvSpPr>
        <p:spPr>
          <a:xfrm>
            <a:off x="5602544" y="6050170"/>
            <a:ext cx="1532082" cy="479620"/>
          </a:xfrm>
          <a:prstGeom prst="rect">
            <a:avLst/>
          </a:prstGeom>
          <a:noFill/>
        </p:spPr>
        <p:txBody>
          <a:bodyPr wrap="square" lIns="179238" tIns="143391" rIns="179238" bIns="143391" rtlCol="0">
            <a:spAutoFit/>
          </a:bodyPr>
          <a:lstStyle/>
          <a:p>
            <a:pPr algn="ctr" defTabSz="913946">
              <a:lnSpc>
                <a:spcPct val="90000"/>
              </a:lnSpc>
            </a:pPr>
            <a:r>
              <a:rPr lang="en-US" sz="1372" spc="-49" dirty="0">
                <a:gradFill>
                  <a:gsLst>
                    <a:gs pos="18349">
                      <a:srgbClr val="FFFFFF"/>
                    </a:gs>
                    <a:gs pos="40000">
                      <a:srgbClr val="FFFFFF"/>
                    </a:gs>
                  </a:gsLst>
                  <a:lin ang="5400000" scaled="0"/>
                </a:gradFill>
              </a:rPr>
              <a:t>Smartcard</a:t>
            </a:r>
          </a:p>
        </p:txBody>
      </p:sp>
      <p:sp>
        <p:nvSpPr>
          <p:cNvPr id="36" name="TextBox 35"/>
          <p:cNvSpPr txBox="1"/>
          <p:nvPr/>
        </p:nvSpPr>
        <p:spPr>
          <a:xfrm>
            <a:off x="8168591" y="6050170"/>
            <a:ext cx="1532082" cy="479620"/>
          </a:xfrm>
          <a:prstGeom prst="rect">
            <a:avLst/>
          </a:prstGeom>
          <a:noFill/>
        </p:spPr>
        <p:txBody>
          <a:bodyPr wrap="square" lIns="179238" tIns="143391" rIns="179238" bIns="143391" rtlCol="0">
            <a:spAutoFit/>
          </a:bodyPr>
          <a:lstStyle/>
          <a:p>
            <a:pPr algn="ctr" defTabSz="913946">
              <a:lnSpc>
                <a:spcPct val="90000"/>
              </a:lnSpc>
            </a:pPr>
            <a:r>
              <a:rPr lang="en-US" sz="1372" spc="-49" dirty="0">
                <a:gradFill>
                  <a:gsLst>
                    <a:gs pos="18349">
                      <a:srgbClr val="FFFFFF"/>
                    </a:gs>
                    <a:gs pos="40000">
                      <a:srgbClr val="FFFFFF"/>
                    </a:gs>
                  </a:gsLst>
                  <a:lin ang="5400000" scaled="0"/>
                </a:gradFill>
              </a:rPr>
              <a:t>Phone</a:t>
            </a:r>
          </a:p>
        </p:txBody>
      </p:sp>
      <p:grpSp>
        <p:nvGrpSpPr>
          <p:cNvPr id="7" name="Group 6"/>
          <p:cNvGrpSpPr/>
          <p:nvPr/>
        </p:nvGrpSpPr>
        <p:grpSpPr>
          <a:xfrm>
            <a:off x="5602545" y="4578151"/>
            <a:ext cx="1532081" cy="1520863"/>
            <a:chOff x="5688379" y="4669760"/>
            <a:chExt cx="1563210" cy="1551764"/>
          </a:xfrm>
        </p:grpSpPr>
        <p:grpSp>
          <p:nvGrpSpPr>
            <p:cNvPr id="31" name="Group 30"/>
            <p:cNvGrpSpPr>
              <a:grpSpLocks noChangeAspect="1"/>
            </p:cNvGrpSpPr>
            <p:nvPr/>
          </p:nvGrpSpPr>
          <p:grpSpPr>
            <a:xfrm>
              <a:off x="5688379" y="4669760"/>
              <a:ext cx="1563210" cy="1551764"/>
              <a:chOff x="3760097" y="5111938"/>
              <a:chExt cx="1392838" cy="1382638"/>
            </a:xfrm>
          </p:grpSpPr>
          <p:sp>
            <p:nvSpPr>
              <p:cNvPr id="27" name="Oval 26"/>
              <p:cNvSpPr/>
              <p:nvPr/>
            </p:nvSpPr>
            <p:spPr bwMode="auto">
              <a:xfrm>
                <a:off x="3760097" y="5111938"/>
                <a:ext cx="1392838" cy="1382638"/>
              </a:xfrm>
              <a:prstGeom prst="ellipse">
                <a:avLst/>
              </a:prstGeom>
              <a:solidFill>
                <a:schemeClr val="tx2"/>
              </a:solidFill>
              <a:ln w="47625">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ln w="15875">
                    <a:noFill/>
                  </a:ln>
                  <a:gradFill>
                    <a:gsLst>
                      <a:gs pos="1250">
                        <a:srgbClr val="EFEFEF"/>
                      </a:gs>
                      <a:gs pos="10417">
                        <a:srgbClr val="EFEFEF"/>
                      </a:gs>
                    </a:gsLst>
                    <a:lin ang="5400000" scaled="0"/>
                  </a:gradFill>
                </a:endParaRPr>
              </a:p>
            </p:txBody>
          </p:sp>
          <p:grpSp>
            <p:nvGrpSpPr>
              <p:cNvPr id="11" name="Group 10"/>
              <p:cNvGrpSpPr/>
              <p:nvPr/>
            </p:nvGrpSpPr>
            <p:grpSpPr>
              <a:xfrm>
                <a:off x="3997828" y="5507574"/>
                <a:ext cx="917376" cy="591367"/>
                <a:chOff x="2809876" y="-1063625"/>
                <a:chExt cx="2112963" cy="1362076"/>
              </a:xfrm>
              <a:solidFill>
                <a:schemeClr val="accent1"/>
              </a:solidFill>
            </p:grpSpPr>
            <p:sp>
              <p:nvSpPr>
                <p:cNvPr id="8" name="Freeform 5"/>
                <p:cNvSpPr>
                  <a:spLocks noEditPoints="1"/>
                </p:cNvSpPr>
                <p:nvPr/>
              </p:nvSpPr>
              <p:spPr bwMode="auto">
                <a:xfrm>
                  <a:off x="2809876" y="-1063625"/>
                  <a:ext cx="2112963" cy="1362076"/>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946"/>
                  <a:endParaRPr lang="en-US">
                    <a:solidFill>
                      <a:srgbClr val="505050"/>
                    </a:solidFill>
                  </a:endParaRPr>
                </a:p>
              </p:txBody>
            </p:sp>
            <p:sp>
              <p:nvSpPr>
                <p:cNvPr id="9" name="Freeform 6"/>
                <p:cNvSpPr>
                  <a:spLocks/>
                </p:cNvSpPr>
                <p:nvPr/>
              </p:nvSpPr>
              <p:spPr bwMode="auto">
                <a:xfrm>
                  <a:off x="2981326" y="-42862"/>
                  <a:ext cx="257175" cy="82550"/>
                </a:xfrm>
                <a:custGeom>
                  <a:avLst/>
                  <a:gdLst>
                    <a:gd name="T0" fmla="*/ 0 w 162"/>
                    <a:gd name="T1" fmla="*/ 0 h 52"/>
                    <a:gd name="T2" fmla="*/ 162 w 162"/>
                    <a:gd name="T3" fmla="*/ 0 h 52"/>
                    <a:gd name="T4" fmla="*/ 162 w 162"/>
                    <a:gd name="T5" fmla="*/ 52 h 52"/>
                    <a:gd name="T6" fmla="*/ 0 w 162"/>
                    <a:gd name="T7" fmla="*/ 52 h 52"/>
                    <a:gd name="T8" fmla="*/ 0 w 162"/>
                    <a:gd name="T9" fmla="*/ 0 h 52"/>
                    <a:gd name="T10" fmla="*/ 0 w 162"/>
                    <a:gd name="T11" fmla="*/ 0 h 52"/>
                  </a:gdLst>
                  <a:ahLst/>
                  <a:cxnLst>
                    <a:cxn ang="0">
                      <a:pos x="T0" y="T1"/>
                    </a:cxn>
                    <a:cxn ang="0">
                      <a:pos x="T2" y="T3"/>
                    </a:cxn>
                    <a:cxn ang="0">
                      <a:pos x="T4" y="T5"/>
                    </a:cxn>
                    <a:cxn ang="0">
                      <a:pos x="T6" y="T7"/>
                    </a:cxn>
                    <a:cxn ang="0">
                      <a:pos x="T8" y="T9"/>
                    </a:cxn>
                    <a:cxn ang="0">
                      <a:pos x="T10" y="T11"/>
                    </a:cxn>
                  </a:cxnLst>
                  <a:rect l="0" t="0" r="r" b="b"/>
                  <a:pathLst>
                    <a:path w="162" h="52">
                      <a:moveTo>
                        <a:pt x="0" y="0"/>
                      </a:moveTo>
                      <a:lnTo>
                        <a:pt x="162" y="0"/>
                      </a:lnTo>
                      <a:lnTo>
                        <a:pt x="162" y="52"/>
                      </a:lnTo>
                      <a:lnTo>
                        <a:pt x="0" y="5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946"/>
                  <a:endParaRPr lang="en-US">
                    <a:solidFill>
                      <a:srgbClr val="505050"/>
                    </a:solidFill>
                  </a:endParaRPr>
                </a:p>
              </p:txBody>
            </p:sp>
            <p:sp>
              <p:nvSpPr>
                <p:cNvPr id="10" name="Freeform 7"/>
                <p:cNvSpPr>
                  <a:spLocks/>
                </p:cNvSpPr>
                <p:nvPr/>
              </p:nvSpPr>
              <p:spPr bwMode="auto">
                <a:xfrm>
                  <a:off x="3322638" y="-42862"/>
                  <a:ext cx="542925" cy="82550"/>
                </a:xfrm>
                <a:custGeom>
                  <a:avLst/>
                  <a:gdLst>
                    <a:gd name="T0" fmla="*/ 0 w 342"/>
                    <a:gd name="T1" fmla="*/ 0 h 52"/>
                    <a:gd name="T2" fmla="*/ 342 w 342"/>
                    <a:gd name="T3" fmla="*/ 0 h 52"/>
                    <a:gd name="T4" fmla="*/ 342 w 342"/>
                    <a:gd name="T5" fmla="*/ 52 h 52"/>
                    <a:gd name="T6" fmla="*/ 0 w 342"/>
                    <a:gd name="T7" fmla="*/ 52 h 52"/>
                    <a:gd name="T8" fmla="*/ 0 w 342"/>
                    <a:gd name="T9" fmla="*/ 0 h 52"/>
                    <a:gd name="T10" fmla="*/ 0 w 342"/>
                    <a:gd name="T11" fmla="*/ 0 h 52"/>
                  </a:gdLst>
                  <a:ahLst/>
                  <a:cxnLst>
                    <a:cxn ang="0">
                      <a:pos x="T0" y="T1"/>
                    </a:cxn>
                    <a:cxn ang="0">
                      <a:pos x="T2" y="T3"/>
                    </a:cxn>
                    <a:cxn ang="0">
                      <a:pos x="T4" y="T5"/>
                    </a:cxn>
                    <a:cxn ang="0">
                      <a:pos x="T6" y="T7"/>
                    </a:cxn>
                    <a:cxn ang="0">
                      <a:pos x="T8" y="T9"/>
                    </a:cxn>
                    <a:cxn ang="0">
                      <a:pos x="T10" y="T11"/>
                    </a:cxn>
                  </a:cxnLst>
                  <a:rect l="0" t="0" r="r" b="b"/>
                  <a:pathLst>
                    <a:path w="342" h="52">
                      <a:moveTo>
                        <a:pt x="0" y="0"/>
                      </a:moveTo>
                      <a:lnTo>
                        <a:pt x="342" y="0"/>
                      </a:lnTo>
                      <a:lnTo>
                        <a:pt x="342" y="52"/>
                      </a:lnTo>
                      <a:lnTo>
                        <a:pt x="0" y="5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946"/>
                  <a:endParaRPr lang="en-US">
                    <a:solidFill>
                      <a:srgbClr val="505050"/>
                    </a:solidFill>
                  </a:endParaRPr>
                </a:p>
              </p:txBody>
            </p:sp>
          </p:grpSp>
        </p:grpSp>
        <p:grpSp>
          <p:nvGrpSpPr>
            <p:cNvPr id="5" name="Group 4"/>
            <p:cNvGrpSpPr/>
            <p:nvPr/>
          </p:nvGrpSpPr>
          <p:grpSpPr>
            <a:xfrm>
              <a:off x="6042899" y="5196973"/>
              <a:ext cx="295755" cy="323492"/>
              <a:chOff x="6064933" y="5219007"/>
              <a:chExt cx="295755" cy="323492"/>
            </a:xfrm>
          </p:grpSpPr>
          <p:sp>
            <p:nvSpPr>
              <p:cNvPr id="4" name="Rectangle 3"/>
              <p:cNvSpPr/>
              <p:nvPr/>
            </p:nvSpPr>
            <p:spPr bwMode="auto">
              <a:xfrm>
                <a:off x="6064933" y="5219007"/>
                <a:ext cx="295755" cy="323492"/>
              </a:xfrm>
              <a:prstGeom prst="rect">
                <a:avLst/>
              </a:prstGeom>
              <a:solidFill>
                <a:schemeClr val="tx2"/>
              </a:solidFill>
              <a:ln w="38100">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gradFill>
                    <a:gsLst>
                      <a:gs pos="1250">
                        <a:srgbClr val="EFEFEF"/>
                      </a:gs>
                      <a:gs pos="10417">
                        <a:srgbClr val="EFEFEF"/>
                      </a:gs>
                    </a:gsLst>
                    <a:lin ang="5400000" scaled="0"/>
                  </a:gradFill>
                </a:endParaRPr>
              </a:p>
            </p:txBody>
          </p:sp>
          <p:sp>
            <p:nvSpPr>
              <p:cNvPr id="43" name="Freeform 237"/>
              <p:cNvSpPr>
                <a:spLocks noChangeAspect="1"/>
              </p:cNvSpPr>
              <p:nvPr/>
            </p:nvSpPr>
            <p:spPr bwMode="auto">
              <a:xfrm>
                <a:off x="6078631" y="5299392"/>
                <a:ext cx="268359" cy="239735"/>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pPr defTabSz="913946"/>
                <a:endParaRPr lang="en-US">
                  <a:solidFill>
                    <a:srgbClr val="505050"/>
                  </a:solidFill>
                </a:endParaRPr>
              </a:p>
            </p:txBody>
          </p:sp>
        </p:grpSp>
      </p:grpSp>
      <p:grpSp>
        <p:nvGrpSpPr>
          <p:cNvPr id="13" name="Group 12"/>
          <p:cNvGrpSpPr/>
          <p:nvPr/>
        </p:nvGrpSpPr>
        <p:grpSpPr>
          <a:xfrm>
            <a:off x="470450" y="4578151"/>
            <a:ext cx="1532083" cy="1520863"/>
            <a:chOff x="452011" y="4669760"/>
            <a:chExt cx="1563212" cy="1551764"/>
          </a:xfrm>
        </p:grpSpPr>
        <p:grpSp>
          <p:nvGrpSpPr>
            <p:cNvPr id="29" name="Group 28"/>
            <p:cNvGrpSpPr>
              <a:grpSpLocks noChangeAspect="1"/>
            </p:cNvGrpSpPr>
            <p:nvPr/>
          </p:nvGrpSpPr>
          <p:grpSpPr>
            <a:xfrm>
              <a:off x="452011" y="4669760"/>
              <a:ext cx="1563212" cy="1551764"/>
              <a:chOff x="513569" y="5111938"/>
              <a:chExt cx="1392838" cy="1382638"/>
            </a:xfrm>
          </p:grpSpPr>
          <p:sp>
            <p:nvSpPr>
              <p:cNvPr id="25" name="Oval 24"/>
              <p:cNvSpPr/>
              <p:nvPr/>
            </p:nvSpPr>
            <p:spPr bwMode="auto">
              <a:xfrm>
                <a:off x="513569" y="5111938"/>
                <a:ext cx="1392838" cy="1382638"/>
              </a:xfrm>
              <a:prstGeom prst="ellipse">
                <a:avLst/>
              </a:prstGeom>
              <a:solidFill>
                <a:srgbClr val="00BCF2"/>
              </a:solidFill>
              <a:ln w="47625">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ln w="15875">
                    <a:noFill/>
                  </a:ln>
                  <a:gradFill>
                    <a:gsLst>
                      <a:gs pos="1250">
                        <a:srgbClr val="EFEFEF"/>
                      </a:gs>
                      <a:gs pos="10417">
                        <a:srgbClr val="EFEFEF"/>
                      </a:gs>
                    </a:gsLst>
                    <a:lin ang="5400000" scaled="0"/>
                  </a:gradFill>
                </a:endParaRPr>
              </a:p>
            </p:txBody>
          </p:sp>
          <p:sp>
            <p:nvSpPr>
              <p:cNvPr id="16" name="Freeform 11"/>
              <p:cNvSpPr>
                <a:spLocks noEditPoints="1"/>
              </p:cNvSpPr>
              <p:nvPr/>
            </p:nvSpPr>
            <p:spPr bwMode="auto">
              <a:xfrm>
                <a:off x="838548" y="5431817"/>
                <a:ext cx="742880" cy="742880"/>
              </a:xfrm>
              <a:custGeom>
                <a:avLst/>
                <a:gdLst>
                  <a:gd name="T0" fmla="*/ 1838 w 1938"/>
                  <a:gd name="T1" fmla="*/ 224 h 1938"/>
                  <a:gd name="T2" fmla="*/ 1714 w 1938"/>
                  <a:gd name="T3" fmla="*/ 100 h 1938"/>
                  <a:gd name="T4" fmla="*/ 1483 w 1938"/>
                  <a:gd name="T5" fmla="*/ 0 h 1938"/>
                  <a:gd name="T6" fmla="*/ 1243 w 1938"/>
                  <a:gd name="T7" fmla="*/ 100 h 1938"/>
                  <a:gd name="T8" fmla="*/ 224 w 1938"/>
                  <a:gd name="T9" fmla="*/ 1112 h 1938"/>
                  <a:gd name="T10" fmla="*/ 826 w 1938"/>
                  <a:gd name="T11" fmla="*/ 1714 h 1938"/>
                  <a:gd name="T12" fmla="*/ 1838 w 1938"/>
                  <a:gd name="T13" fmla="*/ 695 h 1938"/>
                  <a:gd name="T14" fmla="*/ 1938 w 1938"/>
                  <a:gd name="T15" fmla="*/ 455 h 1938"/>
                  <a:gd name="T16" fmla="*/ 1838 w 1938"/>
                  <a:gd name="T17" fmla="*/ 224 h 1938"/>
                  <a:gd name="T18" fmla="*/ 308 w 1938"/>
                  <a:gd name="T19" fmla="*/ 1266 h 1938"/>
                  <a:gd name="T20" fmla="*/ 0 w 1938"/>
                  <a:gd name="T21" fmla="*/ 1575 h 1938"/>
                  <a:gd name="T22" fmla="*/ 169 w 1938"/>
                  <a:gd name="T23" fmla="*/ 1745 h 1938"/>
                  <a:gd name="T24" fmla="*/ 478 w 1938"/>
                  <a:gd name="T25" fmla="*/ 1436 h 1938"/>
                  <a:gd name="T26" fmla="*/ 308 w 1938"/>
                  <a:gd name="T27" fmla="*/ 1266 h 1938"/>
                  <a:gd name="T28" fmla="*/ 308 w 1938"/>
                  <a:gd name="T29" fmla="*/ 1266 h 1938"/>
                  <a:gd name="T30" fmla="*/ 185 w 1938"/>
                  <a:gd name="T31" fmla="*/ 1490 h 1938"/>
                  <a:gd name="T32" fmla="*/ 254 w 1938"/>
                  <a:gd name="T33" fmla="*/ 1429 h 1938"/>
                  <a:gd name="T34" fmla="*/ 316 w 1938"/>
                  <a:gd name="T35" fmla="*/ 1490 h 1938"/>
                  <a:gd name="T36" fmla="*/ 247 w 1938"/>
                  <a:gd name="T37" fmla="*/ 1560 h 1938"/>
                  <a:gd name="T38" fmla="*/ 185 w 1938"/>
                  <a:gd name="T39" fmla="*/ 1490 h 1938"/>
                  <a:gd name="T40" fmla="*/ 185 w 1938"/>
                  <a:gd name="T41" fmla="*/ 1490 h 1938"/>
                  <a:gd name="T42" fmla="*/ 502 w 1938"/>
                  <a:gd name="T43" fmla="*/ 1460 h 1938"/>
                  <a:gd name="T44" fmla="*/ 193 w 1938"/>
                  <a:gd name="T45" fmla="*/ 1769 h 1938"/>
                  <a:gd name="T46" fmla="*/ 363 w 1938"/>
                  <a:gd name="T47" fmla="*/ 1938 h 1938"/>
                  <a:gd name="T48" fmla="*/ 672 w 1938"/>
                  <a:gd name="T49" fmla="*/ 1630 h 1938"/>
                  <a:gd name="T50" fmla="*/ 502 w 1938"/>
                  <a:gd name="T51" fmla="*/ 1460 h 1938"/>
                  <a:gd name="T52" fmla="*/ 502 w 1938"/>
                  <a:gd name="T53" fmla="*/ 1460 h 1938"/>
                  <a:gd name="T54" fmla="*/ 432 w 1938"/>
                  <a:gd name="T55" fmla="*/ 1738 h 1938"/>
                  <a:gd name="T56" fmla="*/ 363 w 1938"/>
                  <a:gd name="T57" fmla="*/ 1676 h 1938"/>
                  <a:gd name="T58" fmla="*/ 432 w 1938"/>
                  <a:gd name="T59" fmla="*/ 1606 h 1938"/>
                  <a:gd name="T60" fmla="*/ 494 w 1938"/>
                  <a:gd name="T61" fmla="*/ 1668 h 1938"/>
                  <a:gd name="T62" fmla="*/ 432 w 1938"/>
                  <a:gd name="T63" fmla="*/ 1738 h 1938"/>
                  <a:gd name="T64" fmla="*/ 432 w 1938"/>
                  <a:gd name="T65" fmla="*/ 1738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8" h="1938">
                    <a:moveTo>
                      <a:pt x="1838" y="224"/>
                    </a:moveTo>
                    <a:cubicBezTo>
                      <a:pt x="1714" y="100"/>
                      <a:pt x="1714" y="100"/>
                      <a:pt x="1714" y="100"/>
                    </a:cubicBezTo>
                    <a:cubicBezTo>
                      <a:pt x="1653" y="30"/>
                      <a:pt x="1568" y="0"/>
                      <a:pt x="1483" y="0"/>
                    </a:cubicBezTo>
                    <a:cubicBezTo>
                      <a:pt x="1390" y="0"/>
                      <a:pt x="1305" y="30"/>
                      <a:pt x="1243" y="100"/>
                    </a:cubicBezTo>
                    <a:cubicBezTo>
                      <a:pt x="224" y="1112"/>
                      <a:pt x="224" y="1112"/>
                      <a:pt x="224" y="1112"/>
                    </a:cubicBezTo>
                    <a:cubicBezTo>
                      <a:pt x="826" y="1714"/>
                      <a:pt x="826" y="1714"/>
                      <a:pt x="826" y="1714"/>
                    </a:cubicBezTo>
                    <a:cubicBezTo>
                      <a:pt x="1838" y="695"/>
                      <a:pt x="1838" y="695"/>
                      <a:pt x="1838" y="695"/>
                    </a:cubicBezTo>
                    <a:cubicBezTo>
                      <a:pt x="1908" y="633"/>
                      <a:pt x="1938" y="548"/>
                      <a:pt x="1938" y="455"/>
                    </a:cubicBezTo>
                    <a:cubicBezTo>
                      <a:pt x="1938" y="370"/>
                      <a:pt x="1908" y="285"/>
                      <a:pt x="1838" y="224"/>
                    </a:cubicBezTo>
                    <a:close/>
                    <a:moveTo>
                      <a:pt x="308" y="1266"/>
                    </a:moveTo>
                    <a:cubicBezTo>
                      <a:pt x="0" y="1575"/>
                      <a:pt x="0" y="1575"/>
                      <a:pt x="0" y="1575"/>
                    </a:cubicBezTo>
                    <a:cubicBezTo>
                      <a:pt x="169" y="1745"/>
                      <a:pt x="169" y="1745"/>
                      <a:pt x="169" y="1745"/>
                    </a:cubicBezTo>
                    <a:cubicBezTo>
                      <a:pt x="478" y="1436"/>
                      <a:pt x="478" y="1436"/>
                      <a:pt x="478" y="1436"/>
                    </a:cubicBezTo>
                    <a:cubicBezTo>
                      <a:pt x="308" y="1266"/>
                      <a:pt x="308" y="1266"/>
                      <a:pt x="308" y="1266"/>
                    </a:cubicBezTo>
                    <a:cubicBezTo>
                      <a:pt x="308" y="1266"/>
                      <a:pt x="308" y="1266"/>
                      <a:pt x="308" y="1266"/>
                    </a:cubicBezTo>
                    <a:close/>
                    <a:moveTo>
                      <a:pt x="185" y="1490"/>
                    </a:moveTo>
                    <a:cubicBezTo>
                      <a:pt x="254" y="1429"/>
                      <a:pt x="254" y="1429"/>
                      <a:pt x="254" y="1429"/>
                    </a:cubicBezTo>
                    <a:cubicBezTo>
                      <a:pt x="316" y="1490"/>
                      <a:pt x="316" y="1490"/>
                      <a:pt x="316" y="1490"/>
                    </a:cubicBezTo>
                    <a:cubicBezTo>
                      <a:pt x="247" y="1560"/>
                      <a:pt x="247" y="1560"/>
                      <a:pt x="247" y="1560"/>
                    </a:cubicBezTo>
                    <a:cubicBezTo>
                      <a:pt x="185" y="1490"/>
                      <a:pt x="185" y="1490"/>
                      <a:pt x="185" y="1490"/>
                    </a:cubicBezTo>
                    <a:cubicBezTo>
                      <a:pt x="185" y="1490"/>
                      <a:pt x="185" y="1490"/>
                      <a:pt x="185" y="1490"/>
                    </a:cubicBezTo>
                    <a:close/>
                    <a:moveTo>
                      <a:pt x="502" y="1460"/>
                    </a:moveTo>
                    <a:cubicBezTo>
                      <a:pt x="193" y="1769"/>
                      <a:pt x="193" y="1769"/>
                      <a:pt x="193" y="1769"/>
                    </a:cubicBezTo>
                    <a:cubicBezTo>
                      <a:pt x="363" y="1938"/>
                      <a:pt x="363" y="1938"/>
                      <a:pt x="363" y="1938"/>
                    </a:cubicBezTo>
                    <a:cubicBezTo>
                      <a:pt x="672" y="1630"/>
                      <a:pt x="672" y="1630"/>
                      <a:pt x="672" y="1630"/>
                    </a:cubicBezTo>
                    <a:cubicBezTo>
                      <a:pt x="502" y="1460"/>
                      <a:pt x="502" y="1460"/>
                      <a:pt x="502" y="1460"/>
                    </a:cubicBezTo>
                    <a:cubicBezTo>
                      <a:pt x="502" y="1460"/>
                      <a:pt x="502" y="1460"/>
                      <a:pt x="502" y="1460"/>
                    </a:cubicBezTo>
                    <a:close/>
                    <a:moveTo>
                      <a:pt x="432" y="1738"/>
                    </a:moveTo>
                    <a:cubicBezTo>
                      <a:pt x="363" y="1676"/>
                      <a:pt x="363" y="1676"/>
                      <a:pt x="363" y="1676"/>
                    </a:cubicBezTo>
                    <a:cubicBezTo>
                      <a:pt x="432" y="1606"/>
                      <a:pt x="432" y="1606"/>
                      <a:pt x="432" y="1606"/>
                    </a:cubicBezTo>
                    <a:cubicBezTo>
                      <a:pt x="494" y="1668"/>
                      <a:pt x="494" y="1668"/>
                      <a:pt x="494" y="1668"/>
                    </a:cubicBezTo>
                    <a:cubicBezTo>
                      <a:pt x="432" y="1738"/>
                      <a:pt x="432" y="1738"/>
                      <a:pt x="432" y="1738"/>
                    </a:cubicBezTo>
                    <a:cubicBezTo>
                      <a:pt x="432" y="1738"/>
                      <a:pt x="432" y="1738"/>
                      <a:pt x="432" y="1738"/>
                    </a:cubicBez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defTabSz="913946"/>
                <a:endParaRPr lang="en-US" dirty="0">
                  <a:solidFill>
                    <a:srgbClr val="505050"/>
                  </a:solidFill>
                </a:endParaRPr>
              </a:p>
            </p:txBody>
          </p:sp>
        </p:grpSp>
        <p:sp>
          <p:nvSpPr>
            <p:cNvPr id="12" name="Rectangle 11"/>
            <p:cNvSpPr/>
            <p:nvPr/>
          </p:nvSpPr>
          <p:spPr bwMode="auto">
            <a:xfrm rot="18904379">
              <a:off x="1032889" y="5296702"/>
              <a:ext cx="513082" cy="18565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95908">
                <a:lnSpc>
                  <a:spcPct val="90000"/>
                </a:lnSpc>
              </a:pPr>
              <a:r>
                <a:rPr lang="en-US" sz="882" spc="196" dirty="0">
                  <a:gradFill>
                    <a:gsLst>
                      <a:gs pos="1250">
                        <a:srgbClr val="EFEFEF"/>
                      </a:gs>
                      <a:gs pos="10417">
                        <a:srgbClr val="EFEFEF"/>
                      </a:gs>
                    </a:gsLst>
                    <a:lin ang="5400000" scaled="0"/>
                  </a:gradFill>
                </a:rPr>
                <a:t>01234</a:t>
              </a:r>
            </a:p>
          </p:txBody>
        </p:sp>
      </p:grpSp>
    </p:spTree>
    <p:extLst>
      <p:ext uri="{BB962C8B-B14F-4D97-AF65-F5344CB8AC3E}">
        <p14:creationId xmlns:p14="http://schemas.microsoft.com/office/powerpoint/2010/main" val="2002016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childTnLst>
                          </p:cTn>
                        </p:par>
                        <p:par>
                          <p:cTn id="20" fill="hold">
                            <p:stCondLst>
                              <p:cond delay="3000"/>
                            </p:stCondLst>
                            <p:childTnLst>
                              <p:par>
                                <p:cTn id="21" presetID="10" presetClass="entr" presetSubtype="0" fill="hold" grpId="0" nodeType="afterEffect">
                                  <p:stCondLst>
                                    <p:cond delay="1000"/>
                                  </p:stCondLst>
                                  <p:childTnLst>
                                    <p:set>
                                      <p:cBhvr>
                                        <p:cTn id="22" dur="1" fill="hold">
                                          <p:stCondLst>
                                            <p:cond delay="0"/>
                                          </p:stCondLst>
                                        </p:cTn>
                                        <p:tgtEl>
                                          <p:spTgt spid="6">
                                            <p:txEl>
                                              <p:pRg st="5" end="5"/>
                                            </p:txEl>
                                          </p:spTgt>
                                        </p:tgtEl>
                                        <p:attrNameLst>
                                          <p:attrName>style.visibility</p:attrName>
                                        </p:attrNameLst>
                                      </p:cBhvr>
                                      <p:to>
                                        <p:strVal val="visible"/>
                                      </p:to>
                                    </p:set>
                                    <p:animEffect transition="in" filter="fade">
                                      <p:cBhvr>
                                        <p:cTn id="23" dur="500"/>
                                        <p:tgtEl>
                                          <p:spTgt spid="6">
                                            <p:txEl>
                                              <p:pRg st="5" end="5"/>
                                            </p:txEl>
                                          </p:spTgt>
                                        </p:tgtEl>
                                      </p:cBhvr>
                                    </p:animEffect>
                                  </p:childTnLst>
                                </p:cTn>
                              </p:par>
                            </p:childTnLst>
                          </p:cTn>
                        </p:par>
                        <p:par>
                          <p:cTn id="24" fill="hold">
                            <p:stCondLst>
                              <p:cond delay="4500"/>
                            </p:stCondLst>
                            <p:childTnLst>
                              <p:par>
                                <p:cTn id="25" presetID="2" presetClass="entr" presetSubtype="8" decel="100000" fill="hold" grpId="0" nodeType="afterEffect">
                                  <p:stCondLst>
                                    <p:cond delay="0"/>
                                  </p:stCondLst>
                                  <p:childTnLst>
                                    <p:set>
                                      <p:cBhvr>
                                        <p:cTn id="26" dur="1" fill="hold">
                                          <p:stCondLst>
                                            <p:cond delay="0"/>
                                          </p:stCondLst>
                                        </p:cTn>
                                        <p:tgtEl>
                                          <p:spTgt spid="2"/>
                                        </p:tgtEl>
                                        <p:attrNameLst>
                                          <p:attrName>style.visibility</p:attrName>
                                        </p:attrNameLst>
                                      </p:cBhvr>
                                      <p:to>
                                        <p:strVal val="visible"/>
                                      </p:to>
                                    </p:set>
                                    <p:anim calcmode="lin" valueType="num">
                                      <p:cBhvr additive="base">
                                        <p:cTn id="27" dur="500" fill="hold"/>
                                        <p:tgtEl>
                                          <p:spTgt spid="2"/>
                                        </p:tgtEl>
                                        <p:attrNameLst>
                                          <p:attrName>ppt_x</p:attrName>
                                        </p:attrNameLst>
                                      </p:cBhvr>
                                      <p:tavLst>
                                        <p:tav tm="0">
                                          <p:val>
                                            <p:strVal val="0-#ppt_w/2"/>
                                          </p:val>
                                        </p:tav>
                                        <p:tav tm="100000">
                                          <p:val>
                                            <p:strVal val="#ppt_x"/>
                                          </p:val>
                                        </p:tav>
                                      </p:tavLst>
                                    </p:anim>
                                    <p:anim calcmode="lin" valueType="num">
                                      <p:cBhvr additive="base">
                                        <p:cTn id="28" dur="500" fill="hold"/>
                                        <p:tgtEl>
                                          <p:spTgt spid="2"/>
                                        </p:tgtEl>
                                        <p:attrNameLst>
                                          <p:attrName>ppt_y</p:attrName>
                                        </p:attrNameLst>
                                      </p:cBhvr>
                                      <p:tavLst>
                                        <p:tav tm="0">
                                          <p:val>
                                            <p:strVal val="#ppt_y"/>
                                          </p:val>
                                        </p:tav>
                                        <p:tav tm="100000">
                                          <p:val>
                                            <p:strVal val="#ppt_y"/>
                                          </p:val>
                                        </p:tav>
                                      </p:tavLst>
                                    </p:anim>
                                  </p:childTnLst>
                                </p:cTn>
                              </p:par>
                            </p:childTnLst>
                          </p:cTn>
                        </p:par>
                        <p:par>
                          <p:cTn id="29" fill="hold">
                            <p:stCondLst>
                              <p:cond delay="5000"/>
                            </p:stCondLst>
                            <p:childTnLst>
                              <p:par>
                                <p:cTn id="30" presetID="53" presetClass="entr" presetSubtype="16" fill="hold" nodeType="afterEffect">
                                  <p:stCondLst>
                                    <p:cond delay="0"/>
                                  </p:stCondLst>
                                  <p:childTnLst>
                                    <p:set>
                                      <p:cBhvr>
                                        <p:cTn id="31" dur="1" fill="hold">
                                          <p:stCondLst>
                                            <p:cond delay="0"/>
                                          </p:stCondLst>
                                        </p:cTn>
                                        <p:tgtEl>
                                          <p:spTgt spid="13"/>
                                        </p:tgtEl>
                                        <p:attrNameLst>
                                          <p:attrName>style.visibility</p:attrName>
                                        </p:attrNameLst>
                                      </p:cBhvr>
                                      <p:to>
                                        <p:strVal val="visible"/>
                                      </p:to>
                                    </p:set>
                                    <p:anim calcmode="lin" valueType="num">
                                      <p:cBhvr>
                                        <p:cTn id="32" dur="250" fill="hold"/>
                                        <p:tgtEl>
                                          <p:spTgt spid="13"/>
                                        </p:tgtEl>
                                        <p:attrNameLst>
                                          <p:attrName>ppt_w</p:attrName>
                                        </p:attrNameLst>
                                      </p:cBhvr>
                                      <p:tavLst>
                                        <p:tav tm="0">
                                          <p:val>
                                            <p:fltVal val="0"/>
                                          </p:val>
                                        </p:tav>
                                        <p:tav tm="100000">
                                          <p:val>
                                            <p:strVal val="#ppt_w"/>
                                          </p:val>
                                        </p:tav>
                                      </p:tavLst>
                                    </p:anim>
                                    <p:anim calcmode="lin" valueType="num">
                                      <p:cBhvr>
                                        <p:cTn id="33" dur="250" fill="hold"/>
                                        <p:tgtEl>
                                          <p:spTgt spid="13"/>
                                        </p:tgtEl>
                                        <p:attrNameLst>
                                          <p:attrName>ppt_h</p:attrName>
                                        </p:attrNameLst>
                                      </p:cBhvr>
                                      <p:tavLst>
                                        <p:tav tm="0">
                                          <p:val>
                                            <p:fltVal val="0"/>
                                          </p:val>
                                        </p:tav>
                                        <p:tav tm="100000">
                                          <p:val>
                                            <p:strVal val="#ppt_h"/>
                                          </p:val>
                                        </p:tav>
                                      </p:tavLst>
                                    </p:anim>
                                    <p:animEffect transition="in" filter="fade">
                                      <p:cBhvr>
                                        <p:cTn id="34" dur="250"/>
                                        <p:tgtEl>
                                          <p:spTgt spid="13"/>
                                        </p:tgtEl>
                                      </p:cBhvr>
                                    </p:animEffect>
                                  </p:childTnLst>
                                </p:cTn>
                              </p:par>
                              <p:par>
                                <p:cTn id="35" presetID="6" presetClass="emph" presetSubtype="0" decel="100000" fill="hold" nodeType="withEffect">
                                  <p:stCondLst>
                                    <p:cond delay="200"/>
                                  </p:stCondLst>
                                  <p:childTnLst>
                                    <p:animScale>
                                      <p:cBhvr>
                                        <p:cTn id="36" dur="250" fill="hold"/>
                                        <p:tgtEl>
                                          <p:spTgt spid="13"/>
                                        </p:tgtEl>
                                      </p:cBhvr>
                                      <p:by x="110000" y="110000"/>
                                    </p:animScale>
                                  </p:childTnLst>
                                </p:cTn>
                              </p:par>
                              <p:par>
                                <p:cTn id="37" presetID="6" presetClass="emph" presetSubtype="0" decel="100000" fill="hold" nodeType="withEffect">
                                  <p:stCondLst>
                                    <p:cond delay="300"/>
                                  </p:stCondLst>
                                  <p:childTnLst>
                                    <p:animScale>
                                      <p:cBhvr>
                                        <p:cTn id="38" dur="250" fill="hold"/>
                                        <p:tgtEl>
                                          <p:spTgt spid="13"/>
                                        </p:tgtEl>
                                      </p:cBhvr>
                                      <p:by x="91000" y="91000"/>
                                    </p:animScale>
                                  </p:childTnLst>
                                </p:cTn>
                              </p:par>
                              <p:par>
                                <p:cTn id="39" presetID="53" presetClass="entr" presetSubtype="16" fill="hold" nodeType="withEffect">
                                  <p:stCondLst>
                                    <p:cond delay="100"/>
                                  </p:stCondLst>
                                  <p:childTnLst>
                                    <p:set>
                                      <p:cBhvr>
                                        <p:cTn id="40" dur="1" fill="hold">
                                          <p:stCondLst>
                                            <p:cond delay="0"/>
                                          </p:stCondLst>
                                        </p:cTn>
                                        <p:tgtEl>
                                          <p:spTgt spid="30"/>
                                        </p:tgtEl>
                                        <p:attrNameLst>
                                          <p:attrName>style.visibility</p:attrName>
                                        </p:attrNameLst>
                                      </p:cBhvr>
                                      <p:to>
                                        <p:strVal val="visible"/>
                                      </p:to>
                                    </p:set>
                                    <p:anim calcmode="lin" valueType="num">
                                      <p:cBhvr>
                                        <p:cTn id="41" dur="250" fill="hold"/>
                                        <p:tgtEl>
                                          <p:spTgt spid="30"/>
                                        </p:tgtEl>
                                        <p:attrNameLst>
                                          <p:attrName>ppt_w</p:attrName>
                                        </p:attrNameLst>
                                      </p:cBhvr>
                                      <p:tavLst>
                                        <p:tav tm="0">
                                          <p:val>
                                            <p:fltVal val="0"/>
                                          </p:val>
                                        </p:tav>
                                        <p:tav tm="100000">
                                          <p:val>
                                            <p:strVal val="#ppt_w"/>
                                          </p:val>
                                        </p:tav>
                                      </p:tavLst>
                                    </p:anim>
                                    <p:anim calcmode="lin" valueType="num">
                                      <p:cBhvr>
                                        <p:cTn id="42" dur="250" fill="hold"/>
                                        <p:tgtEl>
                                          <p:spTgt spid="30"/>
                                        </p:tgtEl>
                                        <p:attrNameLst>
                                          <p:attrName>ppt_h</p:attrName>
                                        </p:attrNameLst>
                                      </p:cBhvr>
                                      <p:tavLst>
                                        <p:tav tm="0">
                                          <p:val>
                                            <p:fltVal val="0"/>
                                          </p:val>
                                        </p:tav>
                                        <p:tav tm="100000">
                                          <p:val>
                                            <p:strVal val="#ppt_h"/>
                                          </p:val>
                                        </p:tav>
                                      </p:tavLst>
                                    </p:anim>
                                    <p:animEffect transition="in" filter="fade">
                                      <p:cBhvr>
                                        <p:cTn id="43" dur="250"/>
                                        <p:tgtEl>
                                          <p:spTgt spid="30"/>
                                        </p:tgtEl>
                                      </p:cBhvr>
                                    </p:animEffect>
                                  </p:childTnLst>
                                </p:cTn>
                              </p:par>
                              <p:par>
                                <p:cTn id="44" presetID="6" presetClass="emph" presetSubtype="0" decel="100000" fill="hold" nodeType="withEffect">
                                  <p:stCondLst>
                                    <p:cond delay="300"/>
                                  </p:stCondLst>
                                  <p:childTnLst>
                                    <p:animScale>
                                      <p:cBhvr>
                                        <p:cTn id="45" dur="250" fill="hold"/>
                                        <p:tgtEl>
                                          <p:spTgt spid="30"/>
                                        </p:tgtEl>
                                      </p:cBhvr>
                                      <p:by x="110000" y="110000"/>
                                    </p:animScale>
                                  </p:childTnLst>
                                </p:cTn>
                              </p:par>
                              <p:par>
                                <p:cTn id="46" presetID="6" presetClass="emph" presetSubtype="0" decel="100000" fill="hold" nodeType="withEffect">
                                  <p:stCondLst>
                                    <p:cond delay="400"/>
                                  </p:stCondLst>
                                  <p:childTnLst>
                                    <p:animScale>
                                      <p:cBhvr>
                                        <p:cTn id="47" dur="250" fill="hold"/>
                                        <p:tgtEl>
                                          <p:spTgt spid="30"/>
                                        </p:tgtEl>
                                      </p:cBhvr>
                                      <p:by x="91000" y="91000"/>
                                    </p:animScale>
                                  </p:childTnLst>
                                </p:cTn>
                              </p:par>
                              <p:par>
                                <p:cTn id="48" presetID="53" presetClass="entr" presetSubtype="16" fill="hold" nodeType="withEffect">
                                  <p:stCondLst>
                                    <p:cond delay="200"/>
                                  </p:stCondLst>
                                  <p:childTnLst>
                                    <p:set>
                                      <p:cBhvr>
                                        <p:cTn id="49" dur="1" fill="hold">
                                          <p:stCondLst>
                                            <p:cond delay="0"/>
                                          </p:stCondLst>
                                        </p:cTn>
                                        <p:tgtEl>
                                          <p:spTgt spid="7"/>
                                        </p:tgtEl>
                                        <p:attrNameLst>
                                          <p:attrName>style.visibility</p:attrName>
                                        </p:attrNameLst>
                                      </p:cBhvr>
                                      <p:to>
                                        <p:strVal val="visible"/>
                                      </p:to>
                                    </p:set>
                                    <p:anim calcmode="lin" valueType="num">
                                      <p:cBhvr>
                                        <p:cTn id="50" dur="250" fill="hold"/>
                                        <p:tgtEl>
                                          <p:spTgt spid="7"/>
                                        </p:tgtEl>
                                        <p:attrNameLst>
                                          <p:attrName>ppt_w</p:attrName>
                                        </p:attrNameLst>
                                      </p:cBhvr>
                                      <p:tavLst>
                                        <p:tav tm="0">
                                          <p:val>
                                            <p:fltVal val="0"/>
                                          </p:val>
                                        </p:tav>
                                        <p:tav tm="100000">
                                          <p:val>
                                            <p:strVal val="#ppt_w"/>
                                          </p:val>
                                        </p:tav>
                                      </p:tavLst>
                                    </p:anim>
                                    <p:anim calcmode="lin" valueType="num">
                                      <p:cBhvr>
                                        <p:cTn id="51" dur="250" fill="hold"/>
                                        <p:tgtEl>
                                          <p:spTgt spid="7"/>
                                        </p:tgtEl>
                                        <p:attrNameLst>
                                          <p:attrName>ppt_h</p:attrName>
                                        </p:attrNameLst>
                                      </p:cBhvr>
                                      <p:tavLst>
                                        <p:tav tm="0">
                                          <p:val>
                                            <p:fltVal val="0"/>
                                          </p:val>
                                        </p:tav>
                                        <p:tav tm="100000">
                                          <p:val>
                                            <p:strVal val="#ppt_h"/>
                                          </p:val>
                                        </p:tav>
                                      </p:tavLst>
                                    </p:anim>
                                    <p:animEffect transition="in" filter="fade">
                                      <p:cBhvr>
                                        <p:cTn id="52" dur="250"/>
                                        <p:tgtEl>
                                          <p:spTgt spid="7"/>
                                        </p:tgtEl>
                                      </p:cBhvr>
                                    </p:animEffect>
                                  </p:childTnLst>
                                </p:cTn>
                              </p:par>
                              <p:par>
                                <p:cTn id="53" presetID="6" presetClass="emph" presetSubtype="0" decel="100000" fill="hold" nodeType="withEffect">
                                  <p:stCondLst>
                                    <p:cond delay="400"/>
                                  </p:stCondLst>
                                  <p:childTnLst>
                                    <p:animScale>
                                      <p:cBhvr>
                                        <p:cTn id="54" dur="250" fill="hold"/>
                                        <p:tgtEl>
                                          <p:spTgt spid="7"/>
                                        </p:tgtEl>
                                      </p:cBhvr>
                                      <p:by x="110000" y="110000"/>
                                    </p:animScale>
                                  </p:childTnLst>
                                </p:cTn>
                              </p:par>
                              <p:par>
                                <p:cTn id="55" presetID="6" presetClass="emph" presetSubtype="0" decel="100000" fill="hold" nodeType="withEffect">
                                  <p:stCondLst>
                                    <p:cond delay="500"/>
                                  </p:stCondLst>
                                  <p:childTnLst>
                                    <p:animScale>
                                      <p:cBhvr>
                                        <p:cTn id="56" dur="250" fill="hold"/>
                                        <p:tgtEl>
                                          <p:spTgt spid="7"/>
                                        </p:tgtEl>
                                      </p:cBhvr>
                                      <p:by x="91000" y="91000"/>
                                    </p:animScale>
                                  </p:childTnLst>
                                </p:cTn>
                              </p:par>
                              <p:par>
                                <p:cTn id="57" presetID="53" presetClass="entr" presetSubtype="16" fill="hold" nodeType="withEffect">
                                  <p:stCondLst>
                                    <p:cond delay="300"/>
                                  </p:stCondLst>
                                  <p:childTnLst>
                                    <p:set>
                                      <p:cBhvr>
                                        <p:cTn id="58" dur="1" fill="hold">
                                          <p:stCondLst>
                                            <p:cond delay="0"/>
                                          </p:stCondLst>
                                        </p:cTn>
                                        <p:tgtEl>
                                          <p:spTgt spid="32"/>
                                        </p:tgtEl>
                                        <p:attrNameLst>
                                          <p:attrName>style.visibility</p:attrName>
                                        </p:attrNameLst>
                                      </p:cBhvr>
                                      <p:to>
                                        <p:strVal val="visible"/>
                                      </p:to>
                                    </p:set>
                                    <p:anim calcmode="lin" valueType="num">
                                      <p:cBhvr>
                                        <p:cTn id="59" dur="250" fill="hold"/>
                                        <p:tgtEl>
                                          <p:spTgt spid="32"/>
                                        </p:tgtEl>
                                        <p:attrNameLst>
                                          <p:attrName>ppt_w</p:attrName>
                                        </p:attrNameLst>
                                      </p:cBhvr>
                                      <p:tavLst>
                                        <p:tav tm="0">
                                          <p:val>
                                            <p:fltVal val="0"/>
                                          </p:val>
                                        </p:tav>
                                        <p:tav tm="100000">
                                          <p:val>
                                            <p:strVal val="#ppt_w"/>
                                          </p:val>
                                        </p:tav>
                                      </p:tavLst>
                                    </p:anim>
                                    <p:anim calcmode="lin" valueType="num">
                                      <p:cBhvr>
                                        <p:cTn id="60" dur="250" fill="hold"/>
                                        <p:tgtEl>
                                          <p:spTgt spid="32"/>
                                        </p:tgtEl>
                                        <p:attrNameLst>
                                          <p:attrName>ppt_h</p:attrName>
                                        </p:attrNameLst>
                                      </p:cBhvr>
                                      <p:tavLst>
                                        <p:tav tm="0">
                                          <p:val>
                                            <p:fltVal val="0"/>
                                          </p:val>
                                        </p:tav>
                                        <p:tav tm="100000">
                                          <p:val>
                                            <p:strVal val="#ppt_h"/>
                                          </p:val>
                                        </p:tav>
                                      </p:tavLst>
                                    </p:anim>
                                    <p:animEffect transition="in" filter="fade">
                                      <p:cBhvr>
                                        <p:cTn id="61" dur="250"/>
                                        <p:tgtEl>
                                          <p:spTgt spid="32"/>
                                        </p:tgtEl>
                                      </p:cBhvr>
                                    </p:animEffect>
                                  </p:childTnLst>
                                </p:cTn>
                              </p:par>
                              <p:par>
                                <p:cTn id="62" presetID="6" presetClass="emph" presetSubtype="0" decel="100000" fill="hold" nodeType="withEffect">
                                  <p:stCondLst>
                                    <p:cond delay="500"/>
                                  </p:stCondLst>
                                  <p:childTnLst>
                                    <p:animScale>
                                      <p:cBhvr>
                                        <p:cTn id="63" dur="250" fill="hold"/>
                                        <p:tgtEl>
                                          <p:spTgt spid="32"/>
                                        </p:tgtEl>
                                      </p:cBhvr>
                                      <p:by x="110000" y="110000"/>
                                    </p:animScale>
                                  </p:childTnLst>
                                </p:cTn>
                              </p:par>
                              <p:par>
                                <p:cTn id="64" presetID="6" presetClass="emph" presetSubtype="0" decel="100000" fill="hold" nodeType="withEffect">
                                  <p:stCondLst>
                                    <p:cond delay="600"/>
                                  </p:stCondLst>
                                  <p:childTnLst>
                                    <p:animScale>
                                      <p:cBhvr>
                                        <p:cTn id="65" dur="250" fill="hold"/>
                                        <p:tgtEl>
                                          <p:spTgt spid="32"/>
                                        </p:tgtEl>
                                      </p:cBhvr>
                                      <p:by x="91000" y="91000"/>
                                    </p:animScale>
                                  </p:childTnLst>
                                </p:cTn>
                              </p:par>
                            </p:childTnLst>
                          </p:cTn>
                        </p:par>
                        <p:par>
                          <p:cTn id="66" fill="hold">
                            <p:stCondLst>
                              <p:cond delay="5850"/>
                            </p:stCondLst>
                            <p:childTnLst>
                              <p:par>
                                <p:cTn id="67" presetID="10" presetClass="entr" presetSubtype="0" fill="hold" grpId="0" nodeType="afterEffect">
                                  <p:stCondLst>
                                    <p:cond delay="0"/>
                                  </p:stCondLst>
                                  <p:childTnLst>
                                    <p:set>
                                      <p:cBhvr>
                                        <p:cTn id="68" dur="1" fill="hold">
                                          <p:stCondLst>
                                            <p:cond delay="0"/>
                                          </p:stCondLst>
                                        </p:cTn>
                                        <p:tgtEl>
                                          <p:spTgt spid="33"/>
                                        </p:tgtEl>
                                        <p:attrNameLst>
                                          <p:attrName>style.visibility</p:attrName>
                                        </p:attrNameLst>
                                      </p:cBhvr>
                                      <p:to>
                                        <p:strVal val="visible"/>
                                      </p:to>
                                    </p:set>
                                    <p:animEffect transition="in" filter="fade">
                                      <p:cBhvr>
                                        <p:cTn id="69" dur="500"/>
                                        <p:tgtEl>
                                          <p:spTgt spid="33"/>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4"/>
                                        </p:tgtEl>
                                        <p:attrNameLst>
                                          <p:attrName>style.visibility</p:attrName>
                                        </p:attrNameLst>
                                      </p:cBhvr>
                                      <p:to>
                                        <p:strVal val="visible"/>
                                      </p:to>
                                    </p:set>
                                    <p:animEffect transition="in" filter="fade">
                                      <p:cBhvr>
                                        <p:cTn id="72" dur="500"/>
                                        <p:tgtEl>
                                          <p:spTgt spid="34"/>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35"/>
                                        </p:tgtEl>
                                        <p:attrNameLst>
                                          <p:attrName>style.visibility</p:attrName>
                                        </p:attrNameLst>
                                      </p:cBhvr>
                                      <p:to>
                                        <p:strVal val="visible"/>
                                      </p:to>
                                    </p:set>
                                    <p:animEffect transition="in" filter="fade">
                                      <p:cBhvr>
                                        <p:cTn id="75" dur="500"/>
                                        <p:tgtEl>
                                          <p:spTgt spid="35"/>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36"/>
                                        </p:tgtEl>
                                        <p:attrNameLst>
                                          <p:attrName>style.visibility</p:attrName>
                                        </p:attrNameLst>
                                      </p:cBhvr>
                                      <p:to>
                                        <p:strVal val="visible"/>
                                      </p:to>
                                    </p:set>
                                    <p:animEffect transition="in" filter="fade">
                                      <p:cBhvr>
                                        <p:cTn id="78"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build="p"/>
      <p:bldP spid="33" grpId="0"/>
      <p:bldP spid="34" grpId="0"/>
      <p:bldP spid="35" grpId="0"/>
      <p:bldP spid="3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1589" y="1522487"/>
            <a:ext cx="3546379" cy="896191"/>
            <a:chOff x="0" y="1031017"/>
            <a:chExt cx="3618434" cy="914400"/>
          </a:xfrm>
        </p:grpSpPr>
        <p:sp>
          <p:nvSpPr>
            <p:cNvPr id="14" name="Rectangle 13"/>
            <p:cNvSpPr/>
            <p:nvPr/>
          </p:nvSpPr>
          <p:spPr>
            <a:xfrm>
              <a:off x="0" y="1031017"/>
              <a:ext cx="3618434" cy="914400"/>
            </a:xfrm>
            <a:prstGeom prst="rect">
              <a:avLst/>
            </a:prstGeom>
            <a:solidFill>
              <a:schemeClr val="bg1">
                <a:lumMod val="10000"/>
              </a:schemeClr>
            </a:solidFill>
          </p:spPr>
          <p:txBody>
            <a:bodyPr wrap="square" lIns="268857">
              <a:noAutofit/>
            </a:bodyPr>
            <a:lstStyle/>
            <a:p>
              <a:pPr defTabSz="913946"/>
              <a:r>
                <a:rPr lang="en-US" sz="2548" dirty="0">
                  <a:gradFill>
                    <a:gsLst>
                      <a:gs pos="0">
                        <a:srgbClr val="EFEFEF"/>
                      </a:gs>
                      <a:gs pos="100000">
                        <a:srgbClr val="EFEFEF"/>
                      </a:gs>
                    </a:gsLst>
                    <a:lin ang="5400000" scaled="0"/>
                  </a:gradFill>
                  <a:latin typeface="Segoe UI Light"/>
                </a:rPr>
                <a:t>Employees</a:t>
              </a:r>
            </a:p>
          </p:txBody>
        </p:sp>
        <p:sp>
          <p:nvSpPr>
            <p:cNvPr id="57" name="Freeform 9"/>
            <p:cNvSpPr>
              <a:spLocks noEditPoints="1"/>
            </p:cNvSpPr>
            <p:nvPr/>
          </p:nvSpPr>
          <p:spPr bwMode="black">
            <a:xfrm>
              <a:off x="2811441" y="1153552"/>
              <a:ext cx="666622" cy="66933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946"/>
              <a:endParaRPr lang="en-US" sz="3136">
                <a:gradFill>
                  <a:gsLst>
                    <a:gs pos="0">
                      <a:srgbClr val="FFFFFF"/>
                    </a:gs>
                    <a:gs pos="100000">
                      <a:srgbClr val="FFFFFF"/>
                    </a:gs>
                  </a:gsLst>
                  <a:lin ang="5400000" scaled="0"/>
                </a:gradFill>
                <a:latin typeface="Segoe UI Light"/>
              </a:endParaRPr>
            </a:p>
          </p:txBody>
        </p:sp>
      </p:grpSp>
      <p:grpSp>
        <p:nvGrpSpPr>
          <p:cNvPr id="24" name="Group 23"/>
          <p:cNvGrpSpPr/>
          <p:nvPr/>
        </p:nvGrpSpPr>
        <p:grpSpPr>
          <a:xfrm>
            <a:off x="1589" y="2538774"/>
            <a:ext cx="3546379" cy="896191"/>
            <a:chOff x="0" y="1031017"/>
            <a:chExt cx="3618434" cy="914400"/>
          </a:xfrm>
        </p:grpSpPr>
        <p:sp>
          <p:nvSpPr>
            <p:cNvPr id="26" name="Rectangle 25"/>
            <p:cNvSpPr/>
            <p:nvPr/>
          </p:nvSpPr>
          <p:spPr>
            <a:xfrm>
              <a:off x="0" y="1031017"/>
              <a:ext cx="3618434" cy="914400"/>
            </a:xfrm>
            <a:prstGeom prst="rect">
              <a:avLst/>
            </a:prstGeom>
            <a:solidFill>
              <a:schemeClr val="bg1">
                <a:lumMod val="10000"/>
              </a:schemeClr>
            </a:solidFill>
          </p:spPr>
          <p:txBody>
            <a:bodyPr wrap="square" lIns="268857">
              <a:noAutofit/>
            </a:bodyPr>
            <a:lstStyle/>
            <a:p>
              <a:pPr defTabSz="913946"/>
              <a:r>
                <a:rPr lang="en-US" sz="2548" dirty="0">
                  <a:gradFill>
                    <a:gsLst>
                      <a:gs pos="0">
                        <a:srgbClr val="EFEFEF"/>
                      </a:gs>
                      <a:gs pos="100000">
                        <a:srgbClr val="EFEFEF"/>
                      </a:gs>
                    </a:gsLst>
                    <a:lin ang="5400000" scaled="0"/>
                  </a:gradFill>
                  <a:latin typeface="Segoe UI Light"/>
                </a:rPr>
                <a:t>Partners</a:t>
              </a:r>
            </a:p>
          </p:txBody>
        </p:sp>
        <p:sp>
          <p:nvSpPr>
            <p:cNvPr id="27" name="Freeform 9"/>
            <p:cNvSpPr>
              <a:spLocks noEditPoints="1"/>
            </p:cNvSpPr>
            <p:nvPr/>
          </p:nvSpPr>
          <p:spPr bwMode="black">
            <a:xfrm>
              <a:off x="2811441" y="1153552"/>
              <a:ext cx="666622" cy="66933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946"/>
              <a:endParaRPr lang="en-US" sz="3136">
                <a:gradFill>
                  <a:gsLst>
                    <a:gs pos="0">
                      <a:srgbClr val="FFFFFF"/>
                    </a:gs>
                    <a:gs pos="100000">
                      <a:srgbClr val="FFFFFF"/>
                    </a:gs>
                  </a:gsLst>
                  <a:lin ang="5400000" scaled="0"/>
                </a:gradFill>
                <a:latin typeface="Segoe UI Light"/>
              </a:endParaRPr>
            </a:p>
          </p:txBody>
        </p:sp>
      </p:grpSp>
      <p:grpSp>
        <p:nvGrpSpPr>
          <p:cNvPr id="33" name="Group 32"/>
          <p:cNvGrpSpPr/>
          <p:nvPr/>
        </p:nvGrpSpPr>
        <p:grpSpPr>
          <a:xfrm>
            <a:off x="1589" y="3555060"/>
            <a:ext cx="3546379" cy="896191"/>
            <a:chOff x="0" y="1031017"/>
            <a:chExt cx="3618434" cy="914400"/>
          </a:xfrm>
        </p:grpSpPr>
        <p:sp>
          <p:nvSpPr>
            <p:cNvPr id="34" name="Rectangle 33"/>
            <p:cNvSpPr/>
            <p:nvPr/>
          </p:nvSpPr>
          <p:spPr>
            <a:xfrm>
              <a:off x="0" y="1031017"/>
              <a:ext cx="3618434" cy="914400"/>
            </a:xfrm>
            <a:prstGeom prst="rect">
              <a:avLst/>
            </a:prstGeom>
            <a:solidFill>
              <a:schemeClr val="bg1">
                <a:lumMod val="10000"/>
              </a:schemeClr>
            </a:solidFill>
          </p:spPr>
          <p:txBody>
            <a:bodyPr wrap="square" lIns="268857">
              <a:noAutofit/>
            </a:bodyPr>
            <a:lstStyle/>
            <a:p>
              <a:pPr defTabSz="913946"/>
              <a:r>
                <a:rPr lang="en-US" sz="2548" dirty="0">
                  <a:gradFill>
                    <a:gsLst>
                      <a:gs pos="0">
                        <a:srgbClr val="EFEFEF"/>
                      </a:gs>
                      <a:gs pos="100000">
                        <a:srgbClr val="EFEFEF"/>
                      </a:gs>
                    </a:gsLst>
                    <a:lin ang="5400000" scaled="0"/>
                  </a:gradFill>
                  <a:latin typeface="Segoe UI Light"/>
                </a:rPr>
                <a:t>Customers</a:t>
              </a:r>
            </a:p>
          </p:txBody>
        </p:sp>
        <p:sp>
          <p:nvSpPr>
            <p:cNvPr id="35" name="Freeform 9"/>
            <p:cNvSpPr>
              <a:spLocks noEditPoints="1"/>
            </p:cNvSpPr>
            <p:nvPr/>
          </p:nvSpPr>
          <p:spPr bwMode="black">
            <a:xfrm>
              <a:off x="2811441" y="1153552"/>
              <a:ext cx="666622" cy="66933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946"/>
              <a:endParaRPr lang="en-US" sz="3136">
                <a:gradFill>
                  <a:gsLst>
                    <a:gs pos="0">
                      <a:srgbClr val="FFFFFF"/>
                    </a:gs>
                    <a:gs pos="100000">
                      <a:srgbClr val="FFFFFF"/>
                    </a:gs>
                  </a:gsLst>
                  <a:lin ang="5400000" scaled="0"/>
                </a:gradFill>
                <a:latin typeface="Segoe UI Light"/>
              </a:endParaRPr>
            </a:p>
          </p:txBody>
        </p:sp>
      </p:grpSp>
      <p:grpSp>
        <p:nvGrpSpPr>
          <p:cNvPr id="6" name="Group 5"/>
          <p:cNvGrpSpPr/>
          <p:nvPr/>
        </p:nvGrpSpPr>
        <p:grpSpPr>
          <a:xfrm>
            <a:off x="9187447" y="1512131"/>
            <a:ext cx="2581031" cy="2090927"/>
            <a:chOff x="9361911" y="1566971"/>
            <a:chExt cx="2633472" cy="2133410"/>
          </a:xfrm>
        </p:grpSpPr>
        <p:sp>
          <p:nvSpPr>
            <p:cNvPr id="2" name="Rectangle 1"/>
            <p:cNvSpPr/>
            <p:nvPr/>
          </p:nvSpPr>
          <p:spPr bwMode="auto">
            <a:xfrm>
              <a:off x="9361911" y="1566971"/>
              <a:ext cx="2633472" cy="2133410"/>
            </a:xfrm>
            <a:prstGeom prst="rect">
              <a:avLst/>
            </a:prstGeom>
            <a:ln w="50800" cap="sq">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a:endParaRPr lang="en-US" sz="3136" dirty="0">
                <a:gradFill>
                  <a:gsLst>
                    <a:gs pos="0">
                      <a:srgbClr val="FFFFFF"/>
                    </a:gs>
                    <a:gs pos="100000">
                      <a:srgbClr val="FFFFFF"/>
                    </a:gs>
                  </a:gsLst>
                  <a:lin ang="5400000" scaled="0"/>
                </a:gradFill>
                <a:latin typeface="Segoe UI Light"/>
              </a:endParaRPr>
            </a:p>
          </p:txBody>
        </p:sp>
        <p:sp>
          <p:nvSpPr>
            <p:cNvPr id="54" name="Rectangle 53"/>
            <p:cNvSpPr/>
            <p:nvPr/>
          </p:nvSpPr>
          <p:spPr>
            <a:xfrm>
              <a:off x="9915457" y="1800644"/>
              <a:ext cx="1526380" cy="584775"/>
            </a:xfrm>
            <a:prstGeom prst="rect">
              <a:avLst/>
            </a:prstGeom>
          </p:spPr>
          <p:txBody>
            <a:bodyPr wrap="none">
              <a:spAutoFit/>
            </a:bodyPr>
            <a:lstStyle/>
            <a:p>
              <a:pPr algn="ctr" defTabSz="932103"/>
              <a:r>
                <a:rPr lang="en-US" sz="3136" dirty="0">
                  <a:gradFill>
                    <a:gsLst>
                      <a:gs pos="0">
                        <a:srgbClr val="FFFFFF"/>
                      </a:gs>
                      <a:gs pos="100000">
                        <a:srgbClr val="FFFFFF"/>
                      </a:gs>
                    </a:gsLst>
                    <a:lin ang="5400000" scaled="0"/>
                  </a:gradFill>
                  <a:latin typeface="Segoe UI Light"/>
                </a:rPr>
                <a:t>Security</a:t>
              </a:r>
            </a:p>
          </p:txBody>
        </p:sp>
      </p:grpSp>
      <p:grpSp>
        <p:nvGrpSpPr>
          <p:cNvPr id="8" name="Group 7"/>
          <p:cNvGrpSpPr/>
          <p:nvPr/>
        </p:nvGrpSpPr>
        <p:grpSpPr>
          <a:xfrm>
            <a:off x="6460620" y="1512131"/>
            <a:ext cx="2581031" cy="2090927"/>
            <a:chOff x="6580800" y="1541445"/>
            <a:chExt cx="2633472" cy="2133410"/>
          </a:xfrm>
        </p:grpSpPr>
        <p:sp>
          <p:nvSpPr>
            <p:cNvPr id="21" name="Rectangle 20"/>
            <p:cNvSpPr/>
            <p:nvPr/>
          </p:nvSpPr>
          <p:spPr bwMode="auto">
            <a:xfrm>
              <a:off x="6580800" y="1541445"/>
              <a:ext cx="2633472" cy="2133410"/>
            </a:xfrm>
            <a:prstGeom prst="rect">
              <a:avLst/>
            </a:prstGeom>
            <a:ln w="50800" cap="sq">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a:endParaRPr lang="en-US" sz="3136" dirty="0">
                <a:gradFill>
                  <a:gsLst>
                    <a:gs pos="0">
                      <a:srgbClr val="FFFFFF"/>
                    </a:gs>
                    <a:gs pos="100000">
                      <a:srgbClr val="FFFFFF"/>
                    </a:gs>
                  </a:gsLst>
                  <a:lin ang="5400000" scaled="0"/>
                </a:gradFill>
                <a:latin typeface="Segoe UI Light"/>
              </a:endParaRPr>
            </a:p>
          </p:txBody>
        </p:sp>
        <p:sp>
          <p:nvSpPr>
            <p:cNvPr id="56" name="Rectangle 55"/>
            <p:cNvSpPr/>
            <p:nvPr/>
          </p:nvSpPr>
          <p:spPr>
            <a:xfrm>
              <a:off x="7364377" y="1769670"/>
              <a:ext cx="1066318" cy="584775"/>
            </a:xfrm>
            <a:prstGeom prst="rect">
              <a:avLst/>
            </a:prstGeom>
          </p:spPr>
          <p:txBody>
            <a:bodyPr wrap="none">
              <a:spAutoFit/>
            </a:bodyPr>
            <a:lstStyle/>
            <a:p>
              <a:pPr algn="ctr" defTabSz="932103"/>
              <a:r>
                <a:rPr lang="en-US" sz="3136" dirty="0">
                  <a:gradFill>
                    <a:gsLst>
                      <a:gs pos="0">
                        <a:srgbClr val="FFFFFF"/>
                      </a:gs>
                      <a:gs pos="100000">
                        <a:srgbClr val="FFFFFF"/>
                      </a:gs>
                    </a:gsLst>
                    <a:lin ang="5400000" scaled="0"/>
                  </a:gradFill>
                  <a:latin typeface="Segoe UI Light"/>
                </a:rPr>
                <a:t>Scale</a:t>
              </a:r>
            </a:p>
          </p:txBody>
        </p:sp>
      </p:grpSp>
      <p:grpSp>
        <p:nvGrpSpPr>
          <p:cNvPr id="9" name="Group 8"/>
          <p:cNvGrpSpPr/>
          <p:nvPr/>
        </p:nvGrpSpPr>
        <p:grpSpPr>
          <a:xfrm>
            <a:off x="3731280" y="1512131"/>
            <a:ext cx="2581031" cy="2090927"/>
            <a:chOff x="3793859" y="1541445"/>
            <a:chExt cx="2633472" cy="2133410"/>
          </a:xfrm>
        </p:grpSpPr>
        <p:sp>
          <p:nvSpPr>
            <p:cNvPr id="17" name="Rectangle 16"/>
            <p:cNvSpPr/>
            <p:nvPr/>
          </p:nvSpPr>
          <p:spPr bwMode="auto">
            <a:xfrm>
              <a:off x="3793859" y="1541445"/>
              <a:ext cx="2633472" cy="2133410"/>
            </a:xfrm>
            <a:prstGeom prst="rect">
              <a:avLst/>
            </a:prstGeom>
            <a:ln w="50800" cap="sq">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a:endParaRPr lang="en-US" sz="3136" dirty="0">
                <a:gradFill>
                  <a:gsLst>
                    <a:gs pos="0">
                      <a:srgbClr val="FFFFFF"/>
                    </a:gs>
                    <a:gs pos="100000">
                      <a:srgbClr val="FFFFFF"/>
                    </a:gs>
                  </a:gsLst>
                  <a:lin ang="5400000" scaled="0"/>
                </a:gradFill>
                <a:latin typeface="Segoe UI Light"/>
              </a:endParaRPr>
            </a:p>
          </p:txBody>
        </p:sp>
        <p:sp>
          <p:nvSpPr>
            <p:cNvPr id="55" name="Rectangle 54"/>
            <p:cNvSpPr/>
            <p:nvPr/>
          </p:nvSpPr>
          <p:spPr>
            <a:xfrm>
              <a:off x="3908984" y="1772241"/>
              <a:ext cx="2403222" cy="584775"/>
            </a:xfrm>
            <a:prstGeom prst="rect">
              <a:avLst/>
            </a:prstGeom>
          </p:spPr>
          <p:txBody>
            <a:bodyPr wrap="none">
              <a:spAutoFit/>
            </a:bodyPr>
            <a:lstStyle/>
            <a:p>
              <a:pPr algn="ctr" defTabSz="932103"/>
              <a:r>
                <a:rPr lang="en-US" sz="3136" dirty="0">
                  <a:gradFill>
                    <a:gsLst>
                      <a:gs pos="0">
                        <a:srgbClr val="FFFFFF"/>
                      </a:gs>
                      <a:gs pos="100000">
                        <a:srgbClr val="FFFFFF"/>
                      </a:gs>
                    </a:gsLst>
                    <a:lin ang="5400000" scaled="0"/>
                  </a:gradFill>
                  <a:latin typeface="Segoe UI Light"/>
                </a:rPr>
                <a:t>Convenience</a:t>
              </a:r>
            </a:p>
          </p:txBody>
        </p:sp>
      </p:grpSp>
      <p:grpSp>
        <p:nvGrpSpPr>
          <p:cNvPr id="10" name="Group 9"/>
          <p:cNvGrpSpPr/>
          <p:nvPr/>
        </p:nvGrpSpPr>
        <p:grpSpPr>
          <a:xfrm>
            <a:off x="9177073" y="2438648"/>
            <a:ext cx="2601776" cy="2582723"/>
            <a:chOff x="9361911" y="2486787"/>
            <a:chExt cx="2654638" cy="2635198"/>
          </a:xfrm>
        </p:grpSpPr>
        <p:sp>
          <p:nvSpPr>
            <p:cNvPr id="5" name="Oval 4"/>
            <p:cNvSpPr/>
            <p:nvPr/>
          </p:nvSpPr>
          <p:spPr bwMode="auto">
            <a:xfrm>
              <a:off x="9361911" y="2486787"/>
              <a:ext cx="2654638" cy="2635198"/>
            </a:xfrm>
            <a:prstGeom prst="ellipse">
              <a:avLst/>
            </a:prstGeom>
            <a:solidFill>
              <a:srgbClr val="FFFFFF"/>
            </a:solidFill>
            <a:ln w="476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ln w="15875">
                  <a:noFill/>
                </a:ln>
                <a:gradFill>
                  <a:gsLst>
                    <a:gs pos="1250">
                      <a:srgbClr val="EFEFEF"/>
                    </a:gs>
                    <a:gs pos="10417">
                      <a:srgbClr val="EFEFEF"/>
                    </a:gs>
                  </a:gsLst>
                  <a:lin ang="5400000" scaled="0"/>
                </a:gradFill>
              </a:endParaRPr>
            </a:p>
          </p:txBody>
        </p:sp>
        <p:sp>
          <p:nvSpPr>
            <p:cNvPr id="36" name="Freeform 26"/>
            <p:cNvSpPr>
              <a:spLocks noEditPoints="1"/>
            </p:cNvSpPr>
            <p:nvPr/>
          </p:nvSpPr>
          <p:spPr bwMode="auto">
            <a:xfrm>
              <a:off x="10156077" y="3014687"/>
              <a:ext cx="1066306" cy="1579398"/>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a:gradFill>
                  <a:gsLst>
                    <a:gs pos="1250">
                      <a:srgbClr val="EFEFEF"/>
                    </a:gs>
                    <a:gs pos="10417">
                      <a:srgbClr val="EFEFEF"/>
                    </a:gs>
                  </a:gsLst>
                  <a:lin ang="5400000" scaled="0"/>
                </a:gradFill>
              </a:endParaRPr>
            </a:p>
          </p:txBody>
        </p:sp>
      </p:grpSp>
      <p:grpSp>
        <p:nvGrpSpPr>
          <p:cNvPr id="12" name="Group 11"/>
          <p:cNvGrpSpPr/>
          <p:nvPr/>
        </p:nvGrpSpPr>
        <p:grpSpPr>
          <a:xfrm>
            <a:off x="6451345" y="2413630"/>
            <a:ext cx="2599583" cy="2582723"/>
            <a:chOff x="6580800" y="2461261"/>
            <a:chExt cx="2652401" cy="2635198"/>
          </a:xfrm>
        </p:grpSpPr>
        <p:sp>
          <p:nvSpPr>
            <p:cNvPr id="22" name="Oval 21"/>
            <p:cNvSpPr/>
            <p:nvPr/>
          </p:nvSpPr>
          <p:spPr bwMode="auto">
            <a:xfrm>
              <a:off x="6580800" y="2461261"/>
              <a:ext cx="2652401" cy="2635198"/>
            </a:xfrm>
            <a:prstGeom prst="ellipse">
              <a:avLst/>
            </a:prstGeom>
            <a:solidFill>
              <a:srgbClr val="FFFFFF"/>
            </a:solidFill>
            <a:ln w="476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ln w="15875">
                  <a:noFill/>
                </a:ln>
                <a:gradFill>
                  <a:gsLst>
                    <a:gs pos="1250">
                      <a:srgbClr val="EFEFEF"/>
                    </a:gs>
                    <a:gs pos="10417">
                      <a:srgbClr val="EFEFEF"/>
                    </a:gs>
                  </a:gsLst>
                  <a:lin ang="5400000" scaled="0"/>
                </a:gradFill>
              </a:endParaRPr>
            </a:p>
          </p:txBody>
        </p:sp>
        <p:grpSp>
          <p:nvGrpSpPr>
            <p:cNvPr id="11" name="Group 10"/>
            <p:cNvGrpSpPr/>
            <p:nvPr/>
          </p:nvGrpSpPr>
          <p:grpSpPr>
            <a:xfrm>
              <a:off x="7177132" y="3038917"/>
              <a:ext cx="1459737" cy="1479887"/>
              <a:chOff x="6976028" y="5372686"/>
              <a:chExt cx="1459737" cy="1479887"/>
            </a:xfrm>
          </p:grpSpPr>
          <p:sp>
            <p:nvSpPr>
              <p:cNvPr id="38" name="Freeform 426"/>
              <p:cNvSpPr>
                <a:spLocks/>
              </p:cNvSpPr>
              <p:nvPr/>
            </p:nvSpPr>
            <p:spPr bwMode="auto">
              <a:xfrm>
                <a:off x="6976028" y="5372686"/>
                <a:ext cx="671658" cy="68061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chemeClr val="tx2"/>
              </a:solidFill>
              <a:ln w="31750" cap="sq">
                <a:noFill/>
                <a:miter lim="800000"/>
                <a:headEnd/>
                <a:tailEnd/>
              </a:ln>
              <a:extLst/>
            </p:spPr>
            <p:txBody>
              <a:bodyPr vert="horz" wrap="square" lIns="89619" tIns="44810" rIns="89619" bIns="44810" numCol="1" anchor="t" anchorCtr="0" compatLnSpc="1">
                <a:prstTxWarp prst="textNoShape">
                  <a:avLst/>
                </a:prstTxWarp>
              </a:bodyPr>
              <a:lstStyle/>
              <a:p>
                <a:pPr defTabSz="913946"/>
                <a:endParaRPr lang="en-US">
                  <a:solidFill>
                    <a:srgbClr val="505050"/>
                  </a:solidFill>
                </a:endParaRPr>
              </a:p>
            </p:txBody>
          </p:sp>
          <p:sp>
            <p:nvSpPr>
              <p:cNvPr id="39" name="Freeform 427"/>
              <p:cNvSpPr>
                <a:spLocks/>
              </p:cNvSpPr>
              <p:nvPr/>
            </p:nvSpPr>
            <p:spPr bwMode="auto">
              <a:xfrm>
                <a:off x="7764107" y="5372686"/>
                <a:ext cx="671658" cy="68061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chemeClr val="tx2"/>
              </a:solidFill>
              <a:ln w="31750" cap="sq">
                <a:noFill/>
                <a:miter lim="800000"/>
                <a:headEnd/>
                <a:tailEnd/>
              </a:ln>
              <a:extLst/>
            </p:spPr>
            <p:txBody>
              <a:bodyPr vert="horz" wrap="square" lIns="89619" tIns="44810" rIns="89619" bIns="44810" numCol="1" anchor="t" anchorCtr="0" compatLnSpc="1">
                <a:prstTxWarp prst="textNoShape">
                  <a:avLst/>
                </a:prstTxWarp>
              </a:bodyPr>
              <a:lstStyle/>
              <a:p>
                <a:pPr defTabSz="913946"/>
                <a:endParaRPr lang="en-US">
                  <a:solidFill>
                    <a:srgbClr val="505050"/>
                  </a:solidFill>
                </a:endParaRPr>
              </a:p>
            </p:txBody>
          </p:sp>
          <p:sp>
            <p:nvSpPr>
              <p:cNvPr id="45" name="Freeform 428"/>
              <p:cNvSpPr>
                <a:spLocks/>
              </p:cNvSpPr>
              <p:nvPr/>
            </p:nvSpPr>
            <p:spPr bwMode="auto">
              <a:xfrm>
                <a:off x="6976028" y="6169720"/>
                <a:ext cx="671658" cy="682853"/>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chemeClr val="tx2"/>
              </a:solidFill>
              <a:ln w="31750" cap="sq">
                <a:noFill/>
                <a:miter lim="800000"/>
                <a:headEnd/>
                <a:tailEnd/>
              </a:ln>
              <a:extLst/>
            </p:spPr>
            <p:txBody>
              <a:bodyPr vert="horz" wrap="square" lIns="89619" tIns="44810" rIns="89619" bIns="44810" numCol="1" anchor="t" anchorCtr="0" compatLnSpc="1">
                <a:prstTxWarp prst="textNoShape">
                  <a:avLst/>
                </a:prstTxWarp>
              </a:bodyPr>
              <a:lstStyle/>
              <a:p>
                <a:pPr defTabSz="913946"/>
                <a:endParaRPr lang="en-US">
                  <a:solidFill>
                    <a:srgbClr val="505050"/>
                  </a:solidFill>
                </a:endParaRPr>
              </a:p>
            </p:txBody>
          </p:sp>
          <p:sp>
            <p:nvSpPr>
              <p:cNvPr id="46" name="Freeform 429"/>
              <p:cNvSpPr>
                <a:spLocks/>
              </p:cNvSpPr>
              <p:nvPr/>
            </p:nvSpPr>
            <p:spPr bwMode="auto">
              <a:xfrm>
                <a:off x="7764107" y="6169720"/>
                <a:ext cx="671658" cy="682853"/>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chemeClr val="tx2"/>
              </a:solidFill>
              <a:ln w="31750" cap="sq">
                <a:noFill/>
                <a:miter lim="800000"/>
                <a:headEnd/>
                <a:tailEnd/>
              </a:ln>
              <a:extLst/>
            </p:spPr>
            <p:txBody>
              <a:bodyPr vert="horz" wrap="square" lIns="89619" tIns="44810" rIns="89619" bIns="44810" numCol="1" anchor="t" anchorCtr="0" compatLnSpc="1">
                <a:prstTxWarp prst="textNoShape">
                  <a:avLst/>
                </a:prstTxWarp>
              </a:bodyPr>
              <a:lstStyle/>
              <a:p>
                <a:pPr defTabSz="913946"/>
                <a:endParaRPr lang="en-US">
                  <a:solidFill>
                    <a:srgbClr val="505050"/>
                  </a:solidFill>
                </a:endParaRPr>
              </a:p>
            </p:txBody>
          </p:sp>
        </p:grpSp>
      </p:grpSp>
      <p:grpSp>
        <p:nvGrpSpPr>
          <p:cNvPr id="25" name="Group 24"/>
          <p:cNvGrpSpPr/>
          <p:nvPr/>
        </p:nvGrpSpPr>
        <p:grpSpPr>
          <a:xfrm>
            <a:off x="3722672" y="2413630"/>
            <a:ext cx="2598246" cy="2582723"/>
            <a:chOff x="3796688" y="2461261"/>
            <a:chExt cx="2651037" cy="2635198"/>
          </a:xfrm>
        </p:grpSpPr>
        <p:sp>
          <p:nvSpPr>
            <p:cNvPr id="18" name="Oval 17"/>
            <p:cNvSpPr/>
            <p:nvPr/>
          </p:nvSpPr>
          <p:spPr bwMode="auto">
            <a:xfrm>
              <a:off x="3796688" y="2461261"/>
              <a:ext cx="2651037" cy="2635198"/>
            </a:xfrm>
            <a:prstGeom prst="ellipse">
              <a:avLst/>
            </a:prstGeom>
            <a:solidFill>
              <a:srgbClr val="FFFFFF"/>
            </a:solidFill>
            <a:ln w="476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ln w="15875">
                  <a:noFill/>
                </a:ln>
                <a:gradFill>
                  <a:gsLst>
                    <a:gs pos="1250">
                      <a:srgbClr val="EFEFEF"/>
                    </a:gs>
                    <a:gs pos="10417">
                      <a:srgbClr val="EFEFEF"/>
                    </a:gs>
                  </a:gsLst>
                  <a:lin ang="5400000" scaled="0"/>
                </a:gradFill>
              </a:endParaRPr>
            </a:p>
          </p:txBody>
        </p:sp>
        <p:sp>
          <p:nvSpPr>
            <p:cNvPr id="15" name="Freeform 5"/>
            <p:cNvSpPr>
              <a:spLocks/>
            </p:cNvSpPr>
            <p:nvPr/>
          </p:nvSpPr>
          <p:spPr bwMode="auto">
            <a:xfrm>
              <a:off x="5346700" y="3049588"/>
              <a:ext cx="682625" cy="1255712"/>
            </a:xfrm>
            <a:custGeom>
              <a:avLst/>
              <a:gdLst>
                <a:gd name="T0" fmla="*/ 780 w 802"/>
                <a:gd name="T1" fmla="*/ 697 h 1475"/>
                <a:gd name="T2" fmla="*/ 524 w 802"/>
                <a:gd name="T3" fmla="*/ 563 h 1475"/>
                <a:gd name="T4" fmla="*/ 524 w 802"/>
                <a:gd name="T5" fmla="*/ 472 h 1475"/>
                <a:gd name="T6" fmla="*/ 561 w 802"/>
                <a:gd name="T7" fmla="*/ 402 h 1475"/>
                <a:gd name="T8" fmla="*/ 593 w 802"/>
                <a:gd name="T9" fmla="*/ 359 h 1475"/>
                <a:gd name="T10" fmla="*/ 604 w 802"/>
                <a:gd name="T11" fmla="*/ 290 h 1475"/>
                <a:gd name="T12" fmla="*/ 583 w 802"/>
                <a:gd name="T13" fmla="*/ 247 h 1475"/>
                <a:gd name="T14" fmla="*/ 374 w 802"/>
                <a:gd name="T15" fmla="*/ 0 h 1475"/>
                <a:gd name="T16" fmla="*/ 171 w 802"/>
                <a:gd name="T17" fmla="*/ 247 h 1475"/>
                <a:gd name="T18" fmla="*/ 150 w 802"/>
                <a:gd name="T19" fmla="*/ 290 h 1475"/>
                <a:gd name="T20" fmla="*/ 161 w 802"/>
                <a:gd name="T21" fmla="*/ 359 h 1475"/>
                <a:gd name="T22" fmla="*/ 193 w 802"/>
                <a:gd name="T23" fmla="*/ 402 h 1475"/>
                <a:gd name="T24" fmla="*/ 230 w 802"/>
                <a:gd name="T25" fmla="*/ 472 h 1475"/>
                <a:gd name="T26" fmla="*/ 230 w 802"/>
                <a:gd name="T27" fmla="*/ 563 h 1475"/>
                <a:gd name="T28" fmla="*/ 0 w 802"/>
                <a:gd name="T29" fmla="*/ 665 h 1475"/>
                <a:gd name="T30" fmla="*/ 118 w 802"/>
                <a:gd name="T31" fmla="*/ 713 h 1475"/>
                <a:gd name="T32" fmla="*/ 267 w 802"/>
                <a:gd name="T33" fmla="*/ 853 h 1475"/>
                <a:gd name="T34" fmla="*/ 273 w 802"/>
                <a:gd name="T35" fmla="*/ 1475 h 1475"/>
                <a:gd name="T36" fmla="*/ 374 w 802"/>
                <a:gd name="T37" fmla="*/ 1475 h 1475"/>
                <a:gd name="T38" fmla="*/ 780 w 802"/>
                <a:gd name="T39" fmla="*/ 1336 h 1475"/>
                <a:gd name="T40" fmla="*/ 780 w 802"/>
                <a:gd name="T41" fmla="*/ 697 h 1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2" h="1475">
                  <a:moveTo>
                    <a:pt x="780" y="697"/>
                  </a:moveTo>
                  <a:cubicBezTo>
                    <a:pt x="775" y="660"/>
                    <a:pt x="620" y="590"/>
                    <a:pt x="524" y="563"/>
                  </a:cubicBezTo>
                  <a:cubicBezTo>
                    <a:pt x="524" y="472"/>
                    <a:pt x="524" y="472"/>
                    <a:pt x="524" y="472"/>
                  </a:cubicBezTo>
                  <a:cubicBezTo>
                    <a:pt x="540" y="451"/>
                    <a:pt x="551" y="429"/>
                    <a:pt x="561" y="402"/>
                  </a:cubicBezTo>
                  <a:cubicBezTo>
                    <a:pt x="577" y="397"/>
                    <a:pt x="593" y="381"/>
                    <a:pt x="593" y="359"/>
                  </a:cubicBezTo>
                  <a:cubicBezTo>
                    <a:pt x="604" y="290"/>
                    <a:pt x="604" y="290"/>
                    <a:pt x="604" y="290"/>
                  </a:cubicBezTo>
                  <a:cubicBezTo>
                    <a:pt x="604" y="274"/>
                    <a:pt x="599" y="252"/>
                    <a:pt x="583" y="247"/>
                  </a:cubicBezTo>
                  <a:cubicBezTo>
                    <a:pt x="577" y="91"/>
                    <a:pt x="529" y="0"/>
                    <a:pt x="374" y="0"/>
                  </a:cubicBezTo>
                  <a:cubicBezTo>
                    <a:pt x="225" y="0"/>
                    <a:pt x="171" y="91"/>
                    <a:pt x="171" y="247"/>
                  </a:cubicBezTo>
                  <a:cubicBezTo>
                    <a:pt x="155" y="252"/>
                    <a:pt x="150" y="274"/>
                    <a:pt x="150" y="290"/>
                  </a:cubicBezTo>
                  <a:cubicBezTo>
                    <a:pt x="161" y="359"/>
                    <a:pt x="161" y="359"/>
                    <a:pt x="161" y="359"/>
                  </a:cubicBezTo>
                  <a:cubicBezTo>
                    <a:pt x="161" y="381"/>
                    <a:pt x="177" y="397"/>
                    <a:pt x="193" y="402"/>
                  </a:cubicBezTo>
                  <a:cubicBezTo>
                    <a:pt x="203" y="429"/>
                    <a:pt x="214" y="451"/>
                    <a:pt x="230" y="472"/>
                  </a:cubicBezTo>
                  <a:cubicBezTo>
                    <a:pt x="230" y="563"/>
                    <a:pt x="230" y="563"/>
                    <a:pt x="230" y="563"/>
                  </a:cubicBezTo>
                  <a:cubicBezTo>
                    <a:pt x="155" y="585"/>
                    <a:pt x="48" y="628"/>
                    <a:pt x="0" y="665"/>
                  </a:cubicBezTo>
                  <a:cubicBezTo>
                    <a:pt x="38" y="676"/>
                    <a:pt x="80" y="692"/>
                    <a:pt x="118" y="713"/>
                  </a:cubicBezTo>
                  <a:cubicBezTo>
                    <a:pt x="214" y="762"/>
                    <a:pt x="257" y="799"/>
                    <a:pt x="267" y="853"/>
                  </a:cubicBezTo>
                  <a:cubicBezTo>
                    <a:pt x="278" y="933"/>
                    <a:pt x="289" y="1223"/>
                    <a:pt x="273" y="1475"/>
                  </a:cubicBezTo>
                  <a:cubicBezTo>
                    <a:pt x="305" y="1475"/>
                    <a:pt x="342" y="1475"/>
                    <a:pt x="374" y="1475"/>
                  </a:cubicBezTo>
                  <a:cubicBezTo>
                    <a:pt x="588" y="1475"/>
                    <a:pt x="770" y="1448"/>
                    <a:pt x="780" y="1336"/>
                  </a:cubicBezTo>
                  <a:cubicBezTo>
                    <a:pt x="802" y="1089"/>
                    <a:pt x="791" y="772"/>
                    <a:pt x="780" y="697"/>
                  </a:cubicBezTo>
                  <a:close/>
                </a:path>
              </a:pathLst>
            </a:custGeom>
            <a:solidFill>
              <a:schemeClr val="tx2"/>
            </a:solidFill>
            <a:ln>
              <a:noFill/>
            </a:ln>
          </p:spPr>
          <p:txBody>
            <a:bodyPr vert="horz" wrap="square" lIns="89619" tIns="44810" rIns="89619" bIns="44810" numCol="1" anchor="t" anchorCtr="0" compatLnSpc="1">
              <a:prstTxWarp prst="textNoShape">
                <a:avLst/>
              </a:prstTxWarp>
            </a:bodyPr>
            <a:lstStyle/>
            <a:p>
              <a:pPr defTabSz="913946"/>
              <a:endParaRPr lang="en-US">
                <a:solidFill>
                  <a:srgbClr val="505050"/>
                </a:solidFill>
              </a:endParaRPr>
            </a:p>
          </p:txBody>
        </p:sp>
        <p:sp>
          <p:nvSpPr>
            <p:cNvPr id="19" name="Freeform 6"/>
            <p:cNvSpPr>
              <a:spLocks/>
            </p:cNvSpPr>
            <p:nvPr/>
          </p:nvSpPr>
          <p:spPr bwMode="auto">
            <a:xfrm>
              <a:off x="4216400" y="3049588"/>
              <a:ext cx="685800" cy="1255712"/>
            </a:xfrm>
            <a:custGeom>
              <a:avLst/>
              <a:gdLst>
                <a:gd name="T0" fmla="*/ 542 w 805"/>
                <a:gd name="T1" fmla="*/ 853 h 1475"/>
                <a:gd name="T2" fmla="*/ 692 w 805"/>
                <a:gd name="T3" fmla="*/ 713 h 1475"/>
                <a:gd name="T4" fmla="*/ 805 w 805"/>
                <a:gd name="T5" fmla="*/ 665 h 1475"/>
                <a:gd name="T6" fmla="*/ 580 w 805"/>
                <a:gd name="T7" fmla="*/ 563 h 1475"/>
                <a:gd name="T8" fmla="*/ 580 w 805"/>
                <a:gd name="T9" fmla="*/ 472 h 1475"/>
                <a:gd name="T10" fmla="*/ 612 w 805"/>
                <a:gd name="T11" fmla="*/ 402 h 1475"/>
                <a:gd name="T12" fmla="*/ 649 w 805"/>
                <a:gd name="T13" fmla="*/ 359 h 1475"/>
                <a:gd name="T14" fmla="*/ 655 w 805"/>
                <a:gd name="T15" fmla="*/ 290 h 1475"/>
                <a:gd name="T16" fmla="*/ 639 w 805"/>
                <a:gd name="T17" fmla="*/ 247 h 1475"/>
                <a:gd name="T18" fmla="*/ 429 w 805"/>
                <a:gd name="T19" fmla="*/ 0 h 1475"/>
                <a:gd name="T20" fmla="*/ 220 w 805"/>
                <a:gd name="T21" fmla="*/ 247 h 1475"/>
                <a:gd name="T22" fmla="*/ 204 w 805"/>
                <a:gd name="T23" fmla="*/ 290 h 1475"/>
                <a:gd name="T24" fmla="*/ 209 w 805"/>
                <a:gd name="T25" fmla="*/ 359 h 1475"/>
                <a:gd name="T26" fmla="*/ 247 w 805"/>
                <a:gd name="T27" fmla="*/ 402 h 1475"/>
                <a:gd name="T28" fmla="*/ 279 w 805"/>
                <a:gd name="T29" fmla="*/ 472 h 1475"/>
                <a:gd name="T30" fmla="*/ 279 w 805"/>
                <a:gd name="T31" fmla="*/ 563 h 1475"/>
                <a:gd name="T32" fmla="*/ 21 w 805"/>
                <a:gd name="T33" fmla="*/ 697 h 1475"/>
                <a:gd name="T34" fmla="*/ 21 w 805"/>
                <a:gd name="T35" fmla="*/ 1336 h 1475"/>
                <a:gd name="T36" fmla="*/ 429 w 805"/>
                <a:gd name="T37" fmla="*/ 1475 h 1475"/>
                <a:gd name="T38" fmla="*/ 531 w 805"/>
                <a:gd name="T39" fmla="*/ 1475 h 1475"/>
                <a:gd name="T40" fmla="*/ 542 w 805"/>
                <a:gd name="T41" fmla="*/ 853 h 1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5" h="1475">
                  <a:moveTo>
                    <a:pt x="542" y="853"/>
                  </a:moveTo>
                  <a:cubicBezTo>
                    <a:pt x="547" y="799"/>
                    <a:pt x="590" y="762"/>
                    <a:pt x="692" y="713"/>
                  </a:cubicBezTo>
                  <a:cubicBezTo>
                    <a:pt x="725" y="692"/>
                    <a:pt x="768" y="676"/>
                    <a:pt x="805" y="665"/>
                  </a:cubicBezTo>
                  <a:cubicBezTo>
                    <a:pt x="757" y="628"/>
                    <a:pt x="655" y="585"/>
                    <a:pt x="580" y="563"/>
                  </a:cubicBezTo>
                  <a:cubicBezTo>
                    <a:pt x="580" y="472"/>
                    <a:pt x="580" y="472"/>
                    <a:pt x="580" y="472"/>
                  </a:cubicBezTo>
                  <a:cubicBezTo>
                    <a:pt x="590" y="451"/>
                    <a:pt x="606" y="429"/>
                    <a:pt x="612" y="402"/>
                  </a:cubicBezTo>
                  <a:cubicBezTo>
                    <a:pt x="633" y="397"/>
                    <a:pt x="644" y="381"/>
                    <a:pt x="649" y="359"/>
                  </a:cubicBezTo>
                  <a:cubicBezTo>
                    <a:pt x="655" y="290"/>
                    <a:pt x="655" y="290"/>
                    <a:pt x="655" y="290"/>
                  </a:cubicBezTo>
                  <a:cubicBezTo>
                    <a:pt x="660" y="274"/>
                    <a:pt x="649" y="252"/>
                    <a:pt x="639" y="247"/>
                  </a:cubicBezTo>
                  <a:cubicBezTo>
                    <a:pt x="633" y="91"/>
                    <a:pt x="585" y="0"/>
                    <a:pt x="429" y="0"/>
                  </a:cubicBezTo>
                  <a:cubicBezTo>
                    <a:pt x="274" y="0"/>
                    <a:pt x="225" y="91"/>
                    <a:pt x="220" y="247"/>
                  </a:cubicBezTo>
                  <a:cubicBezTo>
                    <a:pt x="209" y="252"/>
                    <a:pt x="198" y="274"/>
                    <a:pt x="204" y="290"/>
                  </a:cubicBezTo>
                  <a:cubicBezTo>
                    <a:pt x="209" y="359"/>
                    <a:pt x="209" y="359"/>
                    <a:pt x="209" y="359"/>
                  </a:cubicBezTo>
                  <a:cubicBezTo>
                    <a:pt x="215" y="381"/>
                    <a:pt x="225" y="397"/>
                    <a:pt x="247" y="402"/>
                  </a:cubicBezTo>
                  <a:cubicBezTo>
                    <a:pt x="252" y="429"/>
                    <a:pt x="268" y="451"/>
                    <a:pt x="279" y="472"/>
                  </a:cubicBezTo>
                  <a:cubicBezTo>
                    <a:pt x="279" y="563"/>
                    <a:pt x="279" y="563"/>
                    <a:pt x="279" y="563"/>
                  </a:cubicBezTo>
                  <a:cubicBezTo>
                    <a:pt x="182" y="590"/>
                    <a:pt x="27" y="660"/>
                    <a:pt x="21" y="697"/>
                  </a:cubicBezTo>
                  <a:cubicBezTo>
                    <a:pt x="11" y="772"/>
                    <a:pt x="0" y="1089"/>
                    <a:pt x="21" y="1336"/>
                  </a:cubicBezTo>
                  <a:cubicBezTo>
                    <a:pt x="32" y="1448"/>
                    <a:pt x="215" y="1475"/>
                    <a:pt x="429" y="1475"/>
                  </a:cubicBezTo>
                  <a:cubicBezTo>
                    <a:pt x="467" y="1475"/>
                    <a:pt x="499" y="1475"/>
                    <a:pt x="531" y="1475"/>
                  </a:cubicBezTo>
                  <a:cubicBezTo>
                    <a:pt x="521" y="1223"/>
                    <a:pt x="526" y="933"/>
                    <a:pt x="542" y="853"/>
                  </a:cubicBezTo>
                  <a:close/>
                </a:path>
              </a:pathLst>
            </a:custGeom>
            <a:solidFill>
              <a:schemeClr val="tx2"/>
            </a:solidFill>
            <a:ln>
              <a:noFill/>
            </a:ln>
          </p:spPr>
          <p:txBody>
            <a:bodyPr vert="horz" wrap="square" lIns="89619" tIns="44810" rIns="89619" bIns="44810" numCol="1" anchor="t" anchorCtr="0" compatLnSpc="1">
              <a:prstTxWarp prst="textNoShape">
                <a:avLst/>
              </a:prstTxWarp>
            </a:bodyPr>
            <a:lstStyle/>
            <a:p>
              <a:pPr defTabSz="913946"/>
              <a:endParaRPr lang="en-US">
                <a:solidFill>
                  <a:srgbClr val="505050"/>
                </a:solidFill>
              </a:endParaRPr>
            </a:p>
          </p:txBody>
        </p:sp>
        <p:sp>
          <p:nvSpPr>
            <p:cNvPr id="20" name="Freeform 7"/>
            <p:cNvSpPr>
              <a:spLocks/>
            </p:cNvSpPr>
            <p:nvPr/>
          </p:nvSpPr>
          <p:spPr bwMode="auto">
            <a:xfrm>
              <a:off x="4911725" y="3141663"/>
              <a:ext cx="423863" cy="533400"/>
            </a:xfrm>
            <a:custGeom>
              <a:avLst/>
              <a:gdLst>
                <a:gd name="T0" fmla="*/ 407 w 498"/>
                <a:gd name="T1" fmla="*/ 588 h 626"/>
                <a:gd name="T2" fmla="*/ 407 w 498"/>
                <a:gd name="T3" fmla="*/ 513 h 626"/>
                <a:gd name="T4" fmla="*/ 450 w 498"/>
                <a:gd name="T5" fmla="*/ 433 h 626"/>
                <a:gd name="T6" fmla="*/ 488 w 498"/>
                <a:gd name="T7" fmla="*/ 390 h 626"/>
                <a:gd name="T8" fmla="*/ 493 w 498"/>
                <a:gd name="T9" fmla="*/ 315 h 626"/>
                <a:gd name="T10" fmla="*/ 472 w 498"/>
                <a:gd name="T11" fmla="*/ 267 h 626"/>
                <a:gd name="T12" fmla="*/ 247 w 498"/>
                <a:gd name="T13" fmla="*/ 0 h 626"/>
                <a:gd name="T14" fmla="*/ 22 w 498"/>
                <a:gd name="T15" fmla="*/ 267 h 626"/>
                <a:gd name="T16" fmla="*/ 0 w 498"/>
                <a:gd name="T17" fmla="*/ 315 h 626"/>
                <a:gd name="T18" fmla="*/ 11 w 498"/>
                <a:gd name="T19" fmla="*/ 390 h 626"/>
                <a:gd name="T20" fmla="*/ 48 w 498"/>
                <a:gd name="T21" fmla="*/ 433 h 626"/>
                <a:gd name="T22" fmla="*/ 86 w 498"/>
                <a:gd name="T23" fmla="*/ 513 h 626"/>
                <a:gd name="T24" fmla="*/ 86 w 498"/>
                <a:gd name="T25" fmla="*/ 588 h 626"/>
                <a:gd name="T26" fmla="*/ 247 w 498"/>
                <a:gd name="T27" fmla="*/ 626 h 626"/>
                <a:gd name="T28" fmla="*/ 407 w 498"/>
                <a:gd name="T29" fmla="*/ 58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8" h="626">
                  <a:moveTo>
                    <a:pt x="407" y="588"/>
                  </a:moveTo>
                  <a:cubicBezTo>
                    <a:pt x="407" y="513"/>
                    <a:pt x="407" y="513"/>
                    <a:pt x="407" y="513"/>
                  </a:cubicBezTo>
                  <a:cubicBezTo>
                    <a:pt x="423" y="492"/>
                    <a:pt x="439" y="465"/>
                    <a:pt x="450" y="433"/>
                  </a:cubicBezTo>
                  <a:cubicBezTo>
                    <a:pt x="466" y="428"/>
                    <a:pt x="482" y="412"/>
                    <a:pt x="488" y="390"/>
                  </a:cubicBezTo>
                  <a:cubicBezTo>
                    <a:pt x="493" y="315"/>
                    <a:pt x="493" y="315"/>
                    <a:pt x="493" y="315"/>
                  </a:cubicBezTo>
                  <a:cubicBezTo>
                    <a:pt x="498" y="294"/>
                    <a:pt x="488" y="278"/>
                    <a:pt x="472" y="267"/>
                  </a:cubicBezTo>
                  <a:cubicBezTo>
                    <a:pt x="472" y="96"/>
                    <a:pt x="413" y="0"/>
                    <a:pt x="247" y="0"/>
                  </a:cubicBezTo>
                  <a:cubicBezTo>
                    <a:pt x="80" y="0"/>
                    <a:pt x="27" y="96"/>
                    <a:pt x="22" y="267"/>
                  </a:cubicBezTo>
                  <a:cubicBezTo>
                    <a:pt x="5" y="278"/>
                    <a:pt x="0" y="294"/>
                    <a:pt x="0" y="315"/>
                  </a:cubicBezTo>
                  <a:cubicBezTo>
                    <a:pt x="11" y="390"/>
                    <a:pt x="11" y="390"/>
                    <a:pt x="11" y="390"/>
                  </a:cubicBezTo>
                  <a:cubicBezTo>
                    <a:pt x="11" y="412"/>
                    <a:pt x="27" y="428"/>
                    <a:pt x="48" y="433"/>
                  </a:cubicBezTo>
                  <a:cubicBezTo>
                    <a:pt x="59" y="465"/>
                    <a:pt x="70" y="492"/>
                    <a:pt x="86" y="513"/>
                  </a:cubicBezTo>
                  <a:cubicBezTo>
                    <a:pt x="86" y="588"/>
                    <a:pt x="86" y="588"/>
                    <a:pt x="86" y="588"/>
                  </a:cubicBezTo>
                  <a:cubicBezTo>
                    <a:pt x="145" y="615"/>
                    <a:pt x="198" y="626"/>
                    <a:pt x="247" y="626"/>
                  </a:cubicBezTo>
                  <a:cubicBezTo>
                    <a:pt x="295" y="626"/>
                    <a:pt x="348" y="615"/>
                    <a:pt x="407" y="588"/>
                  </a:cubicBezTo>
                  <a:close/>
                </a:path>
              </a:pathLst>
            </a:custGeom>
            <a:solidFill>
              <a:schemeClr val="tx2"/>
            </a:solidFill>
            <a:ln>
              <a:noFill/>
            </a:ln>
          </p:spPr>
          <p:txBody>
            <a:bodyPr vert="horz" wrap="square" lIns="89619" tIns="44810" rIns="89619" bIns="44810" numCol="1" anchor="t" anchorCtr="0" compatLnSpc="1">
              <a:prstTxWarp prst="textNoShape">
                <a:avLst/>
              </a:prstTxWarp>
            </a:bodyPr>
            <a:lstStyle/>
            <a:p>
              <a:pPr defTabSz="913946"/>
              <a:endParaRPr lang="en-US">
                <a:solidFill>
                  <a:srgbClr val="505050"/>
                </a:solidFill>
              </a:endParaRPr>
            </a:p>
          </p:txBody>
        </p:sp>
        <p:sp>
          <p:nvSpPr>
            <p:cNvPr id="23" name="Freeform 8"/>
            <p:cNvSpPr>
              <a:spLocks/>
            </p:cNvSpPr>
            <p:nvPr/>
          </p:nvSpPr>
          <p:spPr bwMode="auto">
            <a:xfrm>
              <a:off x="4729163" y="3667125"/>
              <a:ext cx="790575" cy="842962"/>
            </a:xfrm>
            <a:custGeom>
              <a:avLst/>
              <a:gdLst>
                <a:gd name="T0" fmla="*/ 907 w 929"/>
                <a:gd name="T1" fmla="*/ 134 h 988"/>
                <a:gd name="T2" fmla="*/ 656 w 929"/>
                <a:gd name="T3" fmla="*/ 0 h 988"/>
                <a:gd name="T4" fmla="*/ 624 w 929"/>
                <a:gd name="T5" fmla="*/ 91 h 988"/>
                <a:gd name="T6" fmla="*/ 678 w 929"/>
                <a:gd name="T7" fmla="*/ 494 h 988"/>
                <a:gd name="T8" fmla="*/ 560 w 929"/>
                <a:gd name="T9" fmla="*/ 634 h 988"/>
                <a:gd name="T10" fmla="*/ 496 w 929"/>
                <a:gd name="T11" fmla="*/ 204 h 988"/>
                <a:gd name="T12" fmla="*/ 539 w 929"/>
                <a:gd name="T13" fmla="*/ 182 h 988"/>
                <a:gd name="T14" fmla="*/ 507 w 929"/>
                <a:gd name="T15" fmla="*/ 75 h 988"/>
                <a:gd name="T16" fmla="*/ 422 w 929"/>
                <a:gd name="T17" fmla="*/ 75 h 988"/>
                <a:gd name="T18" fmla="*/ 390 w 929"/>
                <a:gd name="T19" fmla="*/ 182 h 988"/>
                <a:gd name="T20" fmla="*/ 432 w 929"/>
                <a:gd name="T21" fmla="*/ 204 h 988"/>
                <a:gd name="T22" fmla="*/ 368 w 929"/>
                <a:gd name="T23" fmla="*/ 634 h 988"/>
                <a:gd name="T24" fmla="*/ 256 w 929"/>
                <a:gd name="T25" fmla="*/ 494 h 988"/>
                <a:gd name="T26" fmla="*/ 309 w 929"/>
                <a:gd name="T27" fmla="*/ 91 h 988"/>
                <a:gd name="T28" fmla="*/ 277 w 929"/>
                <a:gd name="T29" fmla="*/ 0 h 988"/>
                <a:gd name="T30" fmla="*/ 26 w 929"/>
                <a:gd name="T31" fmla="*/ 134 h 988"/>
                <a:gd name="T32" fmla="*/ 26 w 929"/>
                <a:gd name="T33" fmla="*/ 838 h 988"/>
                <a:gd name="T34" fmla="*/ 464 w 929"/>
                <a:gd name="T35" fmla="*/ 988 h 988"/>
                <a:gd name="T36" fmla="*/ 907 w 929"/>
                <a:gd name="T37" fmla="*/ 838 h 988"/>
                <a:gd name="T38" fmla="*/ 907 w 929"/>
                <a:gd name="T39" fmla="*/ 134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9" h="988">
                  <a:moveTo>
                    <a:pt x="907" y="134"/>
                  </a:moveTo>
                  <a:cubicBezTo>
                    <a:pt x="902" y="96"/>
                    <a:pt x="763" y="32"/>
                    <a:pt x="656" y="0"/>
                  </a:cubicBezTo>
                  <a:cubicBezTo>
                    <a:pt x="651" y="27"/>
                    <a:pt x="640" y="59"/>
                    <a:pt x="624" y="91"/>
                  </a:cubicBezTo>
                  <a:cubicBezTo>
                    <a:pt x="678" y="494"/>
                    <a:pt x="678" y="494"/>
                    <a:pt x="678" y="494"/>
                  </a:cubicBezTo>
                  <a:cubicBezTo>
                    <a:pt x="560" y="634"/>
                    <a:pt x="560" y="634"/>
                    <a:pt x="560" y="634"/>
                  </a:cubicBezTo>
                  <a:cubicBezTo>
                    <a:pt x="496" y="204"/>
                    <a:pt x="496" y="204"/>
                    <a:pt x="496" y="204"/>
                  </a:cubicBezTo>
                  <a:cubicBezTo>
                    <a:pt x="539" y="182"/>
                    <a:pt x="539" y="182"/>
                    <a:pt x="539" y="182"/>
                  </a:cubicBezTo>
                  <a:cubicBezTo>
                    <a:pt x="507" y="75"/>
                    <a:pt x="507" y="75"/>
                    <a:pt x="507" y="75"/>
                  </a:cubicBezTo>
                  <a:cubicBezTo>
                    <a:pt x="422" y="75"/>
                    <a:pt x="422" y="75"/>
                    <a:pt x="422" y="75"/>
                  </a:cubicBezTo>
                  <a:cubicBezTo>
                    <a:pt x="390" y="182"/>
                    <a:pt x="390" y="182"/>
                    <a:pt x="390" y="182"/>
                  </a:cubicBezTo>
                  <a:cubicBezTo>
                    <a:pt x="432" y="204"/>
                    <a:pt x="432" y="204"/>
                    <a:pt x="432" y="204"/>
                  </a:cubicBezTo>
                  <a:cubicBezTo>
                    <a:pt x="368" y="634"/>
                    <a:pt x="368" y="634"/>
                    <a:pt x="368" y="634"/>
                  </a:cubicBezTo>
                  <a:cubicBezTo>
                    <a:pt x="256" y="494"/>
                    <a:pt x="256" y="494"/>
                    <a:pt x="256" y="494"/>
                  </a:cubicBezTo>
                  <a:cubicBezTo>
                    <a:pt x="309" y="91"/>
                    <a:pt x="309" y="91"/>
                    <a:pt x="309" y="91"/>
                  </a:cubicBezTo>
                  <a:cubicBezTo>
                    <a:pt x="293" y="59"/>
                    <a:pt x="283" y="32"/>
                    <a:pt x="277" y="0"/>
                  </a:cubicBezTo>
                  <a:cubicBezTo>
                    <a:pt x="171" y="32"/>
                    <a:pt x="32" y="96"/>
                    <a:pt x="26" y="134"/>
                  </a:cubicBezTo>
                  <a:cubicBezTo>
                    <a:pt x="10" y="220"/>
                    <a:pt x="0" y="569"/>
                    <a:pt x="26" y="838"/>
                  </a:cubicBezTo>
                  <a:cubicBezTo>
                    <a:pt x="32" y="956"/>
                    <a:pt x="235" y="988"/>
                    <a:pt x="464" y="988"/>
                  </a:cubicBezTo>
                  <a:cubicBezTo>
                    <a:pt x="699" y="988"/>
                    <a:pt x="897" y="956"/>
                    <a:pt x="907" y="838"/>
                  </a:cubicBezTo>
                  <a:cubicBezTo>
                    <a:pt x="929" y="569"/>
                    <a:pt x="918" y="220"/>
                    <a:pt x="907" y="134"/>
                  </a:cubicBezTo>
                  <a:close/>
                </a:path>
              </a:pathLst>
            </a:custGeom>
            <a:solidFill>
              <a:schemeClr val="tx2"/>
            </a:solidFill>
            <a:ln>
              <a:noFill/>
            </a:ln>
          </p:spPr>
          <p:txBody>
            <a:bodyPr vert="horz" wrap="square" lIns="89619" tIns="44810" rIns="89619" bIns="44810" numCol="1" anchor="t" anchorCtr="0" compatLnSpc="1">
              <a:prstTxWarp prst="textNoShape">
                <a:avLst/>
              </a:prstTxWarp>
            </a:bodyPr>
            <a:lstStyle/>
            <a:p>
              <a:pPr defTabSz="913946"/>
              <a:endParaRPr lang="en-US">
                <a:solidFill>
                  <a:srgbClr val="505050"/>
                </a:solidFill>
              </a:endParaRPr>
            </a:p>
          </p:txBody>
        </p:sp>
      </p:grpSp>
      <p:sp>
        <p:nvSpPr>
          <p:cNvPr id="4" name="Title 3"/>
          <p:cNvSpPr>
            <a:spLocks noGrp="1"/>
          </p:cNvSpPr>
          <p:nvPr>
            <p:ph type="title"/>
          </p:nvPr>
        </p:nvSpPr>
        <p:spPr/>
        <p:txBody>
          <a:bodyPr/>
          <a:lstStyle/>
          <a:p>
            <a:r>
              <a:rPr lang="en-US" smtClean="0"/>
              <a:t>Benefits of multi-factor authentication</a:t>
            </a:r>
            <a:endParaRPr lang="en-US"/>
          </a:p>
        </p:txBody>
      </p:sp>
    </p:spTree>
    <p:extLst>
      <p:ext uri="{BB962C8B-B14F-4D97-AF65-F5344CB8AC3E}">
        <p14:creationId xmlns:p14="http://schemas.microsoft.com/office/powerpoint/2010/main" val="4211475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67"/>
                                        </p:tgtEl>
                                        <p:attrNameLst>
                                          <p:attrName>style.visibility</p:attrName>
                                        </p:attrNameLst>
                                      </p:cBhvr>
                                      <p:to>
                                        <p:strVal val="visible"/>
                                      </p:to>
                                    </p:set>
                                    <p:anim calcmode="lin" valueType="num">
                                      <p:cBhvr additive="base">
                                        <p:cTn id="7" dur="500" fill="hold"/>
                                        <p:tgtEl>
                                          <p:spTgt spid="67"/>
                                        </p:tgtEl>
                                        <p:attrNameLst>
                                          <p:attrName>ppt_x</p:attrName>
                                        </p:attrNameLst>
                                      </p:cBhvr>
                                      <p:tavLst>
                                        <p:tav tm="0">
                                          <p:val>
                                            <p:strVal val="0-#ppt_w/2"/>
                                          </p:val>
                                        </p:tav>
                                        <p:tav tm="100000">
                                          <p:val>
                                            <p:strVal val="#ppt_x"/>
                                          </p:val>
                                        </p:tav>
                                      </p:tavLst>
                                    </p:anim>
                                    <p:anim calcmode="lin" valueType="num">
                                      <p:cBhvr additive="base">
                                        <p:cTn id="8" dur="500" fill="hold"/>
                                        <p:tgtEl>
                                          <p:spTgt spid="6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decel="100000" fill="hold" nodeType="afterEffect">
                                  <p:stCondLst>
                                    <p:cond delay="0"/>
                                  </p:stCondLst>
                                  <p:childTnLst>
                                    <p:set>
                                      <p:cBhvr>
                                        <p:cTn id="11" dur="1" fill="hold">
                                          <p:stCondLst>
                                            <p:cond delay="0"/>
                                          </p:stCondLst>
                                        </p:cTn>
                                        <p:tgtEl>
                                          <p:spTgt spid="24"/>
                                        </p:tgtEl>
                                        <p:attrNameLst>
                                          <p:attrName>style.visibility</p:attrName>
                                        </p:attrNameLst>
                                      </p:cBhvr>
                                      <p:to>
                                        <p:strVal val="visible"/>
                                      </p:to>
                                    </p:set>
                                    <p:anim calcmode="lin" valueType="num">
                                      <p:cBhvr additive="base">
                                        <p:cTn id="12" dur="500" fill="hold"/>
                                        <p:tgtEl>
                                          <p:spTgt spid="24"/>
                                        </p:tgtEl>
                                        <p:attrNameLst>
                                          <p:attrName>ppt_x</p:attrName>
                                        </p:attrNameLst>
                                      </p:cBhvr>
                                      <p:tavLst>
                                        <p:tav tm="0">
                                          <p:val>
                                            <p:strVal val="0-#ppt_w/2"/>
                                          </p:val>
                                        </p:tav>
                                        <p:tav tm="100000">
                                          <p:val>
                                            <p:strVal val="#ppt_x"/>
                                          </p:val>
                                        </p:tav>
                                      </p:tavLst>
                                    </p:anim>
                                    <p:anim calcmode="lin" valueType="num">
                                      <p:cBhvr additive="base">
                                        <p:cTn id="13" dur="500" fill="hold"/>
                                        <p:tgtEl>
                                          <p:spTgt spid="2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decel="100000" fill="hold" nodeType="afterEffect">
                                  <p:stCondLst>
                                    <p:cond delay="0"/>
                                  </p:stCondLst>
                                  <p:childTnLst>
                                    <p:set>
                                      <p:cBhvr>
                                        <p:cTn id="16" dur="1" fill="hold">
                                          <p:stCondLst>
                                            <p:cond delay="0"/>
                                          </p:stCondLst>
                                        </p:cTn>
                                        <p:tgtEl>
                                          <p:spTgt spid="33"/>
                                        </p:tgtEl>
                                        <p:attrNameLst>
                                          <p:attrName>style.visibility</p:attrName>
                                        </p:attrNameLst>
                                      </p:cBhvr>
                                      <p:to>
                                        <p:strVal val="visible"/>
                                      </p:to>
                                    </p:set>
                                    <p:anim calcmode="lin" valueType="num">
                                      <p:cBhvr additive="base">
                                        <p:cTn id="17" dur="500" fill="hold"/>
                                        <p:tgtEl>
                                          <p:spTgt spid="33"/>
                                        </p:tgtEl>
                                        <p:attrNameLst>
                                          <p:attrName>ppt_x</p:attrName>
                                        </p:attrNameLst>
                                      </p:cBhvr>
                                      <p:tavLst>
                                        <p:tav tm="0">
                                          <p:val>
                                            <p:strVal val="0-#ppt_w/2"/>
                                          </p:val>
                                        </p:tav>
                                        <p:tav tm="100000">
                                          <p:val>
                                            <p:strVal val="#ppt_x"/>
                                          </p:val>
                                        </p:tav>
                                      </p:tavLst>
                                    </p:anim>
                                    <p:anim calcmode="lin" valueType="num">
                                      <p:cBhvr additive="base">
                                        <p:cTn id="18" dur="500" fill="hold"/>
                                        <p:tgtEl>
                                          <p:spTgt spid="33"/>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53" presetClass="entr" presetSubtype="16" fill="hold" nodeType="afterEffect">
                                  <p:stCondLst>
                                    <p:cond delay="0"/>
                                  </p:stCondLst>
                                  <p:childTnLst>
                                    <p:set>
                                      <p:cBhvr>
                                        <p:cTn id="21" dur="1" fill="hold">
                                          <p:stCondLst>
                                            <p:cond delay="0"/>
                                          </p:stCondLst>
                                        </p:cTn>
                                        <p:tgtEl>
                                          <p:spTgt spid="25"/>
                                        </p:tgtEl>
                                        <p:attrNameLst>
                                          <p:attrName>style.visibility</p:attrName>
                                        </p:attrNameLst>
                                      </p:cBhvr>
                                      <p:to>
                                        <p:strVal val="visible"/>
                                      </p:to>
                                    </p:set>
                                    <p:anim calcmode="lin" valueType="num">
                                      <p:cBhvr>
                                        <p:cTn id="22" dur="250" fill="hold"/>
                                        <p:tgtEl>
                                          <p:spTgt spid="25"/>
                                        </p:tgtEl>
                                        <p:attrNameLst>
                                          <p:attrName>ppt_w</p:attrName>
                                        </p:attrNameLst>
                                      </p:cBhvr>
                                      <p:tavLst>
                                        <p:tav tm="0">
                                          <p:val>
                                            <p:fltVal val="0"/>
                                          </p:val>
                                        </p:tav>
                                        <p:tav tm="100000">
                                          <p:val>
                                            <p:strVal val="#ppt_w"/>
                                          </p:val>
                                        </p:tav>
                                      </p:tavLst>
                                    </p:anim>
                                    <p:anim calcmode="lin" valueType="num">
                                      <p:cBhvr>
                                        <p:cTn id="23" dur="250" fill="hold"/>
                                        <p:tgtEl>
                                          <p:spTgt spid="25"/>
                                        </p:tgtEl>
                                        <p:attrNameLst>
                                          <p:attrName>ppt_h</p:attrName>
                                        </p:attrNameLst>
                                      </p:cBhvr>
                                      <p:tavLst>
                                        <p:tav tm="0">
                                          <p:val>
                                            <p:fltVal val="0"/>
                                          </p:val>
                                        </p:tav>
                                        <p:tav tm="100000">
                                          <p:val>
                                            <p:strVal val="#ppt_h"/>
                                          </p:val>
                                        </p:tav>
                                      </p:tavLst>
                                    </p:anim>
                                    <p:animEffect transition="in" filter="fade">
                                      <p:cBhvr>
                                        <p:cTn id="24" dur="250"/>
                                        <p:tgtEl>
                                          <p:spTgt spid="25"/>
                                        </p:tgtEl>
                                      </p:cBhvr>
                                    </p:animEffect>
                                  </p:childTnLst>
                                </p:cTn>
                              </p:par>
                              <p:par>
                                <p:cTn id="25" presetID="6" presetClass="emph" presetSubtype="0" decel="100000" fill="hold" nodeType="withEffect">
                                  <p:stCondLst>
                                    <p:cond delay="200"/>
                                  </p:stCondLst>
                                  <p:childTnLst>
                                    <p:animScale>
                                      <p:cBhvr>
                                        <p:cTn id="26" dur="250" fill="hold"/>
                                        <p:tgtEl>
                                          <p:spTgt spid="25"/>
                                        </p:tgtEl>
                                      </p:cBhvr>
                                      <p:by x="110000" y="110000"/>
                                    </p:animScale>
                                  </p:childTnLst>
                                </p:cTn>
                              </p:par>
                              <p:par>
                                <p:cTn id="27" presetID="6" presetClass="emph" presetSubtype="0" decel="100000" fill="hold" nodeType="withEffect">
                                  <p:stCondLst>
                                    <p:cond delay="300"/>
                                  </p:stCondLst>
                                  <p:childTnLst>
                                    <p:animScale>
                                      <p:cBhvr>
                                        <p:cTn id="28" dur="250" fill="hold"/>
                                        <p:tgtEl>
                                          <p:spTgt spid="25"/>
                                        </p:tgtEl>
                                      </p:cBhvr>
                                      <p:by x="91000" y="91000"/>
                                    </p:animScale>
                                  </p:childTnLst>
                                </p:cTn>
                              </p:par>
                              <p:par>
                                <p:cTn id="29" presetID="53" presetClass="entr" presetSubtype="16" fill="hold" nodeType="withEffect">
                                  <p:stCondLst>
                                    <p:cond delay="10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Effect transition="in" filter="fade">
                                      <p:cBhvr>
                                        <p:cTn id="33" dur="250"/>
                                        <p:tgtEl>
                                          <p:spTgt spid="12"/>
                                        </p:tgtEl>
                                      </p:cBhvr>
                                    </p:animEffect>
                                  </p:childTnLst>
                                </p:cTn>
                              </p:par>
                              <p:par>
                                <p:cTn id="34" presetID="6" presetClass="emph" presetSubtype="0" decel="100000" fill="hold" nodeType="withEffect">
                                  <p:stCondLst>
                                    <p:cond delay="300"/>
                                  </p:stCondLst>
                                  <p:childTnLst>
                                    <p:animScale>
                                      <p:cBhvr>
                                        <p:cTn id="35" dur="250" fill="hold"/>
                                        <p:tgtEl>
                                          <p:spTgt spid="12"/>
                                        </p:tgtEl>
                                      </p:cBhvr>
                                      <p:by x="110000" y="110000"/>
                                    </p:animScale>
                                  </p:childTnLst>
                                </p:cTn>
                              </p:par>
                              <p:par>
                                <p:cTn id="36" presetID="6" presetClass="emph" presetSubtype="0" decel="100000" fill="hold" nodeType="withEffect">
                                  <p:stCondLst>
                                    <p:cond delay="400"/>
                                  </p:stCondLst>
                                  <p:childTnLst>
                                    <p:animScale>
                                      <p:cBhvr>
                                        <p:cTn id="37" dur="250" fill="hold"/>
                                        <p:tgtEl>
                                          <p:spTgt spid="12"/>
                                        </p:tgtEl>
                                      </p:cBhvr>
                                      <p:by x="91000" y="91000"/>
                                    </p:animScale>
                                  </p:childTnLst>
                                </p:cTn>
                              </p:par>
                              <p:par>
                                <p:cTn id="38" presetID="53" presetClass="entr" presetSubtype="16" fill="hold" nodeType="withEffect">
                                  <p:stCondLst>
                                    <p:cond delay="200"/>
                                  </p:stCondLst>
                                  <p:childTnLst>
                                    <p:set>
                                      <p:cBhvr>
                                        <p:cTn id="39" dur="1" fill="hold">
                                          <p:stCondLst>
                                            <p:cond delay="0"/>
                                          </p:stCondLst>
                                        </p:cTn>
                                        <p:tgtEl>
                                          <p:spTgt spid="10"/>
                                        </p:tgtEl>
                                        <p:attrNameLst>
                                          <p:attrName>style.visibility</p:attrName>
                                        </p:attrNameLst>
                                      </p:cBhvr>
                                      <p:to>
                                        <p:strVal val="visible"/>
                                      </p:to>
                                    </p:set>
                                    <p:anim calcmode="lin" valueType="num">
                                      <p:cBhvr>
                                        <p:cTn id="40" dur="250" fill="hold"/>
                                        <p:tgtEl>
                                          <p:spTgt spid="10"/>
                                        </p:tgtEl>
                                        <p:attrNameLst>
                                          <p:attrName>ppt_w</p:attrName>
                                        </p:attrNameLst>
                                      </p:cBhvr>
                                      <p:tavLst>
                                        <p:tav tm="0">
                                          <p:val>
                                            <p:fltVal val="0"/>
                                          </p:val>
                                        </p:tav>
                                        <p:tav tm="100000">
                                          <p:val>
                                            <p:strVal val="#ppt_w"/>
                                          </p:val>
                                        </p:tav>
                                      </p:tavLst>
                                    </p:anim>
                                    <p:anim calcmode="lin" valueType="num">
                                      <p:cBhvr>
                                        <p:cTn id="41" dur="250" fill="hold"/>
                                        <p:tgtEl>
                                          <p:spTgt spid="10"/>
                                        </p:tgtEl>
                                        <p:attrNameLst>
                                          <p:attrName>ppt_h</p:attrName>
                                        </p:attrNameLst>
                                      </p:cBhvr>
                                      <p:tavLst>
                                        <p:tav tm="0">
                                          <p:val>
                                            <p:fltVal val="0"/>
                                          </p:val>
                                        </p:tav>
                                        <p:tav tm="100000">
                                          <p:val>
                                            <p:strVal val="#ppt_h"/>
                                          </p:val>
                                        </p:tav>
                                      </p:tavLst>
                                    </p:anim>
                                    <p:animEffect transition="in" filter="fade">
                                      <p:cBhvr>
                                        <p:cTn id="42" dur="250"/>
                                        <p:tgtEl>
                                          <p:spTgt spid="10"/>
                                        </p:tgtEl>
                                      </p:cBhvr>
                                    </p:animEffect>
                                  </p:childTnLst>
                                </p:cTn>
                              </p:par>
                              <p:par>
                                <p:cTn id="43" presetID="6" presetClass="emph" presetSubtype="0" decel="100000" fill="hold" nodeType="withEffect">
                                  <p:stCondLst>
                                    <p:cond delay="400"/>
                                  </p:stCondLst>
                                  <p:childTnLst>
                                    <p:animScale>
                                      <p:cBhvr>
                                        <p:cTn id="44" dur="250" fill="hold"/>
                                        <p:tgtEl>
                                          <p:spTgt spid="10"/>
                                        </p:tgtEl>
                                      </p:cBhvr>
                                      <p:by x="110000" y="110000"/>
                                    </p:animScale>
                                  </p:childTnLst>
                                </p:cTn>
                              </p:par>
                              <p:par>
                                <p:cTn id="45" presetID="6" presetClass="emph" presetSubtype="0" decel="100000" fill="hold" nodeType="withEffect">
                                  <p:stCondLst>
                                    <p:cond delay="500"/>
                                  </p:stCondLst>
                                  <p:childTnLst>
                                    <p:animScale>
                                      <p:cBhvr>
                                        <p:cTn id="46" dur="250" fill="hold"/>
                                        <p:tgtEl>
                                          <p:spTgt spid="10"/>
                                        </p:tgtEl>
                                      </p:cBhvr>
                                      <p:by x="91000" y="91000"/>
                                    </p:animScale>
                                  </p:childTnLst>
                                </p:cTn>
                              </p:par>
                              <p:par>
                                <p:cTn id="47" presetID="2" presetClass="entr" presetSubtype="1" decel="100000" fill="hold" nodeType="withEffect">
                                  <p:stCondLst>
                                    <p:cond delay="750"/>
                                  </p:stCondLst>
                                  <p:childTnLst>
                                    <p:set>
                                      <p:cBhvr>
                                        <p:cTn id="48" dur="1" fill="hold">
                                          <p:stCondLst>
                                            <p:cond delay="0"/>
                                          </p:stCondLst>
                                        </p:cTn>
                                        <p:tgtEl>
                                          <p:spTgt spid="9"/>
                                        </p:tgtEl>
                                        <p:attrNameLst>
                                          <p:attrName>style.visibility</p:attrName>
                                        </p:attrNameLst>
                                      </p:cBhvr>
                                      <p:to>
                                        <p:strVal val="visible"/>
                                      </p:to>
                                    </p:set>
                                    <p:anim calcmode="lin" valueType="num">
                                      <p:cBhvr additive="base">
                                        <p:cTn id="49" dur="500" fill="hold"/>
                                        <p:tgtEl>
                                          <p:spTgt spid="9"/>
                                        </p:tgtEl>
                                        <p:attrNameLst>
                                          <p:attrName>ppt_x</p:attrName>
                                        </p:attrNameLst>
                                      </p:cBhvr>
                                      <p:tavLst>
                                        <p:tav tm="0">
                                          <p:val>
                                            <p:strVal val="#ppt_x"/>
                                          </p:val>
                                        </p:tav>
                                        <p:tav tm="100000">
                                          <p:val>
                                            <p:strVal val="#ppt_x"/>
                                          </p:val>
                                        </p:tav>
                                      </p:tavLst>
                                    </p:anim>
                                    <p:anim calcmode="lin" valueType="num">
                                      <p:cBhvr additive="base">
                                        <p:cTn id="50" dur="500" fill="hold"/>
                                        <p:tgtEl>
                                          <p:spTgt spid="9"/>
                                        </p:tgtEl>
                                        <p:attrNameLst>
                                          <p:attrName>ppt_y</p:attrName>
                                        </p:attrNameLst>
                                      </p:cBhvr>
                                      <p:tavLst>
                                        <p:tav tm="0">
                                          <p:val>
                                            <p:strVal val="0-#ppt_h/2"/>
                                          </p:val>
                                        </p:tav>
                                        <p:tav tm="100000">
                                          <p:val>
                                            <p:strVal val="#ppt_y"/>
                                          </p:val>
                                        </p:tav>
                                      </p:tavLst>
                                    </p:anim>
                                  </p:childTnLst>
                                </p:cTn>
                              </p:par>
                              <p:par>
                                <p:cTn id="51" presetID="2" presetClass="entr" presetSubtype="1" decel="100000" fill="hold" nodeType="withEffect">
                                  <p:stCondLst>
                                    <p:cond delay="750"/>
                                  </p:stCondLst>
                                  <p:childTnLst>
                                    <p:set>
                                      <p:cBhvr>
                                        <p:cTn id="52" dur="1" fill="hold">
                                          <p:stCondLst>
                                            <p:cond delay="0"/>
                                          </p:stCondLst>
                                        </p:cTn>
                                        <p:tgtEl>
                                          <p:spTgt spid="8"/>
                                        </p:tgtEl>
                                        <p:attrNameLst>
                                          <p:attrName>style.visibility</p:attrName>
                                        </p:attrNameLst>
                                      </p:cBhvr>
                                      <p:to>
                                        <p:strVal val="visible"/>
                                      </p:to>
                                    </p:set>
                                    <p:anim calcmode="lin" valueType="num">
                                      <p:cBhvr additive="base">
                                        <p:cTn id="53" dur="500" fill="hold"/>
                                        <p:tgtEl>
                                          <p:spTgt spid="8"/>
                                        </p:tgtEl>
                                        <p:attrNameLst>
                                          <p:attrName>ppt_x</p:attrName>
                                        </p:attrNameLst>
                                      </p:cBhvr>
                                      <p:tavLst>
                                        <p:tav tm="0">
                                          <p:val>
                                            <p:strVal val="#ppt_x"/>
                                          </p:val>
                                        </p:tav>
                                        <p:tav tm="100000">
                                          <p:val>
                                            <p:strVal val="#ppt_x"/>
                                          </p:val>
                                        </p:tav>
                                      </p:tavLst>
                                    </p:anim>
                                    <p:anim calcmode="lin" valueType="num">
                                      <p:cBhvr additive="base">
                                        <p:cTn id="54" dur="500" fill="hold"/>
                                        <p:tgtEl>
                                          <p:spTgt spid="8"/>
                                        </p:tgtEl>
                                        <p:attrNameLst>
                                          <p:attrName>ppt_y</p:attrName>
                                        </p:attrNameLst>
                                      </p:cBhvr>
                                      <p:tavLst>
                                        <p:tav tm="0">
                                          <p:val>
                                            <p:strVal val="0-#ppt_h/2"/>
                                          </p:val>
                                        </p:tav>
                                        <p:tav tm="100000">
                                          <p:val>
                                            <p:strVal val="#ppt_y"/>
                                          </p:val>
                                        </p:tav>
                                      </p:tavLst>
                                    </p:anim>
                                  </p:childTnLst>
                                </p:cTn>
                              </p:par>
                              <p:par>
                                <p:cTn id="55" presetID="2" presetClass="entr" presetSubtype="1" decel="100000" fill="hold" nodeType="withEffect">
                                  <p:stCondLst>
                                    <p:cond delay="750"/>
                                  </p:stCondLst>
                                  <p:childTnLst>
                                    <p:set>
                                      <p:cBhvr>
                                        <p:cTn id="56" dur="1" fill="hold">
                                          <p:stCondLst>
                                            <p:cond delay="0"/>
                                          </p:stCondLst>
                                        </p:cTn>
                                        <p:tgtEl>
                                          <p:spTgt spid="6"/>
                                        </p:tgtEl>
                                        <p:attrNameLst>
                                          <p:attrName>style.visibility</p:attrName>
                                        </p:attrNameLst>
                                      </p:cBhvr>
                                      <p:to>
                                        <p:strVal val="visible"/>
                                      </p:to>
                                    </p:set>
                                    <p:anim calcmode="lin" valueType="num">
                                      <p:cBhvr additive="base">
                                        <p:cTn id="57" dur="500" fill="hold"/>
                                        <p:tgtEl>
                                          <p:spTgt spid="6"/>
                                        </p:tgtEl>
                                        <p:attrNameLst>
                                          <p:attrName>ppt_x</p:attrName>
                                        </p:attrNameLst>
                                      </p:cBhvr>
                                      <p:tavLst>
                                        <p:tav tm="0">
                                          <p:val>
                                            <p:strVal val="#ppt_x"/>
                                          </p:val>
                                        </p:tav>
                                        <p:tav tm="100000">
                                          <p:val>
                                            <p:strVal val="#ppt_x"/>
                                          </p:val>
                                        </p:tav>
                                      </p:tavLst>
                                    </p:anim>
                                    <p:anim calcmode="lin" valueType="num">
                                      <p:cBhvr additive="base">
                                        <p:cTn id="5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p:cNvGrpSpPr/>
          <p:nvPr/>
        </p:nvGrpSpPr>
        <p:grpSpPr>
          <a:xfrm>
            <a:off x="3507768" y="2914991"/>
            <a:ext cx="860344" cy="860344"/>
            <a:chOff x="3706989" y="340685"/>
            <a:chExt cx="741920" cy="741920"/>
          </a:xfrm>
        </p:grpSpPr>
        <p:sp>
          <p:nvSpPr>
            <p:cNvPr id="50" name="Oval 49"/>
            <p:cNvSpPr/>
            <p:nvPr/>
          </p:nvSpPr>
          <p:spPr bwMode="auto">
            <a:xfrm>
              <a:off x="3706989" y="340685"/>
              <a:ext cx="741920" cy="741920"/>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chemeClr val="tx1"/>
                </a:solidFill>
              </a:endParaRPr>
            </a:p>
          </p:txBody>
        </p:sp>
        <p:sp>
          <p:nvSpPr>
            <p:cNvPr id="51" name="Freeform 48"/>
            <p:cNvSpPr>
              <a:spLocks noChangeAspect="1" noEditPoints="1"/>
            </p:cNvSpPr>
            <p:nvPr/>
          </p:nvSpPr>
          <p:spPr bwMode="black">
            <a:xfrm>
              <a:off x="3945316" y="456006"/>
              <a:ext cx="265266" cy="511278"/>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path>
              </a:pathLst>
            </a:custGeom>
            <a:solidFill>
              <a:schemeClr val="accent1"/>
            </a:solidFill>
            <a:ln>
              <a:noFill/>
            </a:ln>
          </p:spPr>
          <p:txBody>
            <a:bodyPr vert="horz" wrap="square" lIns="89619" tIns="44810" rIns="89619" bIns="44810" numCol="1" anchor="t" anchorCtr="0" compatLnSpc="1">
              <a:prstTxWarp prst="textNoShape">
                <a:avLst/>
              </a:prstTxWarp>
            </a:bodyPr>
            <a:lstStyle/>
            <a:p>
              <a:pPr defTabSz="913946"/>
              <a:endParaRPr lang="en-US"/>
            </a:p>
          </p:txBody>
        </p:sp>
      </p:grpSp>
      <p:grpSp>
        <p:nvGrpSpPr>
          <p:cNvPr id="52" name="Group 51"/>
          <p:cNvGrpSpPr/>
          <p:nvPr/>
        </p:nvGrpSpPr>
        <p:grpSpPr>
          <a:xfrm>
            <a:off x="3507768" y="5189825"/>
            <a:ext cx="860344" cy="860344"/>
            <a:chOff x="3706989" y="2228189"/>
            <a:chExt cx="741920" cy="741920"/>
          </a:xfrm>
        </p:grpSpPr>
        <p:sp>
          <p:nvSpPr>
            <p:cNvPr id="53" name="Oval 52"/>
            <p:cNvSpPr/>
            <p:nvPr/>
          </p:nvSpPr>
          <p:spPr bwMode="auto">
            <a:xfrm>
              <a:off x="3706989" y="2228189"/>
              <a:ext cx="741920" cy="741920"/>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chemeClr val="tx1"/>
                </a:solidFill>
              </a:endParaRPr>
            </a:p>
          </p:txBody>
        </p:sp>
        <p:grpSp>
          <p:nvGrpSpPr>
            <p:cNvPr id="54" name="Group 53"/>
            <p:cNvGrpSpPr/>
            <p:nvPr/>
          </p:nvGrpSpPr>
          <p:grpSpPr>
            <a:xfrm>
              <a:off x="3892088" y="2391073"/>
              <a:ext cx="371723" cy="416153"/>
              <a:chOff x="3875217" y="2399094"/>
              <a:chExt cx="371723" cy="416153"/>
            </a:xfrm>
          </p:grpSpPr>
          <p:sp>
            <p:nvSpPr>
              <p:cNvPr id="55" name="Freeform 79"/>
              <p:cNvSpPr>
                <a:spLocks noChangeAspect="1" noEditPoints="1"/>
              </p:cNvSpPr>
              <p:nvPr/>
            </p:nvSpPr>
            <p:spPr bwMode="black">
              <a:xfrm>
                <a:off x="3911575" y="2399094"/>
                <a:ext cx="335365" cy="416153"/>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1"/>
              </a:solidFill>
              <a:ln>
                <a:noFill/>
              </a:ln>
              <a:extLst/>
            </p:spPr>
            <p:txBody>
              <a:bodyPr vert="horz" wrap="square" lIns="80666" tIns="40334" rIns="80666" bIns="40334" numCol="1" anchor="t" anchorCtr="0" compatLnSpc="1">
                <a:prstTxWarp prst="textNoShape">
                  <a:avLst/>
                </a:prstTxWarp>
              </a:bodyPr>
              <a:lstStyle/>
              <a:p>
                <a:pPr defTabSz="913946"/>
                <a:endParaRPr lang="en-US" sz="1568"/>
              </a:p>
            </p:txBody>
          </p:sp>
          <p:sp>
            <p:nvSpPr>
              <p:cNvPr id="56" name="Right Arrow 55"/>
              <p:cNvSpPr/>
              <p:nvPr/>
            </p:nvSpPr>
            <p:spPr bwMode="auto">
              <a:xfrm>
                <a:off x="3875217" y="2485623"/>
                <a:ext cx="197692" cy="244699"/>
              </a:xfrm>
              <a:prstGeom prst="rightArrow">
                <a:avLst/>
              </a:prstGeom>
              <a:solidFill>
                <a:srgbClr val="EFEFE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chemeClr val="tx1"/>
                  </a:solidFill>
                </a:endParaRPr>
              </a:p>
            </p:txBody>
          </p:sp>
        </p:grpSp>
      </p:grpSp>
      <p:grpSp>
        <p:nvGrpSpPr>
          <p:cNvPr id="57" name="Group 56"/>
          <p:cNvGrpSpPr/>
          <p:nvPr/>
        </p:nvGrpSpPr>
        <p:grpSpPr>
          <a:xfrm>
            <a:off x="3507768" y="4052408"/>
            <a:ext cx="860344" cy="860344"/>
            <a:chOff x="3706989" y="4115693"/>
            <a:chExt cx="741920" cy="741920"/>
          </a:xfrm>
        </p:grpSpPr>
        <p:sp>
          <p:nvSpPr>
            <p:cNvPr id="58" name="Oval 57"/>
            <p:cNvSpPr/>
            <p:nvPr/>
          </p:nvSpPr>
          <p:spPr bwMode="auto">
            <a:xfrm>
              <a:off x="3706989" y="4115693"/>
              <a:ext cx="741920" cy="741920"/>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chemeClr val="tx1"/>
                </a:solidFill>
              </a:endParaRPr>
            </a:p>
          </p:txBody>
        </p:sp>
        <p:sp>
          <p:nvSpPr>
            <p:cNvPr id="59" name="Freeform 81"/>
            <p:cNvSpPr>
              <a:spLocks noChangeAspect="1"/>
            </p:cNvSpPr>
            <p:nvPr/>
          </p:nvSpPr>
          <p:spPr bwMode="black">
            <a:xfrm>
              <a:off x="3892088" y="4233580"/>
              <a:ext cx="371723" cy="506147"/>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chemeClr val="accent1"/>
            </a:solidFill>
            <a:ln>
              <a:noFill/>
            </a:ln>
          </p:spPr>
          <p:txBody>
            <a:bodyPr vert="horz" wrap="square" lIns="80666" tIns="40334" rIns="80666" bIns="40334" numCol="1" anchor="t" anchorCtr="0" compatLnSpc="1">
              <a:prstTxWarp prst="textNoShape">
                <a:avLst/>
              </a:prstTxWarp>
            </a:bodyPr>
            <a:lstStyle/>
            <a:p>
              <a:pPr defTabSz="913946"/>
              <a:endParaRPr lang="en-US" sz="1568"/>
            </a:p>
          </p:txBody>
        </p:sp>
      </p:grpSp>
      <p:grpSp>
        <p:nvGrpSpPr>
          <p:cNvPr id="60" name="Group 59"/>
          <p:cNvGrpSpPr/>
          <p:nvPr/>
        </p:nvGrpSpPr>
        <p:grpSpPr>
          <a:xfrm>
            <a:off x="3507768" y="640159"/>
            <a:ext cx="860344" cy="860344"/>
            <a:chOff x="3547236" y="2100247"/>
            <a:chExt cx="920793" cy="920793"/>
          </a:xfrm>
        </p:grpSpPr>
        <p:sp>
          <p:nvSpPr>
            <p:cNvPr id="61" name="Oval 60"/>
            <p:cNvSpPr/>
            <p:nvPr/>
          </p:nvSpPr>
          <p:spPr bwMode="auto">
            <a:xfrm>
              <a:off x="3547236" y="2100247"/>
              <a:ext cx="920793" cy="920793"/>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chemeClr val="tx1"/>
                </a:solidFill>
              </a:endParaRPr>
            </a:p>
          </p:txBody>
        </p:sp>
        <p:sp>
          <p:nvSpPr>
            <p:cNvPr id="62" name="Freeform 11"/>
            <p:cNvSpPr>
              <a:spLocks noEditPoints="1"/>
            </p:cNvSpPr>
            <p:nvPr/>
          </p:nvSpPr>
          <p:spPr bwMode="auto">
            <a:xfrm>
              <a:off x="3695128" y="2237307"/>
              <a:ext cx="625007" cy="625007"/>
            </a:xfrm>
            <a:custGeom>
              <a:avLst/>
              <a:gdLst>
                <a:gd name="T0" fmla="*/ 1838 w 1938"/>
                <a:gd name="T1" fmla="*/ 224 h 1938"/>
                <a:gd name="T2" fmla="*/ 1714 w 1938"/>
                <a:gd name="T3" fmla="*/ 100 h 1938"/>
                <a:gd name="T4" fmla="*/ 1483 w 1938"/>
                <a:gd name="T5" fmla="*/ 0 h 1938"/>
                <a:gd name="T6" fmla="*/ 1243 w 1938"/>
                <a:gd name="T7" fmla="*/ 100 h 1938"/>
                <a:gd name="T8" fmla="*/ 224 w 1938"/>
                <a:gd name="T9" fmla="*/ 1112 h 1938"/>
                <a:gd name="T10" fmla="*/ 826 w 1938"/>
                <a:gd name="T11" fmla="*/ 1714 h 1938"/>
                <a:gd name="T12" fmla="*/ 1838 w 1938"/>
                <a:gd name="T13" fmla="*/ 695 h 1938"/>
                <a:gd name="T14" fmla="*/ 1938 w 1938"/>
                <a:gd name="T15" fmla="*/ 455 h 1938"/>
                <a:gd name="T16" fmla="*/ 1838 w 1938"/>
                <a:gd name="T17" fmla="*/ 224 h 1938"/>
                <a:gd name="T18" fmla="*/ 308 w 1938"/>
                <a:gd name="T19" fmla="*/ 1266 h 1938"/>
                <a:gd name="T20" fmla="*/ 0 w 1938"/>
                <a:gd name="T21" fmla="*/ 1575 h 1938"/>
                <a:gd name="T22" fmla="*/ 169 w 1938"/>
                <a:gd name="T23" fmla="*/ 1745 h 1938"/>
                <a:gd name="T24" fmla="*/ 478 w 1938"/>
                <a:gd name="T25" fmla="*/ 1436 h 1938"/>
                <a:gd name="T26" fmla="*/ 308 w 1938"/>
                <a:gd name="T27" fmla="*/ 1266 h 1938"/>
                <a:gd name="T28" fmla="*/ 308 w 1938"/>
                <a:gd name="T29" fmla="*/ 1266 h 1938"/>
                <a:gd name="T30" fmla="*/ 185 w 1938"/>
                <a:gd name="T31" fmla="*/ 1490 h 1938"/>
                <a:gd name="T32" fmla="*/ 254 w 1938"/>
                <a:gd name="T33" fmla="*/ 1429 h 1938"/>
                <a:gd name="T34" fmla="*/ 316 w 1938"/>
                <a:gd name="T35" fmla="*/ 1490 h 1938"/>
                <a:gd name="T36" fmla="*/ 247 w 1938"/>
                <a:gd name="T37" fmla="*/ 1560 h 1938"/>
                <a:gd name="T38" fmla="*/ 185 w 1938"/>
                <a:gd name="T39" fmla="*/ 1490 h 1938"/>
                <a:gd name="T40" fmla="*/ 185 w 1938"/>
                <a:gd name="T41" fmla="*/ 1490 h 1938"/>
                <a:gd name="T42" fmla="*/ 502 w 1938"/>
                <a:gd name="T43" fmla="*/ 1460 h 1938"/>
                <a:gd name="T44" fmla="*/ 193 w 1938"/>
                <a:gd name="T45" fmla="*/ 1769 h 1938"/>
                <a:gd name="T46" fmla="*/ 363 w 1938"/>
                <a:gd name="T47" fmla="*/ 1938 h 1938"/>
                <a:gd name="T48" fmla="*/ 672 w 1938"/>
                <a:gd name="T49" fmla="*/ 1630 h 1938"/>
                <a:gd name="T50" fmla="*/ 502 w 1938"/>
                <a:gd name="T51" fmla="*/ 1460 h 1938"/>
                <a:gd name="T52" fmla="*/ 502 w 1938"/>
                <a:gd name="T53" fmla="*/ 1460 h 1938"/>
                <a:gd name="T54" fmla="*/ 432 w 1938"/>
                <a:gd name="T55" fmla="*/ 1738 h 1938"/>
                <a:gd name="T56" fmla="*/ 363 w 1938"/>
                <a:gd name="T57" fmla="*/ 1676 h 1938"/>
                <a:gd name="T58" fmla="*/ 432 w 1938"/>
                <a:gd name="T59" fmla="*/ 1606 h 1938"/>
                <a:gd name="T60" fmla="*/ 494 w 1938"/>
                <a:gd name="T61" fmla="*/ 1668 h 1938"/>
                <a:gd name="T62" fmla="*/ 432 w 1938"/>
                <a:gd name="T63" fmla="*/ 1738 h 1938"/>
                <a:gd name="T64" fmla="*/ 432 w 1938"/>
                <a:gd name="T65" fmla="*/ 1738 h 1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8" h="1938">
                  <a:moveTo>
                    <a:pt x="1838" y="224"/>
                  </a:moveTo>
                  <a:cubicBezTo>
                    <a:pt x="1714" y="100"/>
                    <a:pt x="1714" y="100"/>
                    <a:pt x="1714" y="100"/>
                  </a:cubicBezTo>
                  <a:cubicBezTo>
                    <a:pt x="1653" y="30"/>
                    <a:pt x="1568" y="0"/>
                    <a:pt x="1483" y="0"/>
                  </a:cubicBezTo>
                  <a:cubicBezTo>
                    <a:pt x="1390" y="0"/>
                    <a:pt x="1305" y="30"/>
                    <a:pt x="1243" y="100"/>
                  </a:cubicBezTo>
                  <a:cubicBezTo>
                    <a:pt x="224" y="1112"/>
                    <a:pt x="224" y="1112"/>
                    <a:pt x="224" y="1112"/>
                  </a:cubicBezTo>
                  <a:cubicBezTo>
                    <a:pt x="826" y="1714"/>
                    <a:pt x="826" y="1714"/>
                    <a:pt x="826" y="1714"/>
                  </a:cubicBezTo>
                  <a:cubicBezTo>
                    <a:pt x="1838" y="695"/>
                    <a:pt x="1838" y="695"/>
                    <a:pt x="1838" y="695"/>
                  </a:cubicBezTo>
                  <a:cubicBezTo>
                    <a:pt x="1908" y="633"/>
                    <a:pt x="1938" y="548"/>
                    <a:pt x="1938" y="455"/>
                  </a:cubicBezTo>
                  <a:cubicBezTo>
                    <a:pt x="1938" y="370"/>
                    <a:pt x="1908" y="285"/>
                    <a:pt x="1838" y="224"/>
                  </a:cubicBezTo>
                  <a:close/>
                  <a:moveTo>
                    <a:pt x="308" y="1266"/>
                  </a:moveTo>
                  <a:cubicBezTo>
                    <a:pt x="0" y="1575"/>
                    <a:pt x="0" y="1575"/>
                    <a:pt x="0" y="1575"/>
                  </a:cubicBezTo>
                  <a:cubicBezTo>
                    <a:pt x="169" y="1745"/>
                    <a:pt x="169" y="1745"/>
                    <a:pt x="169" y="1745"/>
                  </a:cubicBezTo>
                  <a:cubicBezTo>
                    <a:pt x="478" y="1436"/>
                    <a:pt x="478" y="1436"/>
                    <a:pt x="478" y="1436"/>
                  </a:cubicBezTo>
                  <a:cubicBezTo>
                    <a:pt x="308" y="1266"/>
                    <a:pt x="308" y="1266"/>
                    <a:pt x="308" y="1266"/>
                  </a:cubicBezTo>
                  <a:cubicBezTo>
                    <a:pt x="308" y="1266"/>
                    <a:pt x="308" y="1266"/>
                    <a:pt x="308" y="1266"/>
                  </a:cubicBezTo>
                  <a:close/>
                  <a:moveTo>
                    <a:pt x="185" y="1490"/>
                  </a:moveTo>
                  <a:cubicBezTo>
                    <a:pt x="254" y="1429"/>
                    <a:pt x="254" y="1429"/>
                    <a:pt x="254" y="1429"/>
                  </a:cubicBezTo>
                  <a:cubicBezTo>
                    <a:pt x="316" y="1490"/>
                    <a:pt x="316" y="1490"/>
                    <a:pt x="316" y="1490"/>
                  </a:cubicBezTo>
                  <a:cubicBezTo>
                    <a:pt x="247" y="1560"/>
                    <a:pt x="247" y="1560"/>
                    <a:pt x="247" y="1560"/>
                  </a:cubicBezTo>
                  <a:cubicBezTo>
                    <a:pt x="185" y="1490"/>
                    <a:pt x="185" y="1490"/>
                    <a:pt x="185" y="1490"/>
                  </a:cubicBezTo>
                  <a:cubicBezTo>
                    <a:pt x="185" y="1490"/>
                    <a:pt x="185" y="1490"/>
                    <a:pt x="185" y="1490"/>
                  </a:cubicBezTo>
                  <a:close/>
                  <a:moveTo>
                    <a:pt x="502" y="1460"/>
                  </a:moveTo>
                  <a:cubicBezTo>
                    <a:pt x="193" y="1769"/>
                    <a:pt x="193" y="1769"/>
                    <a:pt x="193" y="1769"/>
                  </a:cubicBezTo>
                  <a:cubicBezTo>
                    <a:pt x="363" y="1938"/>
                    <a:pt x="363" y="1938"/>
                    <a:pt x="363" y="1938"/>
                  </a:cubicBezTo>
                  <a:cubicBezTo>
                    <a:pt x="672" y="1630"/>
                    <a:pt x="672" y="1630"/>
                    <a:pt x="672" y="1630"/>
                  </a:cubicBezTo>
                  <a:cubicBezTo>
                    <a:pt x="502" y="1460"/>
                    <a:pt x="502" y="1460"/>
                    <a:pt x="502" y="1460"/>
                  </a:cubicBezTo>
                  <a:cubicBezTo>
                    <a:pt x="502" y="1460"/>
                    <a:pt x="502" y="1460"/>
                    <a:pt x="502" y="1460"/>
                  </a:cubicBezTo>
                  <a:close/>
                  <a:moveTo>
                    <a:pt x="432" y="1738"/>
                  </a:moveTo>
                  <a:cubicBezTo>
                    <a:pt x="363" y="1676"/>
                    <a:pt x="363" y="1676"/>
                    <a:pt x="363" y="1676"/>
                  </a:cubicBezTo>
                  <a:cubicBezTo>
                    <a:pt x="432" y="1606"/>
                    <a:pt x="432" y="1606"/>
                    <a:pt x="432" y="1606"/>
                  </a:cubicBezTo>
                  <a:cubicBezTo>
                    <a:pt x="494" y="1668"/>
                    <a:pt x="494" y="1668"/>
                    <a:pt x="494" y="1668"/>
                  </a:cubicBezTo>
                  <a:cubicBezTo>
                    <a:pt x="432" y="1738"/>
                    <a:pt x="432" y="1738"/>
                    <a:pt x="432" y="1738"/>
                  </a:cubicBezTo>
                  <a:cubicBezTo>
                    <a:pt x="432" y="1738"/>
                    <a:pt x="432" y="1738"/>
                    <a:pt x="432" y="1738"/>
                  </a:cubicBezTo>
                  <a:close/>
                </a:path>
              </a:pathLst>
            </a:custGeom>
            <a:solidFill>
              <a:schemeClr val="accent1"/>
            </a:solidFill>
            <a:ln>
              <a:noFill/>
            </a:ln>
          </p:spPr>
          <p:txBody>
            <a:bodyPr vert="horz" wrap="square" lIns="89619" tIns="44810" rIns="89619" bIns="44810" numCol="1" anchor="t" anchorCtr="0" compatLnSpc="1">
              <a:prstTxWarp prst="textNoShape">
                <a:avLst/>
              </a:prstTxWarp>
            </a:bodyPr>
            <a:lstStyle/>
            <a:p>
              <a:pPr defTabSz="913946"/>
              <a:endParaRPr lang="en-US" dirty="0"/>
            </a:p>
          </p:txBody>
        </p:sp>
        <p:sp>
          <p:nvSpPr>
            <p:cNvPr id="64" name="Rectangle 63"/>
            <p:cNvSpPr/>
            <p:nvPr/>
          </p:nvSpPr>
          <p:spPr bwMode="auto">
            <a:xfrm rot="18904379">
              <a:off x="3846559" y="2428917"/>
              <a:ext cx="411056" cy="131133"/>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95908">
                <a:lnSpc>
                  <a:spcPct val="90000"/>
                </a:lnSpc>
              </a:pPr>
              <a:r>
                <a:rPr lang="en-US" sz="588" spc="196" dirty="0">
                  <a:solidFill>
                    <a:schemeClr val="tx1"/>
                  </a:solidFill>
                </a:rPr>
                <a:t>01234</a:t>
              </a:r>
            </a:p>
          </p:txBody>
        </p:sp>
        <p:cxnSp>
          <p:nvCxnSpPr>
            <p:cNvPr id="65" name="Straight Connector 64"/>
            <p:cNvCxnSpPr>
              <a:stCxn id="61" idx="1"/>
              <a:endCxn id="61" idx="5"/>
            </p:cNvCxnSpPr>
            <p:nvPr/>
          </p:nvCxnSpPr>
          <p:spPr>
            <a:xfrm>
              <a:off x="3682083" y="2235094"/>
              <a:ext cx="651099" cy="651099"/>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67" name="Group 66"/>
          <p:cNvGrpSpPr/>
          <p:nvPr/>
        </p:nvGrpSpPr>
        <p:grpSpPr>
          <a:xfrm>
            <a:off x="3507768" y="1777575"/>
            <a:ext cx="860344" cy="860344"/>
            <a:chOff x="3706989" y="1284437"/>
            <a:chExt cx="741920" cy="741920"/>
          </a:xfrm>
        </p:grpSpPr>
        <p:sp>
          <p:nvSpPr>
            <p:cNvPr id="68" name="Oval 67"/>
            <p:cNvSpPr/>
            <p:nvPr/>
          </p:nvSpPr>
          <p:spPr bwMode="auto">
            <a:xfrm>
              <a:off x="3706989" y="1284437"/>
              <a:ext cx="741920" cy="741920"/>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79238" tIns="143391" rIns="179238" bIns="143391" numCol="1" spcCol="0" rtlCol="0" fromWordArt="0" anchor="t" anchorCtr="0" forceAA="0" compatLnSpc="1">
              <a:prstTxWarp prst="textNoShape">
                <a:avLst/>
              </a:prstTxWarp>
              <a:noAutofit/>
            </a:bodyPr>
            <a:lstStyle>
              <a:defPPr>
                <a:defRPr lang="en-US"/>
              </a:defPPr>
              <a:lvl1pPr marL="0" algn="l" defTabSz="932503" rtl="0" eaLnBrk="1" latinLnBrk="0" hangingPunct="1">
                <a:defRPr sz="1800" kern="1200">
                  <a:solidFill>
                    <a:schemeClr val="lt1"/>
                  </a:solidFill>
                  <a:latin typeface="+mn-lt"/>
                  <a:ea typeface="+mn-ea"/>
                  <a:cs typeface="+mn-cs"/>
                </a:defRPr>
              </a:lvl1pPr>
              <a:lvl2pPr marL="466252" algn="l" defTabSz="932503" rtl="0" eaLnBrk="1" latinLnBrk="0" hangingPunct="1">
                <a:defRPr sz="1800" kern="1200">
                  <a:solidFill>
                    <a:schemeClr val="lt1"/>
                  </a:solidFill>
                  <a:latin typeface="+mn-lt"/>
                  <a:ea typeface="+mn-ea"/>
                  <a:cs typeface="+mn-cs"/>
                </a:defRPr>
              </a:lvl2pPr>
              <a:lvl3pPr marL="932503" algn="l" defTabSz="932503" rtl="0" eaLnBrk="1" latinLnBrk="0" hangingPunct="1">
                <a:defRPr sz="1800" kern="1200">
                  <a:solidFill>
                    <a:schemeClr val="lt1"/>
                  </a:solidFill>
                  <a:latin typeface="+mn-lt"/>
                  <a:ea typeface="+mn-ea"/>
                  <a:cs typeface="+mn-cs"/>
                </a:defRPr>
              </a:lvl3pPr>
              <a:lvl4pPr marL="1398755" algn="l" defTabSz="932503" rtl="0" eaLnBrk="1" latinLnBrk="0" hangingPunct="1">
                <a:defRPr sz="1800" kern="1200">
                  <a:solidFill>
                    <a:schemeClr val="lt1"/>
                  </a:solidFill>
                  <a:latin typeface="+mn-lt"/>
                  <a:ea typeface="+mn-ea"/>
                  <a:cs typeface="+mn-cs"/>
                </a:defRPr>
              </a:lvl4pPr>
              <a:lvl5pPr marL="1865006" algn="l" defTabSz="932503" rtl="0" eaLnBrk="1" latinLnBrk="0" hangingPunct="1">
                <a:defRPr sz="1800" kern="1200">
                  <a:solidFill>
                    <a:schemeClr val="lt1"/>
                  </a:solidFill>
                  <a:latin typeface="+mn-lt"/>
                  <a:ea typeface="+mn-ea"/>
                  <a:cs typeface="+mn-cs"/>
                </a:defRPr>
              </a:lvl5pPr>
              <a:lvl6pPr marL="2331259" algn="l" defTabSz="932503" rtl="0" eaLnBrk="1" latinLnBrk="0" hangingPunct="1">
                <a:defRPr sz="1800" kern="1200">
                  <a:solidFill>
                    <a:schemeClr val="lt1"/>
                  </a:solidFill>
                  <a:latin typeface="+mn-lt"/>
                  <a:ea typeface="+mn-ea"/>
                  <a:cs typeface="+mn-cs"/>
                </a:defRPr>
              </a:lvl6pPr>
              <a:lvl7pPr marL="2797510" algn="l" defTabSz="932503" rtl="0" eaLnBrk="1" latinLnBrk="0" hangingPunct="1">
                <a:defRPr sz="1800" kern="1200">
                  <a:solidFill>
                    <a:schemeClr val="lt1"/>
                  </a:solidFill>
                  <a:latin typeface="+mn-lt"/>
                  <a:ea typeface="+mn-ea"/>
                  <a:cs typeface="+mn-cs"/>
                </a:defRPr>
              </a:lvl7pPr>
              <a:lvl8pPr marL="3263762" algn="l" defTabSz="932503" rtl="0" eaLnBrk="1" latinLnBrk="0" hangingPunct="1">
                <a:defRPr sz="1800" kern="1200">
                  <a:solidFill>
                    <a:schemeClr val="lt1"/>
                  </a:solidFill>
                  <a:latin typeface="+mn-lt"/>
                  <a:ea typeface="+mn-ea"/>
                  <a:cs typeface="+mn-cs"/>
                </a:defRPr>
              </a:lvl8pPr>
              <a:lvl9pPr marL="3730014" algn="l" defTabSz="932503" rtl="0" eaLnBrk="1" latinLnBrk="0" hangingPunct="1">
                <a:defRPr sz="1800" kern="1200">
                  <a:solidFill>
                    <a:schemeClr val="lt1"/>
                  </a:solidFill>
                  <a:latin typeface="+mn-lt"/>
                  <a:ea typeface="+mn-ea"/>
                  <a:cs typeface="+mn-cs"/>
                </a:defRPr>
              </a:lvl9pPr>
            </a:lstStyle>
            <a:p>
              <a:pPr algn="ctr" defTabSz="895908">
                <a:lnSpc>
                  <a:spcPct val="90000"/>
                </a:lnSpc>
              </a:pPr>
              <a:endParaRPr lang="en-US" sz="1960" spc="-49" dirty="0">
                <a:solidFill>
                  <a:schemeClr val="tx1"/>
                </a:solidFill>
              </a:endParaRPr>
            </a:p>
          </p:txBody>
        </p:sp>
        <p:sp>
          <p:nvSpPr>
            <p:cNvPr id="70" name="Freeform 69"/>
            <p:cNvSpPr>
              <a:spLocks noChangeAspect="1" noEditPoints="1"/>
            </p:cNvSpPr>
            <p:nvPr/>
          </p:nvSpPr>
          <p:spPr bwMode="black">
            <a:xfrm>
              <a:off x="3875217" y="1426606"/>
              <a:ext cx="405465" cy="457582"/>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accent1"/>
            </a:solidFill>
            <a:ln>
              <a:noFill/>
            </a:ln>
            <a:extLst/>
          </p:spPr>
          <p:txBody>
            <a:bodyPr vert="horz" wrap="square" lIns="89619" tIns="44810" rIns="89619" bIns="44810" numCol="1" anchor="t" anchorCtr="0" compatLnSpc="1">
              <a:prstTxWarp prst="textNoShape">
                <a:avLst/>
              </a:prstTxWarp>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endParaRPr lang="en-US" sz="1764"/>
            </a:p>
          </p:txBody>
        </p:sp>
      </p:grpSp>
      <p:sp>
        <p:nvSpPr>
          <p:cNvPr id="74" name="Rectangle 73"/>
          <p:cNvSpPr/>
          <p:nvPr/>
        </p:nvSpPr>
        <p:spPr>
          <a:xfrm>
            <a:off x="4527666" y="871988"/>
            <a:ext cx="7272019" cy="392143"/>
          </a:xfrm>
          <a:prstGeom prst="rect">
            <a:avLst/>
          </a:prstGeom>
        </p:spPr>
        <p:txBody>
          <a:bodyPr wrap="square">
            <a:spAutoFit/>
          </a:bodyPr>
          <a:lstStyle/>
          <a:p>
            <a:pPr defTabSz="913946">
              <a:spcAft>
                <a:spcPts val="588"/>
              </a:spcAft>
            </a:pPr>
            <a:r>
              <a:rPr lang="en-US" sz="1960" dirty="0"/>
              <a:t>No devices or certificates to purchase, provision, and maintain</a:t>
            </a:r>
          </a:p>
        </p:txBody>
      </p:sp>
      <p:sp>
        <p:nvSpPr>
          <p:cNvPr id="75" name="Rectangle 74"/>
          <p:cNvSpPr/>
          <p:nvPr/>
        </p:nvSpPr>
        <p:spPr>
          <a:xfrm>
            <a:off x="4527666" y="1942682"/>
            <a:ext cx="3402919" cy="393954"/>
          </a:xfrm>
          <a:prstGeom prst="rect">
            <a:avLst/>
          </a:prstGeom>
        </p:spPr>
        <p:txBody>
          <a:bodyPr wrap="none">
            <a:spAutoFit/>
          </a:bodyPr>
          <a:lstStyle/>
          <a:p>
            <a:pPr defTabSz="913946">
              <a:spcAft>
                <a:spcPts val="588"/>
              </a:spcAft>
            </a:pPr>
            <a:r>
              <a:rPr lang="en-US" sz="1960" dirty="0"/>
              <a:t>No end user training is required</a:t>
            </a:r>
          </a:p>
        </p:txBody>
      </p:sp>
      <p:sp>
        <p:nvSpPr>
          <p:cNvPr id="76" name="Rectangle 75"/>
          <p:cNvSpPr/>
          <p:nvPr/>
        </p:nvSpPr>
        <p:spPr>
          <a:xfrm>
            <a:off x="4527667" y="3113459"/>
            <a:ext cx="4877169" cy="393954"/>
          </a:xfrm>
          <a:prstGeom prst="rect">
            <a:avLst/>
          </a:prstGeom>
        </p:spPr>
        <p:txBody>
          <a:bodyPr wrap="none">
            <a:spAutoFit/>
          </a:bodyPr>
          <a:lstStyle/>
          <a:p>
            <a:pPr defTabSz="913946">
              <a:spcAft>
                <a:spcPts val="588"/>
              </a:spcAft>
            </a:pPr>
            <a:r>
              <a:rPr lang="en-US" sz="1960" dirty="0"/>
              <a:t>Users replace their own lost or broken phones</a:t>
            </a:r>
          </a:p>
        </p:txBody>
      </p:sp>
      <p:sp>
        <p:nvSpPr>
          <p:cNvPr id="77" name="Rectangle 76"/>
          <p:cNvSpPr/>
          <p:nvPr/>
        </p:nvSpPr>
        <p:spPr>
          <a:xfrm>
            <a:off x="4527665" y="4135685"/>
            <a:ext cx="7393580" cy="693790"/>
          </a:xfrm>
          <a:prstGeom prst="rect">
            <a:avLst/>
          </a:prstGeom>
        </p:spPr>
        <p:txBody>
          <a:bodyPr wrap="square">
            <a:spAutoFit/>
          </a:bodyPr>
          <a:lstStyle/>
          <a:p>
            <a:pPr defTabSz="913946">
              <a:spcAft>
                <a:spcPts val="588"/>
              </a:spcAft>
            </a:pPr>
            <a:r>
              <a:rPr lang="en-US" sz="1960" dirty="0"/>
              <a:t>Users manage their own authentication methods </a:t>
            </a:r>
            <a:br>
              <a:rPr lang="en-US" sz="1960" dirty="0"/>
            </a:br>
            <a:r>
              <a:rPr lang="en-US" sz="1960" dirty="0"/>
              <a:t>and phone numbers</a:t>
            </a:r>
          </a:p>
        </p:txBody>
      </p:sp>
      <p:sp>
        <p:nvSpPr>
          <p:cNvPr id="78" name="Rectangle 77"/>
          <p:cNvSpPr/>
          <p:nvPr/>
        </p:nvSpPr>
        <p:spPr>
          <a:xfrm>
            <a:off x="4527665" y="5270829"/>
            <a:ext cx="7094848" cy="693790"/>
          </a:xfrm>
          <a:prstGeom prst="rect">
            <a:avLst/>
          </a:prstGeom>
        </p:spPr>
        <p:txBody>
          <a:bodyPr wrap="square">
            <a:spAutoFit/>
          </a:bodyPr>
          <a:lstStyle/>
          <a:p>
            <a:pPr defTabSz="913946">
              <a:spcAft>
                <a:spcPts val="588"/>
              </a:spcAft>
            </a:pPr>
            <a:r>
              <a:rPr lang="en-US" sz="1960" dirty="0"/>
              <a:t>Integrates with existing directory for centralized user </a:t>
            </a:r>
            <a:br>
              <a:rPr lang="en-US" sz="1960" dirty="0"/>
            </a:br>
            <a:r>
              <a:rPr lang="en-US" sz="1960" dirty="0"/>
              <a:t>management and automated enrollment </a:t>
            </a:r>
          </a:p>
        </p:txBody>
      </p:sp>
      <p:sp>
        <p:nvSpPr>
          <p:cNvPr id="63" name="Rectangle 62"/>
          <p:cNvSpPr/>
          <p:nvPr/>
        </p:nvSpPr>
        <p:spPr bwMode="auto">
          <a:xfrm>
            <a:off x="1590" y="1380"/>
            <a:ext cx="2840613" cy="3619234"/>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chemeClr val="tx1"/>
              </a:solidFill>
            </a:endParaRPr>
          </a:p>
        </p:txBody>
      </p:sp>
      <p:sp>
        <p:nvSpPr>
          <p:cNvPr id="10" name="Rectangle 9"/>
          <p:cNvSpPr/>
          <p:nvPr/>
        </p:nvSpPr>
        <p:spPr bwMode="auto">
          <a:xfrm>
            <a:off x="261171" y="1381"/>
            <a:ext cx="2581031" cy="6489609"/>
          </a:xfrm>
          <a:prstGeom prst="rect">
            <a:avLst/>
          </a:prstGeom>
          <a:ln w="50800" cap="sq">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a:endParaRPr lang="en-US" sz="3136" dirty="0">
              <a:solidFill>
                <a:schemeClr val="tx1"/>
              </a:solidFill>
              <a:latin typeface="Segoe UI Light"/>
            </a:endParaRPr>
          </a:p>
        </p:txBody>
      </p:sp>
      <p:sp>
        <p:nvSpPr>
          <p:cNvPr id="11" name="Rectangle 10"/>
          <p:cNvSpPr/>
          <p:nvPr/>
        </p:nvSpPr>
        <p:spPr>
          <a:xfrm>
            <a:off x="398899" y="3526541"/>
            <a:ext cx="2355366" cy="573130"/>
          </a:xfrm>
          <a:prstGeom prst="rect">
            <a:avLst/>
          </a:prstGeom>
        </p:spPr>
        <p:txBody>
          <a:bodyPr wrap="none">
            <a:spAutoFit/>
          </a:bodyPr>
          <a:lstStyle/>
          <a:p>
            <a:pPr algn="ctr" defTabSz="932103"/>
            <a:r>
              <a:rPr lang="en-US" sz="3136" dirty="0">
                <a:latin typeface="Segoe UI Light"/>
              </a:rPr>
              <a:t>Convenience</a:t>
            </a:r>
          </a:p>
        </p:txBody>
      </p:sp>
      <p:sp>
        <p:nvSpPr>
          <p:cNvPr id="2" name="Rectangle 1"/>
          <p:cNvSpPr/>
          <p:nvPr/>
        </p:nvSpPr>
        <p:spPr bwMode="auto">
          <a:xfrm>
            <a:off x="1589" y="1380"/>
            <a:ext cx="269169" cy="685524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chemeClr val="tx1"/>
              </a:solidFill>
            </a:endParaRPr>
          </a:p>
        </p:txBody>
      </p:sp>
      <p:sp>
        <p:nvSpPr>
          <p:cNvPr id="79" name="Rectangle 78"/>
          <p:cNvSpPr/>
          <p:nvPr/>
        </p:nvSpPr>
        <p:spPr bwMode="auto">
          <a:xfrm>
            <a:off x="1589" y="-207036"/>
            <a:ext cx="269169" cy="7063658"/>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chemeClr val="tx1"/>
              </a:solidFill>
            </a:endParaRPr>
          </a:p>
        </p:txBody>
      </p:sp>
      <p:grpSp>
        <p:nvGrpSpPr>
          <p:cNvPr id="4" name="Group 3"/>
          <p:cNvGrpSpPr/>
          <p:nvPr/>
        </p:nvGrpSpPr>
        <p:grpSpPr>
          <a:xfrm>
            <a:off x="521269" y="4187464"/>
            <a:ext cx="2060837" cy="2047471"/>
            <a:chOff x="530238" y="4271135"/>
            <a:chExt cx="2102709" cy="2089071"/>
          </a:xfrm>
        </p:grpSpPr>
        <p:sp>
          <p:nvSpPr>
            <p:cNvPr id="13" name="Oval 12"/>
            <p:cNvSpPr/>
            <p:nvPr/>
          </p:nvSpPr>
          <p:spPr bwMode="auto">
            <a:xfrm>
              <a:off x="530238" y="4271135"/>
              <a:ext cx="2102709" cy="2089071"/>
            </a:xfrm>
            <a:prstGeom prst="ellipse">
              <a:avLst/>
            </a:prstGeom>
            <a:solidFill>
              <a:srgbClr val="FFFFFF"/>
            </a:solidFill>
            <a:ln w="476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ln w="15875">
                  <a:noFill/>
                </a:ln>
                <a:solidFill>
                  <a:schemeClr val="tx1"/>
                </a:solidFill>
              </a:endParaRPr>
            </a:p>
          </p:txBody>
        </p:sp>
        <p:grpSp>
          <p:nvGrpSpPr>
            <p:cNvPr id="3" name="Group 2"/>
            <p:cNvGrpSpPr/>
            <p:nvPr/>
          </p:nvGrpSpPr>
          <p:grpSpPr>
            <a:xfrm>
              <a:off x="867438" y="4740345"/>
              <a:ext cx="1428309" cy="1150651"/>
              <a:chOff x="4216400" y="3049588"/>
              <a:chExt cx="1812925" cy="1460499"/>
            </a:xfrm>
          </p:grpSpPr>
          <p:sp>
            <p:nvSpPr>
              <p:cNvPr id="38" name="Freeform 5"/>
              <p:cNvSpPr>
                <a:spLocks/>
              </p:cNvSpPr>
              <p:nvPr/>
            </p:nvSpPr>
            <p:spPr bwMode="auto">
              <a:xfrm>
                <a:off x="5346700" y="3049588"/>
                <a:ext cx="682625" cy="1255712"/>
              </a:xfrm>
              <a:custGeom>
                <a:avLst/>
                <a:gdLst>
                  <a:gd name="T0" fmla="*/ 780 w 802"/>
                  <a:gd name="T1" fmla="*/ 697 h 1475"/>
                  <a:gd name="T2" fmla="*/ 524 w 802"/>
                  <a:gd name="T3" fmla="*/ 563 h 1475"/>
                  <a:gd name="T4" fmla="*/ 524 w 802"/>
                  <a:gd name="T5" fmla="*/ 472 h 1475"/>
                  <a:gd name="T6" fmla="*/ 561 w 802"/>
                  <a:gd name="T7" fmla="*/ 402 h 1475"/>
                  <a:gd name="T8" fmla="*/ 593 w 802"/>
                  <a:gd name="T9" fmla="*/ 359 h 1475"/>
                  <a:gd name="T10" fmla="*/ 604 w 802"/>
                  <a:gd name="T11" fmla="*/ 290 h 1475"/>
                  <a:gd name="T12" fmla="*/ 583 w 802"/>
                  <a:gd name="T13" fmla="*/ 247 h 1475"/>
                  <a:gd name="T14" fmla="*/ 374 w 802"/>
                  <a:gd name="T15" fmla="*/ 0 h 1475"/>
                  <a:gd name="T16" fmla="*/ 171 w 802"/>
                  <a:gd name="T17" fmla="*/ 247 h 1475"/>
                  <a:gd name="T18" fmla="*/ 150 w 802"/>
                  <a:gd name="T19" fmla="*/ 290 h 1475"/>
                  <a:gd name="T20" fmla="*/ 161 w 802"/>
                  <a:gd name="T21" fmla="*/ 359 h 1475"/>
                  <a:gd name="T22" fmla="*/ 193 w 802"/>
                  <a:gd name="T23" fmla="*/ 402 h 1475"/>
                  <a:gd name="T24" fmla="*/ 230 w 802"/>
                  <a:gd name="T25" fmla="*/ 472 h 1475"/>
                  <a:gd name="T26" fmla="*/ 230 w 802"/>
                  <a:gd name="T27" fmla="*/ 563 h 1475"/>
                  <a:gd name="T28" fmla="*/ 0 w 802"/>
                  <a:gd name="T29" fmla="*/ 665 h 1475"/>
                  <a:gd name="T30" fmla="*/ 118 w 802"/>
                  <a:gd name="T31" fmla="*/ 713 h 1475"/>
                  <a:gd name="T32" fmla="*/ 267 w 802"/>
                  <a:gd name="T33" fmla="*/ 853 h 1475"/>
                  <a:gd name="T34" fmla="*/ 273 w 802"/>
                  <a:gd name="T35" fmla="*/ 1475 h 1475"/>
                  <a:gd name="T36" fmla="*/ 374 w 802"/>
                  <a:gd name="T37" fmla="*/ 1475 h 1475"/>
                  <a:gd name="T38" fmla="*/ 780 w 802"/>
                  <a:gd name="T39" fmla="*/ 1336 h 1475"/>
                  <a:gd name="T40" fmla="*/ 780 w 802"/>
                  <a:gd name="T41" fmla="*/ 697 h 1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2" h="1475">
                    <a:moveTo>
                      <a:pt x="780" y="697"/>
                    </a:moveTo>
                    <a:cubicBezTo>
                      <a:pt x="775" y="660"/>
                      <a:pt x="620" y="590"/>
                      <a:pt x="524" y="563"/>
                    </a:cubicBezTo>
                    <a:cubicBezTo>
                      <a:pt x="524" y="472"/>
                      <a:pt x="524" y="472"/>
                      <a:pt x="524" y="472"/>
                    </a:cubicBezTo>
                    <a:cubicBezTo>
                      <a:pt x="540" y="451"/>
                      <a:pt x="551" y="429"/>
                      <a:pt x="561" y="402"/>
                    </a:cubicBezTo>
                    <a:cubicBezTo>
                      <a:pt x="577" y="397"/>
                      <a:pt x="593" y="381"/>
                      <a:pt x="593" y="359"/>
                    </a:cubicBezTo>
                    <a:cubicBezTo>
                      <a:pt x="604" y="290"/>
                      <a:pt x="604" y="290"/>
                      <a:pt x="604" y="290"/>
                    </a:cubicBezTo>
                    <a:cubicBezTo>
                      <a:pt x="604" y="274"/>
                      <a:pt x="599" y="252"/>
                      <a:pt x="583" y="247"/>
                    </a:cubicBezTo>
                    <a:cubicBezTo>
                      <a:pt x="577" y="91"/>
                      <a:pt x="529" y="0"/>
                      <a:pt x="374" y="0"/>
                    </a:cubicBezTo>
                    <a:cubicBezTo>
                      <a:pt x="225" y="0"/>
                      <a:pt x="171" y="91"/>
                      <a:pt x="171" y="247"/>
                    </a:cubicBezTo>
                    <a:cubicBezTo>
                      <a:pt x="155" y="252"/>
                      <a:pt x="150" y="274"/>
                      <a:pt x="150" y="290"/>
                    </a:cubicBezTo>
                    <a:cubicBezTo>
                      <a:pt x="161" y="359"/>
                      <a:pt x="161" y="359"/>
                      <a:pt x="161" y="359"/>
                    </a:cubicBezTo>
                    <a:cubicBezTo>
                      <a:pt x="161" y="381"/>
                      <a:pt x="177" y="397"/>
                      <a:pt x="193" y="402"/>
                    </a:cubicBezTo>
                    <a:cubicBezTo>
                      <a:pt x="203" y="429"/>
                      <a:pt x="214" y="451"/>
                      <a:pt x="230" y="472"/>
                    </a:cubicBezTo>
                    <a:cubicBezTo>
                      <a:pt x="230" y="563"/>
                      <a:pt x="230" y="563"/>
                      <a:pt x="230" y="563"/>
                    </a:cubicBezTo>
                    <a:cubicBezTo>
                      <a:pt x="155" y="585"/>
                      <a:pt x="48" y="628"/>
                      <a:pt x="0" y="665"/>
                    </a:cubicBezTo>
                    <a:cubicBezTo>
                      <a:pt x="38" y="676"/>
                      <a:pt x="80" y="692"/>
                      <a:pt x="118" y="713"/>
                    </a:cubicBezTo>
                    <a:cubicBezTo>
                      <a:pt x="214" y="762"/>
                      <a:pt x="257" y="799"/>
                      <a:pt x="267" y="853"/>
                    </a:cubicBezTo>
                    <a:cubicBezTo>
                      <a:pt x="278" y="933"/>
                      <a:pt x="289" y="1223"/>
                      <a:pt x="273" y="1475"/>
                    </a:cubicBezTo>
                    <a:cubicBezTo>
                      <a:pt x="305" y="1475"/>
                      <a:pt x="342" y="1475"/>
                      <a:pt x="374" y="1475"/>
                    </a:cubicBezTo>
                    <a:cubicBezTo>
                      <a:pt x="588" y="1475"/>
                      <a:pt x="770" y="1448"/>
                      <a:pt x="780" y="1336"/>
                    </a:cubicBezTo>
                    <a:cubicBezTo>
                      <a:pt x="802" y="1089"/>
                      <a:pt x="791" y="772"/>
                      <a:pt x="780" y="697"/>
                    </a:cubicBezTo>
                    <a:close/>
                  </a:path>
                </a:pathLst>
              </a:custGeom>
              <a:solidFill>
                <a:schemeClr val="tx2"/>
              </a:solidFill>
              <a:ln>
                <a:noFill/>
              </a:ln>
            </p:spPr>
            <p:txBody>
              <a:bodyPr vert="horz" wrap="square" lIns="89619" tIns="44810" rIns="89619" bIns="44810" numCol="1" anchor="t" anchorCtr="0" compatLnSpc="1">
                <a:prstTxWarp prst="textNoShape">
                  <a:avLst/>
                </a:prstTxWarp>
              </a:bodyPr>
              <a:lstStyle/>
              <a:p>
                <a:pPr defTabSz="913946"/>
                <a:endParaRPr lang="en-US"/>
              </a:p>
            </p:txBody>
          </p:sp>
          <p:sp>
            <p:nvSpPr>
              <p:cNvPr id="39" name="Freeform 6"/>
              <p:cNvSpPr>
                <a:spLocks/>
              </p:cNvSpPr>
              <p:nvPr/>
            </p:nvSpPr>
            <p:spPr bwMode="auto">
              <a:xfrm>
                <a:off x="4216400" y="3049588"/>
                <a:ext cx="685800" cy="1255712"/>
              </a:xfrm>
              <a:custGeom>
                <a:avLst/>
                <a:gdLst>
                  <a:gd name="T0" fmla="*/ 542 w 805"/>
                  <a:gd name="T1" fmla="*/ 853 h 1475"/>
                  <a:gd name="T2" fmla="*/ 692 w 805"/>
                  <a:gd name="T3" fmla="*/ 713 h 1475"/>
                  <a:gd name="T4" fmla="*/ 805 w 805"/>
                  <a:gd name="T5" fmla="*/ 665 h 1475"/>
                  <a:gd name="T6" fmla="*/ 580 w 805"/>
                  <a:gd name="T7" fmla="*/ 563 h 1475"/>
                  <a:gd name="T8" fmla="*/ 580 w 805"/>
                  <a:gd name="T9" fmla="*/ 472 h 1475"/>
                  <a:gd name="T10" fmla="*/ 612 w 805"/>
                  <a:gd name="T11" fmla="*/ 402 h 1475"/>
                  <a:gd name="T12" fmla="*/ 649 w 805"/>
                  <a:gd name="T13" fmla="*/ 359 h 1475"/>
                  <a:gd name="T14" fmla="*/ 655 w 805"/>
                  <a:gd name="T15" fmla="*/ 290 h 1475"/>
                  <a:gd name="T16" fmla="*/ 639 w 805"/>
                  <a:gd name="T17" fmla="*/ 247 h 1475"/>
                  <a:gd name="T18" fmla="*/ 429 w 805"/>
                  <a:gd name="T19" fmla="*/ 0 h 1475"/>
                  <a:gd name="T20" fmla="*/ 220 w 805"/>
                  <a:gd name="T21" fmla="*/ 247 h 1475"/>
                  <a:gd name="T22" fmla="*/ 204 w 805"/>
                  <a:gd name="T23" fmla="*/ 290 h 1475"/>
                  <a:gd name="T24" fmla="*/ 209 w 805"/>
                  <a:gd name="T25" fmla="*/ 359 h 1475"/>
                  <a:gd name="T26" fmla="*/ 247 w 805"/>
                  <a:gd name="T27" fmla="*/ 402 h 1475"/>
                  <a:gd name="T28" fmla="*/ 279 w 805"/>
                  <a:gd name="T29" fmla="*/ 472 h 1475"/>
                  <a:gd name="T30" fmla="*/ 279 w 805"/>
                  <a:gd name="T31" fmla="*/ 563 h 1475"/>
                  <a:gd name="T32" fmla="*/ 21 w 805"/>
                  <a:gd name="T33" fmla="*/ 697 h 1475"/>
                  <a:gd name="T34" fmla="*/ 21 w 805"/>
                  <a:gd name="T35" fmla="*/ 1336 h 1475"/>
                  <a:gd name="T36" fmla="*/ 429 w 805"/>
                  <a:gd name="T37" fmla="*/ 1475 h 1475"/>
                  <a:gd name="T38" fmla="*/ 531 w 805"/>
                  <a:gd name="T39" fmla="*/ 1475 h 1475"/>
                  <a:gd name="T40" fmla="*/ 542 w 805"/>
                  <a:gd name="T41" fmla="*/ 853 h 1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5" h="1475">
                    <a:moveTo>
                      <a:pt x="542" y="853"/>
                    </a:moveTo>
                    <a:cubicBezTo>
                      <a:pt x="547" y="799"/>
                      <a:pt x="590" y="762"/>
                      <a:pt x="692" y="713"/>
                    </a:cubicBezTo>
                    <a:cubicBezTo>
                      <a:pt x="725" y="692"/>
                      <a:pt x="768" y="676"/>
                      <a:pt x="805" y="665"/>
                    </a:cubicBezTo>
                    <a:cubicBezTo>
                      <a:pt x="757" y="628"/>
                      <a:pt x="655" y="585"/>
                      <a:pt x="580" y="563"/>
                    </a:cubicBezTo>
                    <a:cubicBezTo>
                      <a:pt x="580" y="472"/>
                      <a:pt x="580" y="472"/>
                      <a:pt x="580" y="472"/>
                    </a:cubicBezTo>
                    <a:cubicBezTo>
                      <a:pt x="590" y="451"/>
                      <a:pt x="606" y="429"/>
                      <a:pt x="612" y="402"/>
                    </a:cubicBezTo>
                    <a:cubicBezTo>
                      <a:pt x="633" y="397"/>
                      <a:pt x="644" y="381"/>
                      <a:pt x="649" y="359"/>
                    </a:cubicBezTo>
                    <a:cubicBezTo>
                      <a:pt x="655" y="290"/>
                      <a:pt x="655" y="290"/>
                      <a:pt x="655" y="290"/>
                    </a:cubicBezTo>
                    <a:cubicBezTo>
                      <a:pt x="660" y="274"/>
                      <a:pt x="649" y="252"/>
                      <a:pt x="639" y="247"/>
                    </a:cubicBezTo>
                    <a:cubicBezTo>
                      <a:pt x="633" y="91"/>
                      <a:pt x="585" y="0"/>
                      <a:pt x="429" y="0"/>
                    </a:cubicBezTo>
                    <a:cubicBezTo>
                      <a:pt x="274" y="0"/>
                      <a:pt x="225" y="91"/>
                      <a:pt x="220" y="247"/>
                    </a:cubicBezTo>
                    <a:cubicBezTo>
                      <a:pt x="209" y="252"/>
                      <a:pt x="198" y="274"/>
                      <a:pt x="204" y="290"/>
                    </a:cubicBezTo>
                    <a:cubicBezTo>
                      <a:pt x="209" y="359"/>
                      <a:pt x="209" y="359"/>
                      <a:pt x="209" y="359"/>
                    </a:cubicBezTo>
                    <a:cubicBezTo>
                      <a:pt x="215" y="381"/>
                      <a:pt x="225" y="397"/>
                      <a:pt x="247" y="402"/>
                    </a:cubicBezTo>
                    <a:cubicBezTo>
                      <a:pt x="252" y="429"/>
                      <a:pt x="268" y="451"/>
                      <a:pt x="279" y="472"/>
                    </a:cubicBezTo>
                    <a:cubicBezTo>
                      <a:pt x="279" y="563"/>
                      <a:pt x="279" y="563"/>
                      <a:pt x="279" y="563"/>
                    </a:cubicBezTo>
                    <a:cubicBezTo>
                      <a:pt x="182" y="590"/>
                      <a:pt x="27" y="660"/>
                      <a:pt x="21" y="697"/>
                    </a:cubicBezTo>
                    <a:cubicBezTo>
                      <a:pt x="11" y="772"/>
                      <a:pt x="0" y="1089"/>
                      <a:pt x="21" y="1336"/>
                    </a:cubicBezTo>
                    <a:cubicBezTo>
                      <a:pt x="32" y="1448"/>
                      <a:pt x="215" y="1475"/>
                      <a:pt x="429" y="1475"/>
                    </a:cubicBezTo>
                    <a:cubicBezTo>
                      <a:pt x="467" y="1475"/>
                      <a:pt x="499" y="1475"/>
                      <a:pt x="531" y="1475"/>
                    </a:cubicBezTo>
                    <a:cubicBezTo>
                      <a:pt x="521" y="1223"/>
                      <a:pt x="526" y="933"/>
                      <a:pt x="542" y="853"/>
                    </a:cubicBezTo>
                    <a:close/>
                  </a:path>
                </a:pathLst>
              </a:custGeom>
              <a:solidFill>
                <a:schemeClr val="tx2"/>
              </a:solidFill>
              <a:ln>
                <a:noFill/>
              </a:ln>
            </p:spPr>
            <p:txBody>
              <a:bodyPr vert="horz" wrap="square" lIns="89619" tIns="44810" rIns="89619" bIns="44810" numCol="1" anchor="t" anchorCtr="0" compatLnSpc="1">
                <a:prstTxWarp prst="textNoShape">
                  <a:avLst/>
                </a:prstTxWarp>
              </a:bodyPr>
              <a:lstStyle/>
              <a:p>
                <a:pPr defTabSz="913946"/>
                <a:endParaRPr lang="en-US"/>
              </a:p>
            </p:txBody>
          </p:sp>
          <p:sp>
            <p:nvSpPr>
              <p:cNvPr id="40" name="Freeform 7"/>
              <p:cNvSpPr>
                <a:spLocks/>
              </p:cNvSpPr>
              <p:nvPr/>
            </p:nvSpPr>
            <p:spPr bwMode="auto">
              <a:xfrm>
                <a:off x="4911725" y="3141663"/>
                <a:ext cx="423863" cy="533400"/>
              </a:xfrm>
              <a:custGeom>
                <a:avLst/>
                <a:gdLst>
                  <a:gd name="T0" fmla="*/ 407 w 498"/>
                  <a:gd name="T1" fmla="*/ 588 h 626"/>
                  <a:gd name="T2" fmla="*/ 407 w 498"/>
                  <a:gd name="T3" fmla="*/ 513 h 626"/>
                  <a:gd name="T4" fmla="*/ 450 w 498"/>
                  <a:gd name="T5" fmla="*/ 433 h 626"/>
                  <a:gd name="T6" fmla="*/ 488 w 498"/>
                  <a:gd name="T7" fmla="*/ 390 h 626"/>
                  <a:gd name="T8" fmla="*/ 493 w 498"/>
                  <a:gd name="T9" fmla="*/ 315 h 626"/>
                  <a:gd name="T10" fmla="*/ 472 w 498"/>
                  <a:gd name="T11" fmla="*/ 267 h 626"/>
                  <a:gd name="T12" fmla="*/ 247 w 498"/>
                  <a:gd name="T13" fmla="*/ 0 h 626"/>
                  <a:gd name="T14" fmla="*/ 22 w 498"/>
                  <a:gd name="T15" fmla="*/ 267 h 626"/>
                  <a:gd name="T16" fmla="*/ 0 w 498"/>
                  <a:gd name="T17" fmla="*/ 315 h 626"/>
                  <a:gd name="T18" fmla="*/ 11 w 498"/>
                  <a:gd name="T19" fmla="*/ 390 h 626"/>
                  <a:gd name="T20" fmla="*/ 48 w 498"/>
                  <a:gd name="T21" fmla="*/ 433 h 626"/>
                  <a:gd name="T22" fmla="*/ 86 w 498"/>
                  <a:gd name="T23" fmla="*/ 513 h 626"/>
                  <a:gd name="T24" fmla="*/ 86 w 498"/>
                  <a:gd name="T25" fmla="*/ 588 h 626"/>
                  <a:gd name="T26" fmla="*/ 247 w 498"/>
                  <a:gd name="T27" fmla="*/ 626 h 626"/>
                  <a:gd name="T28" fmla="*/ 407 w 498"/>
                  <a:gd name="T29" fmla="*/ 58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8" h="626">
                    <a:moveTo>
                      <a:pt x="407" y="588"/>
                    </a:moveTo>
                    <a:cubicBezTo>
                      <a:pt x="407" y="513"/>
                      <a:pt x="407" y="513"/>
                      <a:pt x="407" y="513"/>
                    </a:cubicBezTo>
                    <a:cubicBezTo>
                      <a:pt x="423" y="492"/>
                      <a:pt x="439" y="465"/>
                      <a:pt x="450" y="433"/>
                    </a:cubicBezTo>
                    <a:cubicBezTo>
                      <a:pt x="466" y="428"/>
                      <a:pt x="482" y="412"/>
                      <a:pt x="488" y="390"/>
                    </a:cubicBezTo>
                    <a:cubicBezTo>
                      <a:pt x="493" y="315"/>
                      <a:pt x="493" y="315"/>
                      <a:pt x="493" y="315"/>
                    </a:cubicBezTo>
                    <a:cubicBezTo>
                      <a:pt x="498" y="294"/>
                      <a:pt x="488" y="278"/>
                      <a:pt x="472" y="267"/>
                    </a:cubicBezTo>
                    <a:cubicBezTo>
                      <a:pt x="472" y="96"/>
                      <a:pt x="413" y="0"/>
                      <a:pt x="247" y="0"/>
                    </a:cubicBezTo>
                    <a:cubicBezTo>
                      <a:pt x="80" y="0"/>
                      <a:pt x="27" y="96"/>
                      <a:pt x="22" y="267"/>
                    </a:cubicBezTo>
                    <a:cubicBezTo>
                      <a:pt x="5" y="278"/>
                      <a:pt x="0" y="294"/>
                      <a:pt x="0" y="315"/>
                    </a:cubicBezTo>
                    <a:cubicBezTo>
                      <a:pt x="11" y="390"/>
                      <a:pt x="11" y="390"/>
                      <a:pt x="11" y="390"/>
                    </a:cubicBezTo>
                    <a:cubicBezTo>
                      <a:pt x="11" y="412"/>
                      <a:pt x="27" y="428"/>
                      <a:pt x="48" y="433"/>
                    </a:cubicBezTo>
                    <a:cubicBezTo>
                      <a:pt x="59" y="465"/>
                      <a:pt x="70" y="492"/>
                      <a:pt x="86" y="513"/>
                    </a:cubicBezTo>
                    <a:cubicBezTo>
                      <a:pt x="86" y="588"/>
                      <a:pt x="86" y="588"/>
                      <a:pt x="86" y="588"/>
                    </a:cubicBezTo>
                    <a:cubicBezTo>
                      <a:pt x="145" y="615"/>
                      <a:pt x="198" y="626"/>
                      <a:pt x="247" y="626"/>
                    </a:cubicBezTo>
                    <a:cubicBezTo>
                      <a:pt x="295" y="626"/>
                      <a:pt x="348" y="615"/>
                      <a:pt x="407" y="588"/>
                    </a:cubicBezTo>
                    <a:close/>
                  </a:path>
                </a:pathLst>
              </a:custGeom>
              <a:solidFill>
                <a:schemeClr val="tx2"/>
              </a:solidFill>
              <a:ln>
                <a:noFill/>
              </a:ln>
            </p:spPr>
            <p:txBody>
              <a:bodyPr vert="horz" wrap="square" lIns="89619" tIns="44810" rIns="89619" bIns="44810" numCol="1" anchor="t" anchorCtr="0" compatLnSpc="1">
                <a:prstTxWarp prst="textNoShape">
                  <a:avLst/>
                </a:prstTxWarp>
              </a:bodyPr>
              <a:lstStyle/>
              <a:p>
                <a:pPr defTabSz="913946"/>
                <a:endParaRPr lang="en-US"/>
              </a:p>
            </p:txBody>
          </p:sp>
          <p:sp>
            <p:nvSpPr>
              <p:cNvPr id="41" name="Freeform 8"/>
              <p:cNvSpPr>
                <a:spLocks/>
              </p:cNvSpPr>
              <p:nvPr/>
            </p:nvSpPr>
            <p:spPr bwMode="auto">
              <a:xfrm>
                <a:off x="4729163" y="3667125"/>
                <a:ext cx="790575" cy="842962"/>
              </a:xfrm>
              <a:custGeom>
                <a:avLst/>
                <a:gdLst>
                  <a:gd name="T0" fmla="*/ 907 w 929"/>
                  <a:gd name="T1" fmla="*/ 134 h 988"/>
                  <a:gd name="T2" fmla="*/ 656 w 929"/>
                  <a:gd name="T3" fmla="*/ 0 h 988"/>
                  <a:gd name="T4" fmla="*/ 624 w 929"/>
                  <a:gd name="T5" fmla="*/ 91 h 988"/>
                  <a:gd name="T6" fmla="*/ 678 w 929"/>
                  <a:gd name="T7" fmla="*/ 494 h 988"/>
                  <a:gd name="T8" fmla="*/ 560 w 929"/>
                  <a:gd name="T9" fmla="*/ 634 h 988"/>
                  <a:gd name="T10" fmla="*/ 496 w 929"/>
                  <a:gd name="T11" fmla="*/ 204 h 988"/>
                  <a:gd name="T12" fmla="*/ 539 w 929"/>
                  <a:gd name="T13" fmla="*/ 182 h 988"/>
                  <a:gd name="T14" fmla="*/ 507 w 929"/>
                  <a:gd name="T15" fmla="*/ 75 h 988"/>
                  <a:gd name="T16" fmla="*/ 422 w 929"/>
                  <a:gd name="T17" fmla="*/ 75 h 988"/>
                  <a:gd name="T18" fmla="*/ 390 w 929"/>
                  <a:gd name="T19" fmla="*/ 182 h 988"/>
                  <a:gd name="T20" fmla="*/ 432 w 929"/>
                  <a:gd name="T21" fmla="*/ 204 h 988"/>
                  <a:gd name="T22" fmla="*/ 368 w 929"/>
                  <a:gd name="T23" fmla="*/ 634 h 988"/>
                  <a:gd name="T24" fmla="*/ 256 w 929"/>
                  <a:gd name="T25" fmla="*/ 494 h 988"/>
                  <a:gd name="T26" fmla="*/ 309 w 929"/>
                  <a:gd name="T27" fmla="*/ 91 h 988"/>
                  <a:gd name="T28" fmla="*/ 277 w 929"/>
                  <a:gd name="T29" fmla="*/ 0 h 988"/>
                  <a:gd name="T30" fmla="*/ 26 w 929"/>
                  <a:gd name="T31" fmla="*/ 134 h 988"/>
                  <a:gd name="T32" fmla="*/ 26 w 929"/>
                  <a:gd name="T33" fmla="*/ 838 h 988"/>
                  <a:gd name="T34" fmla="*/ 464 w 929"/>
                  <a:gd name="T35" fmla="*/ 988 h 988"/>
                  <a:gd name="T36" fmla="*/ 907 w 929"/>
                  <a:gd name="T37" fmla="*/ 838 h 988"/>
                  <a:gd name="T38" fmla="*/ 907 w 929"/>
                  <a:gd name="T39" fmla="*/ 134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9" h="988">
                    <a:moveTo>
                      <a:pt x="907" y="134"/>
                    </a:moveTo>
                    <a:cubicBezTo>
                      <a:pt x="902" y="96"/>
                      <a:pt x="763" y="32"/>
                      <a:pt x="656" y="0"/>
                    </a:cubicBezTo>
                    <a:cubicBezTo>
                      <a:pt x="651" y="27"/>
                      <a:pt x="640" y="59"/>
                      <a:pt x="624" y="91"/>
                    </a:cubicBezTo>
                    <a:cubicBezTo>
                      <a:pt x="678" y="494"/>
                      <a:pt x="678" y="494"/>
                      <a:pt x="678" y="494"/>
                    </a:cubicBezTo>
                    <a:cubicBezTo>
                      <a:pt x="560" y="634"/>
                      <a:pt x="560" y="634"/>
                      <a:pt x="560" y="634"/>
                    </a:cubicBezTo>
                    <a:cubicBezTo>
                      <a:pt x="496" y="204"/>
                      <a:pt x="496" y="204"/>
                      <a:pt x="496" y="204"/>
                    </a:cubicBezTo>
                    <a:cubicBezTo>
                      <a:pt x="539" y="182"/>
                      <a:pt x="539" y="182"/>
                      <a:pt x="539" y="182"/>
                    </a:cubicBezTo>
                    <a:cubicBezTo>
                      <a:pt x="507" y="75"/>
                      <a:pt x="507" y="75"/>
                      <a:pt x="507" y="75"/>
                    </a:cubicBezTo>
                    <a:cubicBezTo>
                      <a:pt x="422" y="75"/>
                      <a:pt x="422" y="75"/>
                      <a:pt x="422" y="75"/>
                    </a:cubicBezTo>
                    <a:cubicBezTo>
                      <a:pt x="390" y="182"/>
                      <a:pt x="390" y="182"/>
                      <a:pt x="390" y="182"/>
                    </a:cubicBezTo>
                    <a:cubicBezTo>
                      <a:pt x="432" y="204"/>
                      <a:pt x="432" y="204"/>
                      <a:pt x="432" y="204"/>
                    </a:cubicBezTo>
                    <a:cubicBezTo>
                      <a:pt x="368" y="634"/>
                      <a:pt x="368" y="634"/>
                      <a:pt x="368" y="634"/>
                    </a:cubicBezTo>
                    <a:cubicBezTo>
                      <a:pt x="256" y="494"/>
                      <a:pt x="256" y="494"/>
                      <a:pt x="256" y="494"/>
                    </a:cubicBezTo>
                    <a:cubicBezTo>
                      <a:pt x="309" y="91"/>
                      <a:pt x="309" y="91"/>
                      <a:pt x="309" y="91"/>
                    </a:cubicBezTo>
                    <a:cubicBezTo>
                      <a:pt x="293" y="59"/>
                      <a:pt x="283" y="32"/>
                      <a:pt x="277" y="0"/>
                    </a:cubicBezTo>
                    <a:cubicBezTo>
                      <a:pt x="171" y="32"/>
                      <a:pt x="32" y="96"/>
                      <a:pt x="26" y="134"/>
                    </a:cubicBezTo>
                    <a:cubicBezTo>
                      <a:pt x="10" y="220"/>
                      <a:pt x="0" y="569"/>
                      <a:pt x="26" y="838"/>
                    </a:cubicBezTo>
                    <a:cubicBezTo>
                      <a:pt x="32" y="956"/>
                      <a:pt x="235" y="988"/>
                      <a:pt x="464" y="988"/>
                    </a:cubicBezTo>
                    <a:cubicBezTo>
                      <a:pt x="699" y="988"/>
                      <a:pt x="897" y="956"/>
                      <a:pt x="907" y="838"/>
                    </a:cubicBezTo>
                    <a:cubicBezTo>
                      <a:pt x="929" y="569"/>
                      <a:pt x="918" y="220"/>
                      <a:pt x="907" y="134"/>
                    </a:cubicBezTo>
                    <a:close/>
                  </a:path>
                </a:pathLst>
              </a:custGeom>
              <a:solidFill>
                <a:schemeClr val="tx2"/>
              </a:solidFill>
              <a:ln>
                <a:noFill/>
              </a:ln>
            </p:spPr>
            <p:txBody>
              <a:bodyPr vert="horz" wrap="square" lIns="89619" tIns="44810" rIns="89619" bIns="44810" numCol="1" anchor="t" anchorCtr="0" compatLnSpc="1">
                <a:prstTxWarp prst="textNoShape">
                  <a:avLst/>
                </a:prstTxWarp>
              </a:bodyPr>
              <a:lstStyle/>
              <a:p>
                <a:pPr defTabSz="913946"/>
                <a:endParaRPr lang="en-US"/>
              </a:p>
            </p:txBody>
          </p:sp>
        </p:grpSp>
      </p:grpSp>
    </p:spTree>
    <p:extLst>
      <p:ext uri="{BB962C8B-B14F-4D97-AF65-F5344CB8AC3E}">
        <p14:creationId xmlns:p14="http://schemas.microsoft.com/office/powerpoint/2010/main" val="1675502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53" presetClass="entr" presetSubtype="16"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250" fill="hold"/>
                                        <p:tgtEl>
                                          <p:spTgt spid="4"/>
                                        </p:tgtEl>
                                        <p:attrNameLst>
                                          <p:attrName>ppt_w</p:attrName>
                                        </p:attrNameLst>
                                      </p:cBhvr>
                                      <p:tavLst>
                                        <p:tav tm="0">
                                          <p:val>
                                            <p:fltVal val="0"/>
                                          </p:val>
                                        </p:tav>
                                        <p:tav tm="100000">
                                          <p:val>
                                            <p:strVal val="#ppt_w"/>
                                          </p:val>
                                        </p:tav>
                                      </p:tavLst>
                                    </p:anim>
                                    <p:anim calcmode="lin" valueType="num">
                                      <p:cBhvr>
                                        <p:cTn id="13" dur="250" fill="hold"/>
                                        <p:tgtEl>
                                          <p:spTgt spid="4"/>
                                        </p:tgtEl>
                                        <p:attrNameLst>
                                          <p:attrName>ppt_h</p:attrName>
                                        </p:attrNameLst>
                                      </p:cBhvr>
                                      <p:tavLst>
                                        <p:tav tm="0">
                                          <p:val>
                                            <p:fltVal val="0"/>
                                          </p:val>
                                        </p:tav>
                                        <p:tav tm="100000">
                                          <p:val>
                                            <p:strVal val="#ppt_h"/>
                                          </p:val>
                                        </p:tav>
                                      </p:tavLst>
                                    </p:anim>
                                    <p:animEffect transition="in" filter="fade">
                                      <p:cBhvr>
                                        <p:cTn id="14" dur="250"/>
                                        <p:tgtEl>
                                          <p:spTgt spid="4"/>
                                        </p:tgtEl>
                                      </p:cBhvr>
                                    </p:animEffect>
                                  </p:childTnLst>
                                </p:cTn>
                              </p:par>
                              <p:par>
                                <p:cTn id="15" presetID="6" presetClass="emph" presetSubtype="0" decel="100000" fill="hold" nodeType="withEffect">
                                  <p:stCondLst>
                                    <p:cond delay="200"/>
                                  </p:stCondLst>
                                  <p:childTnLst>
                                    <p:animScale>
                                      <p:cBhvr>
                                        <p:cTn id="16" dur="250" fill="hold"/>
                                        <p:tgtEl>
                                          <p:spTgt spid="4"/>
                                        </p:tgtEl>
                                      </p:cBhvr>
                                      <p:by x="110000" y="110000"/>
                                    </p:animScale>
                                  </p:childTnLst>
                                </p:cTn>
                              </p:par>
                              <p:par>
                                <p:cTn id="17" presetID="6" presetClass="emph" presetSubtype="0" decel="100000" fill="hold" nodeType="withEffect">
                                  <p:stCondLst>
                                    <p:cond delay="300"/>
                                  </p:stCondLst>
                                  <p:childTnLst>
                                    <p:animScale>
                                      <p:cBhvr>
                                        <p:cTn id="18" dur="250" fill="hold"/>
                                        <p:tgtEl>
                                          <p:spTgt spid="4"/>
                                        </p:tgtEl>
                                      </p:cBhvr>
                                      <p:by x="91000" y="91000"/>
                                    </p:animScale>
                                  </p:childTnLst>
                                </p:cTn>
                              </p:par>
                            </p:childTnLst>
                          </p:cTn>
                        </p:par>
                        <p:par>
                          <p:cTn id="19" fill="hold">
                            <p:stCondLst>
                              <p:cond delay="1050"/>
                            </p:stCondLst>
                            <p:childTnLst>
                              <p:par>
                                <p:cTn id="20" presetID="2" presetClass="entr" presetSubtype="8" decel="100000" fill="hold" nodeType="afterEffect">
                                  <p:stCondLst>
                                    <p:cond delay="0"/>
                                  </p:stCondLst>
                                  <p:childTnLst>
                                    <p:set>
                                      <p:cBhvr>
                                        <p:cTn id="21" dur="1" fill="hold">
                                          <p:stCondLst>
                                            <p:cond delay="0"/>
                                          </p:stCondLst>
                                        </p:cTn>
                                        <p:tgtEl>
                                          <p:spTgt spid="60"/>
                                        </p:tgtEl>
                                        <p:attrNameLst>
                                          <p:attrName>style.visibility</p:attrName>
                                        </p:attrNameLst>
                                      </p:cBhvr>
                                      <p:to>
                                        <p:strVal val="visible"/>
                                      </p:to>
                                    </p:set>
                                    <p:anim calcmode="lin" valueType="num">
                                      <p:cBhvr additive="base">
                                        <p:cTn id="22" dur="750" fill="hold"/>
                                        <p:tgtEl>
                                          <p:spTgt spid="60"/>
                                        </p:tgtEl>
                                        <p:attrNameLst>
                                          <p:attrName>ppt_x</p:attrName>
                                        </p:attrNameLst>
                                      </p:cBhvr>
                                      <p:tavLst>
                                        <p:tav tm="0">
                                          <p:val>
                                            <p:strVal val="0-#ppt_w/2"/>
                                          </p:val>
                                        </p:tav>
                                        <p:tav tm="100000">
                                          <p:val>
                                            <p:strVal val="#ppt_x"/>
                                          </p:val>
                                        </p:tav>
                                      </p:tavLst>
                                    </p:anim>
                                    <p:anim calcmode="lin" valueType="num">
                                      <p:cBhvr additive="base">
                                        <p:cTn id="23" dur="750" fill="hold"/>
                                        <p:tgtEl>
                                          <p:spTgt spid="60"/>
                                        </p:tgtEl>
                                        <p:attrNameLst>
                                          <p:attrName>ppt_y</p:attrName>
                                        </p:attrNameLst>
                                      </p:cBhvr>
                                      <p:tavLst>
                                        <p:tav tm="0">
                                          <p:val>
                                            <p:strVal val="#ppt_y"/>
                                          </p:val>
                                        </p:tav>
                                        <p:tav tm="100000">
                                          <p:val>
                                            <p:strVal val="#ppt_y"/>
                                          </p:val>
                                        </p:tav>
                                      </p:tavLst>
                                    </p:anim>
                                  </p:childTnLst>
                                </p:cTn>
                              </p:par>
                              <p:par>
                                <p:cTn id="24" presetID="10" presetClass="entr" presetSubtype="0" fill="hold" grpId="0" nodeType="withEffect">
                                  <p:stCondLst>
                                    <p:cond delay="50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500"/>
                                        <p:tgtEl>
                                          <p:spTgt spid="74"/>
                                        </p:tgtEl>
                                      </p:cBhvr>
                                    </p:animEffect>
                                  </p:childTnLst>
                                </p:cTn>
                              </p:par>
                              <p:par>
                                <p:cTn id="27" presetID="2" presetClass="entr" presetSubtype="8" decel="100000" fill="hold" nodeType="withEffect">
                                  <p:stCondLst>
                                    <p:cond delay="100"/>
                                  </p:stCondLst>
                                  <p:childTnLst>
                                    <p:set>
                                      <p:cBhvr>
                                        <p:cTn id="28" dur="1" fill="hold">
                                          <p:stCondLst>
                                            <p:cond delay="0"/>
                                          </p:stCondLst>
                                        </p:cTn>
                                        <p:tgtEl>
                                          <p:spTgt spid="67"/>
                                        </p:tgtEl>
                                        <p:attrNameLst>
                                          <p:attrName>style.visibility</p:attrName>
                                        </p:attrNameLst>
                                      </p:cBhvr>
                                      <p:to>
                                        <p:strVal val="visible"/>
                                      </p:to>
                                    </p:set>
                                    <p:anim calcmode="lin" valueType="num">
                                      <p:cBhvr additive="base">
                                        <p:cTn id="29" dur="750" fill="hold"/>
                                        <p:tgtEl>
                                          <p:spTgt spid="67"/>
                                        </p:tgtEl>
                                        <p:attrNameLst>
                                          <p:attrName>ppt_x</p:attrName>
                                        </p:attrNameLst>
                                      </p:cBhvr>
                                      <p:tavLst>
                                        <p:tav tm="0">
                                          <p:val>
                                            <p:strVal val="0-#ppt_w/2"/>
                                          </p:val>
                                        </p:tav>
                                        <p:tav tm="100000">
                                          <p:val>
                                            <p:strVal val="#ppt_x"/>
                                          </p:val>
                                        </p:tav>
                                      </p:tavLst>
                                    </p:anim>
                                    <p:anim calcmode="lin" valueType="num">
                                      <p:cBhvr additive="base">
                                        <p:cTn id="30" dur="750" fill="hold"/>
                                        <p:tgtEl>
                                          <p:spTgt spid="67"/>
                                        </p:tgtEl>
                                        <p:attrNameLst>
                                          <p:attrName>ppt_y</p:attrName>
                                        </p:attrNameLst>
                                      </p:cBhvr>
                                      <p:tavLst>
                                        <p:tav tm="0">
                                          <p:val>
                                            <p:strVal val="#ppt_y"/>
                                          </p:val>
                                        </p:tav>
                                        <p:tav tm="100000">
                                          <p:val>
                                            <p:strVal val="#ppt_y"/>
                                          </p:val>
                                        </p:tav>
                                      </p:tavLst>
                                    </p:anim>
                                  </p:childTnLst>
                                </p:cTn>
                              </p:par>
                              <p:par>
                                <p:cTn id="31" presetID="10" presetClass="entr" presetSubtype="0" fill="hold" grpId="0" nodeType="withEffect">
                                  <p:stCondLst>
                                    <p:cond delay="600"/>
                                  </p:stCondLst>
                                  <p:childTnLst>
                                    <p:set>
                                      <p:cBhvr>
                                        <p:cTn id="32" dur="1" fill="hold">
                                          <p:stCondLst>
                                            <p:cond delay="0"/>
                                          </p:stCondLst>
                                        </p:cTn>
                                        <p:tgtEl>
                                          <p:spTgt spid="75"/>
                                        </p:tgtEl>
                                        <p:attrNameLst>
                                          <p:attrName>style.visibility</p:attrName>
                                        </p:attrNameLst>
                                      </p:cBhvr>
                                      <p:to>
                                        <p:strVal val="visible"/>
                                      </p:to>
                                    </p:set>
                                    <p:animEffect transition="in" filter="fade">
                                      <p:cBhvr>
                                        <p:cTn id="33" dur="500"/>
                                        <p:tgtEl>
                                          <p:spTgt spid="75"/>
                                        </p:tgtEl>
                                      </p:cBhvr>
                                    </p:animEffect>
                                  </p:childTnLst>
                                </p:cTn>
                              </p:par>
                              <p:par>
                                <p:cTn id="34" presetID="2" presetClass="entr" presetSubtype="8" decel="100000" fill="hold" nodeType="withEffect">
                                  <p:stCondLst>
                                    <p:cond delay="200"/>
                                  </p:stCondLst>
                                  <p:childTnLst>
                                    <p:set>
                                      <p:cBhvr>
                                        <p:cTn id="35" dur="1" fill="hold">
                                          <p:stCondLst>
                                            <p:cond delay="0"/>
                                          </p:stCondLst>
                                        </p:cTn>
                                        <p:tgtEl>
                                          <p:spTgt spid="48"/>
                                        </p:tgtEl>
                                        <p:attrNameLst>
                                          <p:attrName>style.visibility</p:attrName>
                                        </p:attrNameLst>
                                      </p:cBhvr>
                                      <p:to>
                                        <p:strVal val="visible"/>
                                      </p:to>
                                    </p:set>
                                    <p:anim calcmode="lin" valueType="num">
                                      <p:cBhvr additive="base">
                                        <p:cTn id="36" dur="750" fill="hold"/>
                                        <p:tgtEl>
                                          <p:spTgt spid="48"/>
                                        </p:tgtEl>
                                        <p:attrNameLst>
                                          <p:attrName>ppt_x</p:attrName>
                                        </p:attrNameLst>
                                      </p:cBhvr>
                                      <p:tavLst>
                                        <p:tav tm="0">
                                          <p:val>
                                            <p:strVal val="0-#ppt_w/2"/>
                                          </p:val>
                                        </p:tav>
                                        <p:tav tm="100000">
                                          <p:val>
                                            <p:strVal val="#ppt_x"/>
                                          </p:val>
                                        </p:tav>
                                      </p:tavLst>
                                    </p:anim>
                                    <p:anim calcmode="lin" valueType="num">
                                      <p:cBhvr additive="base">
                                        <p:cTn id="37" dur="750" fill="hold"/>
                                        <p:tgtEl>
                                          <p:spTgt spid="48"/>
                                        </p:tgtEl>
                                        <p:attrNameLst>
                                          <p:attrName>ppt_y</p:attrName>
                                        </p:attrNameLst>
                                      </p:cBhvr>
                                      <p:tavLst>
                                        <p:tav tm="0">
                                          <p:val>
                                            <p:strVal val="#ppt_y"/>
                                          </p:val>
                                        </p:tav>
                                        <p:tav tm="100000">
                                          <p:val>
                                            <p:strVal val="#ppt_y"/>
                                          </p:val>
                                        </p:tav>
                                      </p:tavLst>
                                    </p:anim>
                                  </p:childTnLst>
                                </p:cTn>
                              </p:par>
                              <p:par>
                                <p:cTn id="38" presetID="10" presetClass="entr" presetSubtype="0" fill="hold" grpId="0" nodeType="withEffect">
                                  <p:stCondLst>
                                    <p:cond delay="700"/>
                                  </p:stCondLst>
                                  <p:childTnLst>
                                    <p:set>
                                      <p:cBhvr>
                                        <p:cTn id="39" dur="1" fill="hold">
                                          <p:stCondLst>
                                            <p:cond delay="0"/>
                                          </p:stCondLst>
                                        </p:cTn>
                                        <p:tgtEl>
                                          <p:spTgt spid="76"/>
                                        </p:tgtEl>
                                        <p:attrNameLst>
                                          <p:attrName>style.visibility</p:attrName>
                                        </p:attrNameLst>
                                      </p:cBhvr>
                                      <p:to>
                                        <p:strVal val="visible"/>
                                      </p:to>
                                    </p:set>
                                    <p:animEffect transition="in" filter="fade">
                                      <p:cBhvr>
                                        <p:cTn id="40" dur="500"/>
                                        <p:tgtEl>
                                          <p:spTgt spid="76"/>
                                        </p:tgtEl>
                                      </p:cBhvr>
                                    </p:animEffect>
                                  </p:childTnLst>
                                </p:cTn>
                              </p:par>
                              <p:par>
                                <p:cTn id="41" presetID="2" presetClass="entr" presetSubtype="8" decel="100000" fill="hold" nodeType="withEffect">
                                  <p:stCondLst>
                                    <p:cond delay="300"/>
                                  </p:stCondLst>
                                  <p:childTnLst>
                                    <p:set>
                                      <p:cBhvr>
                                        <p:cTn id="42" dur="1" fill="hold">
                                          <p:stCondLst>
                                            <p:cond delay="0"/>
                                          </p:stCondLst>
                                        </p:cTn>
                                        <p:tgtEl>
                                          <p:spTgt spid="57"/>
                                        </p:tgtEl>
                                        <p:attrNameLst>
                                          <p:attrName>style.visibility</p:attrName>
                                        </p:attrNameLst>
                                      </p:cBhvr>
                                      <p:to>
                                        <p:strVal val="visible"/>
                                      </p:to>
                                    </p:set>
                                    <p:anim calcmode="lin" valueType="num">
                                      <p:cBhvr additive="base">
                                        <p:cTn id="43" dur="750" fill="hold"/>
                                        <p:tgtEl>
                                          <p:spTgt spid="57"/>
                                        </p:tgtEl>
                                        <p:attrNameLst>
                                          <p:attrName>ppt_x</p:attrName>
                                        </p:attrNameLst>
                                      </p:cBhvr>
                                      <p:tavLst>
                                        <p:tav tm="0">
                                          <p:val>
                                            <p:strVal val="0-#ppt_w/2"/>
                                          </p:val>
                                        </p:tav>
                                        <p:tav tm="100000">
                                          <p:val>
                                            <p:strVal val="#ppt_x"/>
                                          </p:val>
                                        </p:tav>
                                      </p:tavLst>
                                    </p:anim>
                                    <p:anim calcmode="lin" valueType="num">
                                      <p:cBhvr additive="base">
                                        <p:cTn id="44" dur="750" fill="hold"/>
                                        <p:tgtEl>
                                          <p:spTgt spid="57"/>
                                        </p:tgtEl>
                                        <p:attrNameLst>
                                          <p:attrName>ppt_y</p:attrName>
                                        </p:attrNameLst>
                                      </p:cBhvr>
                                      <p:tavLst>
                                        <p:tav tm="0">
                                          <p:val>
                                            <p:strVal val="#ppt_y"/>
                                          </p:val>
                                        </p:tav>
                                        <p:tav tm="100000">
                                          <p:val>
                                            <p:strVal val="#ppt_y"/>
                                          </p:val>
                                        </p:tav>
                                      </p:tavLst>
                                    </p:anim>
                                  </p:childTnLst>
                                </p:cTn>
                              </p:par>
                              <p:par>
                                <p:cTn id="45" presetID="10" presetClass="entr" presetSubtype="0" fill="hold" grpId="0" nodeType="withEffect">
                                  <p:stCondLst>
                                    <p:cond delay="800"/>
                                  </p:stCondLst>
                                  <p:childTnLst>
                                    <p:set>
                                      <p:cBhvr>
                                        <p:cTn id="46" dur="1" fill="hold">
                                          <p:stCondLst>
                                            <p:cond delay="0"/>
                                          </p:stCondLst>
                                        </p:cTn>
                                        <p:tgtEl>
                                          <p:spTgt spid="77"/>
                                        </p:tgtEl>
                                        <p:attrNameLst>
                                          <p:attrName>style.visibility</p:attrName>
                                        </p:attrNameLst>
                                      </p:cBhvr>
                                      <p:to>
                                        <p:strVal val="visible"/>
                                      </p:to>
                                    </p:set>
                                    <p:animEffect transition="in" filter="fade">
                                      <p:cBhvr>
                                        <p:cTn id="47" dur="500"/>
                                        <p:tgtEl>
                                          <p:spTgt spid="77"/>
                                        </p:tgtEl>
                                      </p:cBhvr>
                                    </p:animEffect>
                                  </p:childTnLst>
                                </p:cTn>
                              </p:par>
                              <p:par>
                                <p:cTn id="48" presetID="2" presetClass="entr" presetSubtype="8" decel="100000" fill="hold" nodeType="withEffect">
                                  <p:stCondLst>
                                    <p:cond delay="400"/>
                                  </p:stCondLst>
                                  <p:childTnLst>
                                    <p:set>
                                      <p:cBhvr>
                                        <p:cTn id="49" dur="1" fill="hold">
                                          <p:stCondLst>
                                            <p:cond delay="0"/>
                                          </p:stCondLst>
                                        </p:cTn>
                                        <p:tgtEl>
                                          <p:spTgt spid="52"/>
                                        </p:tgtEl>
                                        <p:attrNameLst>
                                          <p:attrName>style.visibility</p:attrName>
                                        </p:attrNameLst>
                                      </p:cBhvr>
                                      <p:to>
                                        <p:strVal val="visible"/>
                                      </p:to>
                                    </p:set>
                                    <p:anim calcmode="lin" valueType="num">
                                      <p:cBhvr additive="base">
                                        <p:cTn id="50" dur="750" fill="hold"/>
                                        <p:tgtEl>
                                          <p:spTgt spid="52"/>
                                        </p:tgtEl>
                                        <p:attrNameLst>
                                          <p:attrName>ppt_x</p:attrName>
                                        </p:attrNameLst>
                                      </p:cBhvr>
                                      <p:tavLst>
                                        <p:tav tm="0">
                                          <p:val>
                                            <p:strVal val="0-#ppt_w/2"/>
                                          </p:val>
                                        </p:tav>
                                        <p:tav tm="100000">
                                          <p:val>
                                            <p:strVal val="#ppt_x"/>
                                          </p:val>
                                        </p:tav>
                                      </p:tavLst>
                                    </p:anim>
                                    <p:anim calcmode="lin" valueType="num">
                                      <p:cBhvr additive="base">
                                        <p:cTn id="51" dur="750" fill="hold"/>
                                        <p:tgtEl>
                                          <p:spTgt spid="52"/>
                                        </p:tgtEl>
                                        <p:attrNameLst>
                                          <p:attrName>ppt_y</p:attrName>
                                        </p:attrNameLst>
                                      </p:cBhvr>
                                      <p:tavLst>
                                        <p:tav tm="0">
                                          <p:val>
                                            <p:strVal val="#ppt_y"/>
                                          </p:val>
                                        </p:tav>
                                        <p:tav tm="100000">
                                          <p:val>
                                            <p:strVal val="#ppt_y"/>
                                          </p:val>
                                        </p:tav>
                                      </p:tavLst>
                                    </p:anim>
                                  </p:childTnLst>
                                </p:cTn>
                              </p:par>
                              <p:par>
                                <p:cTn id="52" presetID="10" presetClass="entr" presetSubtype="0" fill="hold" grpId="0" nodeType="withEffect">
                                  <p:stCondLst>
                                    <p:cond delay="900"/>
                                  </p:stCondLst>
                                  <p:childTnLst>
                                    <p:set>
                                      <p:cBhvr>
                                        <p:cTn id="53" dur="1" fill="hold">
                                          <p:stCondLst>
                                            <p:cond delay="0"/>
                                          </p:stCondLst>
                                        </p:cTn>
                                        <p:tgtEl>
                                          <p:spTgt spid="78"/>
                                        </p:tgtEl>
                                        <p:attrNameLst>
                                          <p:attrName>style.visibility</p:attrName>
                                        </p:attrNameLst>
                                      </p:cBhvr>
                                      <p:to>
                                        <p:strVal val="visible"/>
                                      </p:to>
                                    </p:set>
                                    <p:animEffect transition="in" filter="fade">
                                      <p:cBhvr>
                                        <p:cTn id="54"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p:bldP spid="75" grpId="0"/>
      <p:bldP spid="76" grpId="0"/>
      <p:bldP spid="77" grpId="0"/>
      <p:bldP spid="78" grpId="0"/>
      <p:bldP spid="1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9"/>
          <p:cNvSpPr>
            <a:spLocks noEditPoints="1"/>
          </p:cNvSpPr>
          <p:nvPr/>
        </p:nvSpPr>
        <p:spPr bwMode="black">
          <a:xfrm>
            <a:off x="2757043" y="1961562"/>
            <a:ext cx="653347" cy="656001"/>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946"/>
            <a:endParaRPr lang="en-US" sz="3136">
              <a:gradFill>
                <a:gsLst>
                  <a:gs pos="0">
                    <a:srgbClr val="FFFFFF"/>
                  </a:gs>
                  <a:gs pos="100000">
                    <a:srgbClr val="FFFFFF"/>
                  </a:gs>
                </a:gsLst>
                <a:lin ang="5400000" scaled="0"/>
              </a:gradFill>
              <a:latin typeface="Segoe UI Light"/>
            </a:endParaRPr>
          </a:p>
        </p:txBody>
      </p:sp>
      <p:sp>
        <p:nvSpPr>
          <p:cNvPr id="384" name="bottom line" hidden="1"/>
          <p:cNvSpPr>
            <a:spLocks noEditPoints="1"/>
          </p:cNvSpPr>
          <p:nvPr/>
        </p:nvSpPr>
        <p:spPr bwMode="auto">
          <a:xfrm rot="5400000">
            <a:off x="8998796" y="4397544"/>
            <a:ext cx="274210" cy="82973"/>
          </a:xfrm>
          <a:custGeom>
            <a:avLst/>
            <a:gdLst>
              <a:gd name="T0" fmla="*/ 215 w 215"/>
              <a:gd name="T1" fmla="*/ 42 h 42"/>
              <a:gd name="T2" fmla="*/ 172 w 215"/>
              <a:gd name="T3" fmla="*/ 42 h 42"/>
              <a:gd name="T4" fmla="*/ 172 w 215"/>
              <a:gd name="T5" fmla="*/ 0 h 42"/>
              <a:gd name="T6" fmla="*/ 215 w 215"/>
              <a:gd name="T7" fmla="*/ 0 h 42"/>
              <a:gd name="T8" fmla="*/ 215 w 215"/>
              <a:gd name="T9" fmla="*/ 42 h 42"/>
              <a:gd name="T10" fmla="*/ 130 w 215"/>
              <a:gd name="T11" fmla="*/ 42 h 42"/>
              <a:gd name="T12" fmla="*/ 85 w 215"/>
              <a:gd name="T13" fmla="*/ 42 h 42"/>
              <a:gd name="T14" fmla="*/ 85 w 215"/>
              <a:gd name="T15" fmla="*/ 0 h 42"/>
              <a:gd name="T16" fmla="*/ 130 w 215"/>
              <a:gd name="T17" fmla="*/ 0 h 42"/>
              <a:gd name="T18" fmla="*/ 130 w 215"/>
              <a:gd name="T19" fmla="*/ 42 h 42"/>
              <a:gd name="T20" fmla="*/ 43 w 215"/>
              <a:gd name="T21" fmla="*/ 42 h 42"/>
              <a:gd name="T22" fmla="*/ 0 w 215"/>
              <a:gd name="T23" fmla="*/ 42 h 42"/>
              <a:gd name="T24" fmla="*/ 0 w 215"/>
              <a:gd name="T25" fmla="*/ 0 h 42"/>
              <a:gd name="T26" fmla="*/ 43 w 215"/>
              <a:gd name="T27" fmla="*/ 0 h 42"/>
              <a:gd name="T28" fmla="*/ 43 w 215"/>
              <a:gd name="T2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 h="42">
                <a:moveTo>
                  <a:pt x="215" y="42"/>
                </a:moveTo>
                <a:lnTo>
                  <a:pt x="172" y="42"/>
                </a:lnTo>
                <a:lnTo>
                  <a:pt x="172" y="0"/>
                </a:lnTo>
                <a:lnTo>
                  <a:pt x="215" y="0"/>
                </a:lnTo>
                <a:lnTo>
                  <a:pt x="215" y="42"/>
                </a:lnTo>
                <a:close/>
                <a:moveTo>
                  <a:pt x="130" y="42"/>
                </a:moveTo>
                <a:lnTo>
                  <a:pt x="85" y="42"/>
                </a:lnTo>
                <a:lnTo>
                  <a:pt x="85" y="0"/>
                </a:lnTo>
                <a:lnTo>
                  <a:pt x="130" y="0"/>
                </a:lnTo>
                <a:lnTo>
                  <a:pt x="130" y="42"/>
                </a:lnTo>
                <a:close/>
                <a:moveTo>
                  <a:pt x="43" y="42"/>
                </a:moveTo>
                <a:lnTo>
                  <a:pt x="0" y="42"/>
                </a:lnTo>
                <a:lnTo>
                  <a:pt x="0" y="0"/>
                </a:lnTo>
                <a:lnTo>
                  <a:pt x="43" y="0"/>
                </a:lnTo>
                <a:lnTo>
                  <a:pt x="4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10" tIns="38856" rIns="77710" bIns="38856" numCol="1" anchor="t" anchorCtr="0" compatLnSpc="1">
            <a:prstTxWarp prst="textNoShape">
              <a:avLst/>
            </a:prstTxWarp>
          </a:bodyPr>
          <a:lstStyle/>
          <a:p>
            <a:pPr defTabSz="777098"/>
            <a:endParaRPr lang="en-US" sz="1764" dirty="0">
              <a:solidFill>
                <a:srgbClr val="505050"/>
              </a:solidFill>
            </a:endParaRPr>
          </a:p>
        </p:txBody>
      </p:sp>
      <p:pic>
        <p:nvPicPr>
          <p:cNvPr id="385" name="MS" hidden="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67812" y="1955072"/>
            <a:ext cx="1203277" cy="1617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6" name="on premise"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25363" y="3852203"/>
            <a:ext cx="1399196" cy="1731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1" name="arrow cycle" hidden="1"/>
          <p:cNvSpPr>
            <a:spLocks noChangeAspect="1" noEditPoints="1"/>
          </p:cNvSpPr>
          <p:nvPr/>
        </p:nvSpPr>
        <p:spPr bwMode="auto">
          <a:xfrm rot="11880000">
            <a:off x="8115545" y="2402045"/>
            <a:ext cx="2091476" cy="1856409"/>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chemeClr val="accent2"/>
          </a:solidFill>
          <a:ln>
            <a:noFill/>
          </a:ln>
        </p:spPr>
        <p:txBody>
          <a:bodyPr vert="horz" wrap="square" lIns="77710" tIns="38856" rIns="77710" bIns="38856" numCol="1" anchor="t" anchorCtr="0" compatLnSpc="1">
            <a:prstTxWarp prst="textNoShape">
              <a:avLst/>
            </a:prstTxWarp>
          </a:bodyPr>
          <a:lstStyle/>
          <a:p>
            <a:pPr defTabSz="777098"/>
            <a:endParaRPr lang="en-US" sz="1764" dirty="0">
              <a:solidFill>
                <a:srgbClr val="505050"/>
              </a:solidFill>
            </a:endParaRPr>
          </a:p>
        </p:txBody>
      </p:sp>
      <p:grpSp>
        <p:nvGrpSpPr>
          <p:cNvPr id="392" name="final cloud" hidden="1"/>
          <p:cNvGrpSpPr/>
          <p:nvPr/>
        </p:nvGrpSpPr>
        <p:grpSpPr>
          <a:xfrm>
            <a:off x="6457151" y="1464069"/>
            <a:ext cx="5348799" cy="3129585"/>
            <a:chOff x="5094630" y="1421965"/>
            <a:chExt cx="6487484" cy="3680338"/>
          </a:xfrm>
        </p:grpSpPr>
        <p:sp>
          <p:nvSpPr>
            <p:cNvPr id="393" name="original cloud"/>
            <p:cNvSpPr>
              <a:spLocks noChangeAspect="1"/>
            </p:cNvSpPr>
            <p:nvPr/>
          </p:nvSpPr>
          <p:spPr bwMode="black">
            <a:xfrm>
              <a:off x="5094630" y="1421965"/>
              <a:ext cx="6487484" cy="368033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lumMod val="75000"/>
                <a:lumOff val="25000"/>
              </a:schemeClr>
            </a:solidFill>
            <a:ln>
              <a:noFill/>
            </a:ln>
            <a:extLst/>
          </p:spPr>
          <p:txBody>
            <a:bodyPr vert="horz" wrap="square" lIns="89619" tIns="44810" rIns="89619" bIns="44810" numCol="1" anchor="t" anchorCtr="0" compatLnSpc="1">
              <a:prstTxWarp prst="textNoShape">
                <a:avLst/>
              </a:prstTxWarp>
            </a:bodyPr>
            <a:lstStyle/>
            <a:p>
              <a:pPr defTabSz="777098"/>
              <a:endParaRPr lang="en-US" sz="1764" dirty="0">
                <a:solidFill>
                  <a:srgbClr val="505050"/>
                </a:solidFill>
              </a:endParaRPr>
            </a:p>
          </p:txBody>
        </p:sp>
        <p:sp>
          <p:nvSpPr>
            <p:cNvPr id="394" name="bottom line"/>
            <p:cNvSpPr>
              <a:spLocks noEditPoints="1"/>
            </p:cNvSpPr>
            <p:nvPr/>
          </p:nvSpPr>
          <p:spPr bwMode="auto">
            <a:xfrm rot="5400000">
              <a:off x="8279500" y="4871655"/>
              <a:ext cx="322466" cy="97620"/>
            </a:xfrm>
            <a:custGeom>
              <a:avLst/>
              <a:gdLst>
                <a:gd name="T0" fmla="*/ 215 w 215"/>
                <a:gd name="T1" fmla="*/ 42 h 42"/>
                <a:gd name="T2" fmla="*/ 172 w 215"/>
                <a:gd name="T3" fmla="*/ 42 h 42"/>
                <a:gd name="T4" fmla="*/ 172 w 215"/>
                <a:gd name="T5" fmla="*/ 0 h 42"/>
                <a:gd name="T6" fmla="*/ 215 w 215"/>
                <a:gd name="T7" fmla="*/ 0 h 42"/>
                <a:gd name="T8" fmla="*/ 215 w 215"/>
                <a:gd name="T9" fmla="*/ 42 h 42"/>
                <a:gd name="T10" fmla="*/ 130 w 215"/>
                <a:gd name="T11" fmla="*/ 42 h 42"/>
                <a:gd name="T12" fmla="*/ 85 w 215"/>
                <a:gd name="T13" fmla="*/ 42 h 42"/>
                <a:gd name="T14" fmla="*/ 85 w 215"/>
                <a:gd name="T15" fmla="*/ 0 h 42"/>
                <a:gd name="T16" fmla="*/ 130 w 215"/>
                <a:gd name="T17" fmla="*/ 0 h 42"/>
                <a:gd name="T18" fmla="*/ 130 w 215"/>
                <a:gd name="T19" fmla="*/ 42 h 42"/>
                <a:gd name="T20" fmla="*/ 43 w 215"/>
                <a:gd name="T21" fmla="*/ 42 h 42"/>
                <a:gd name="T22" fmla="*/ 0 w 215"/>
                <a:gd name="T23" fmla="*/ 42 h 42"/>
                <a:gd name="T24" fmla="*/ 0 w 215"/>
                <a:gd name="T25" fmla="*/ 0 h 42"/>
                <a:gd name="T26" fmla="*/ 43 w 215"/>
                <a:gd name="T27" fmla="*/ 0 h 42"/>
                <a:gd name="T28" fmla="*/ 43 w 215"/>
                <a:gd name="T2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 h="42">
                  <a:moveTo>
                    <a:pt x="215" y="42"/>
                  </a:moveTo>
                  <a:lnTo>
                    <a:pt x="172" y="42"/>
                  </a:lnTo>
                  <a:lnTo>
                    <a:pt x="172" y="0"/>
                  </a:lnTo>
                  <a:lnTo>
                    <a:pt x="215" y="0"/>
                  </a:lnTo>
                  <a:lnTo>
                    <a:pt x="215" y="42"/>
                  </a:lnTo>
                  <a:close/>
                  <a:moveTo>
                    <a:pt x="130" y="42"/>
                  </a:moveTo>
                  <a:lnTo>
                    <a:pt x="85" y="42"/>
                  </a:lnTo>
                  <a:lnTo>
                    <a:pt x="85" y="0"/>
                  </a:lnTo>
                  <a:lnTo>
                    <a:pt x="130" y="0"/>
                  </a:lnTo>
                  <a:lnTo>
                    <a:pt x="130" y="42"/>
                  </a:lnTo>
                  <a:close/>
                  <a:moveTo>
                    <a:pt x="43" y="42"/>
                  </a:moveTo>
                  <a:lnTo>
                    <a:pt x="0" y="42"/>
                  </a:lnTo>
                  <a:lnTo>
                    <a:pt x="0" y="0"/>
                  </a:lnTo>
                  <a:lnTo>
                    <a:pt x="43" y="0"/>
                  </a:lnTo>
                  <a:lnTo>
                    <a:pt x="4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777098"/>
              <a:endParaRPr lang="en-US" sz="1764" dirty="0">
                <a:solidFill>
                  <a:srgbClr val="505050"/>
                </a:solidFill>
              </a:endParaRPr>
            </a:p>
          </p:txBody>
        </p:sp>
        <p:pic>
          <p:nvPicPr>
            <p:cNvPr id="395" name="M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1750" y="1999374"/>
              <a:ext cx="1415685" cy="1901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6" name="on premis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04677" y="4230371"/>
              <a:ext cx="1646189" cy="203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7" name="one consistent platform"/>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37605" y="3274069"/>
              <a:ext cx="1511730" cy="735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8" name="Service Provide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14587" y="3971053"/>
              <a:ext cx="1212073" cy="462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9" name="left line"/>
            <p:cNvSpPr>
              <a:spLocks noEditPoints="1"/>
            </p:cNvSpPr>
            <p:nvPr/>
          </p:nvSpPr>
          <p:spPr bwMode="auto">
            <a:xfrm rot="1143405">
              <a:off x="6102449" y="3254211"/>
              <a:ext cx="1231844" cy="85991"/>
            </a:xfrm>
            <a:custGeom>
              <a:avLst/>
              <a:gdLst>
                <a:gd name="T0" fmla="*/ 39 w 588"/>
                <a:gd name="T1" fmla="*/ 40 h 40"/>
                <a:gd name="T2" fmla="*/ 0 w 588"/>
                <a:gd name="T3" fmla="*/ 40 h 40"/>
                <a:gd name="T4" fmla="*/ 0 w 588"/>
                <a:gd name="T5" fmla="*/ 0 h 40"/>
                <a:gd name="T6" fmla="*/ 39 w 588"/>
                <a:gd name="T7" fmla="*/ 0 h 40"/>
                <a:gd name="T8" fmla="*/ 39 w 588"/>
                <a:gd name="T9" fmla="*/ 40 h 40"/>
                <a:gd name="T10" fmla="*/ 588 w 588"/>
                <a:gd name="T11" fmla="*/ 0 h 40"/>
                <a:gd name="T12" fmla="*/ 549 w 588"/>
                <a:gd name="T13" fmla="*/ 0 h 40"/>
                <a:gd name="T14" fmla="*/ 549 w 588"/>
                <a:gd name="T15" fmla="*/ 40 h 40"/>
                <a:gd name="T16" fmla="*/ 588 w 588"/>
                <a:gd name="T17" fmla="*/ 40 h 40"/>
                <a:gd name="T18" fmla="*/ 588 w 588"/>
                <a:gd name="T19" fmla="*/ 0 h 40"/>
                <a:gd name="T20" fmla="*/ 510 w 588"/>
                <a:gd name="T21" fmla="*/ 0 h 40"/>
                <a:gd name="T22" fmla="*/ 471 w 588"/>
                <a:gd name="T23" fmla="*/ 0 h 40"/>
                <a:gd name="T24" fmla="*/ 471 w 588"/>
                <a:gd name="T25" fmla="*/ 40 h 40"/>
                <a:gd name="T26" fmla="*/ 510 w 588"/>
                <a:gd name="T27" fmla="*/ 40 h 40"/>
                <a:gd name="T28" fmla="*/ 510 w 588"/>
                <a:gd name="T29" fmla="*/ 0 h 40"/>
                <a:gd name="T30" fmla="*/ 431 w 588"/>
                <a:gd name="T31" fmla="*/ 0 h 40"/>
                <a:gd name="T32" fmla="*/ 392 w 588"/>
                <a:gd name="T33" fmla="*/ 0 h 40"/>
                <a:gd name="T34" fmla="*/ 392 w 588"/>
                <a:gd name="T35" fmla="*/ 40 h 40"/>
                <a:gd name="T36" fmla="*/ 431 w 588"/>
                <a:gd name="T37" fmla="*/ 40 h 40"/>
                <a:gd name="T38" fmla="*/ 431 w 588"/>
                <a:gd name="T39" fmla="*/ 0 h 40"/>
                <a:gd name="T40" fmla="*/ 353 w 588"/>
                <a:gd name="T41" fmla="*/ 0 h 40"/>
                <a:gd name="T42" fmla="*/ 314 w 588"/>
                <a:gd name="T43" fmla="*/ 0 h 40"/>
                <a:gd name="T44" fmla="*/ 314 w 588"/>
                <a:gd name="T45" fmla="*/ 40 h 40"/>
                <a:gd name="T46" fmla="*/ 353 w 588"/>
                <a:gd name="T47" fmla="*/ 40 h 40"/>
                <a:gd name="T48" fmla="*/ 353 w 588"/>
                <a:gd name="T49" fmla="*/ 0 h 40"/>
                <a:gd name="T50" fmla="*/ 274 w 588"/>
                <a:gd name="T51" fmla="*/ 0 h 40"/>
                <a:gd name="T52" fmla="*/ 235 w 588"/>
                <a:gd name="T53" fmla="*/ 0 h 40"/>
                <a:gd name="T54" fmla="*/ 235 w 588"/>
                <a:gd name="T55" fmla="*/ 40 h 40"/>
                <a:gd name="T56" fmla="*/ 274 w 588"/>
                <a:gd name="T57" fmla="*/ 40 h 40"/>
                <a:gd name="T58" fmla="*/ 274 w 588"/>
                <a:gd name="T59" fmla="*/ 0 h 40"/>
                <a:gd name="T60" fmla="*/ 196 w 588"/>
                <a:gd name="T61" fmla="*/ 0 h 40"/>
                <a:gd name="T62" fmla="*/ 156 w 588"/>
                <a:gd name="T63" fmla="*/ 0 h 40"/>
                <a:gd name="T64" fmla="*/ 156 w 588"/>
                <a:gd name="T65" fmla="*/ 40 h 40"/>
                <a:gd name="T66" fmla="*/ 196 w 588"/>
                <a:gd name="T67" fmla="*/ 40 h 40"/>
                <a:gd name="T68" fmla="*/ 196 w 588"/>
                <a:gd name="T69" fmla="*/ 0 h 40"/>
                <a:gd name="T70" fmla="*/ 117 w 588"/>
                <a:gd name="T71" fmla="*/ 0 h 40"/>
                <a:gd name="T72" fmla="*/ 78 w 588"/>
                <a:gd name="T73" fmla="*/ 0 h 40"/>
                <a:gd name="T74" fmla="*/ 78 w 588"/>
                <a:gd name="T75" fmla="*/ 40 h 40"/>
                <a:gd name="T76" fmla="*/ 117 w 588"/>
                <a:gd name="T77" fmla="*/ 40 h 40"/>
                <a:gd name="T78" fmla="*/ 117 w 588"/>
                <a:gd name="T7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40">
                  <a:moveTo>
                    <a:pt x="39" y="40"/>
                  </a:moveTo>
                  <a:lnTo>
                    <a:pt x="0" y="40"/>
                  </a:lnTo>
                  <a:lnTo>
                    <a:pt x="0" y="0"/>
                  </a:lnTo>
                  <a:lnTo>
                    <a:pt x="39" y="0"/>
                  </a:lnTo>
                  <a:lnTo>
                    <a:pt x="39" y="40"/>
                  </a:lnTo>
                  <a:close/>
                  <a:moveTo>
                    <a:pt x="588" y="0"/>
                  </a:moveTo>
                  <a:lnTo>
                    <a:pt x="549" y="0"/>
                  </a:lnTo>
                  <a:lnTo>
                    <a:pt x="549" y="40"/>
                  </a:lnTo>
                  <a:lnTo>
                    <a:pt x="588" y="40"/>
                  </a:lnTo>
                  <a:lnTo>
                    <a:pt x="588" y="0"/>
                  </a:lnTo>
                  <a:close/>
                  <a:moveTo>
                    <a:pt x="510" y="0"/>
                  </a:moveTo>
                  <a:lnTo>
                    <a:pt x="471" y="0"/>
                  </a:lnTo>
                  <a:lnTo>
                    <a:pt x="471" y="40"/>
                  </a:lnTo>
                  <a:lnTo>
                    <a:pt x="510" y="40"/>
                  </a:lnTo>
                  <a:lnTo>
                    <a:pt x="510" y="0"/>
                  </a:lnTo>
                  <a:close/>
                  <a:moveTo>
                    <a:pt x="431" y="0"/>
                  </a:moveTo>
                  <a:lnTo>
                    <a:pt x="392" y="0"/>
                  </a:lnTo>
                  <a:lnTo>
                    <a:pt x="392" y="40"/>
                  </a:lnTo>
                  <a:lnTo>
                    <a:pt x="431" y="40"/>
                  </a:lnTo>
                  <a:lnTo>
                    <a:pt x="431" y="0"/>
                  </a:lnTo>
                  <a:close/>
                  <a:moveTo>
                    <a:pt x="353" y="0"/>
                  </a:moveTo>
                  <a:lnTo>
                    <a:pt x="314" y="0"/>
                  </a:lnTo>
                  <a:lnTo>
                    <a:pt x="314" y="40"/>
                  </a:lnTo>
                  <a:lnTo>
                    <a:pt x="353" y="40"/>
                  </a:lnTo>
                  <a:lnTo>
                    <a:pt x="353" y="0"/>
                  </a:lnTo>
                  <a:close/>
                  <a:moveTo>
                    <a:pt x="274" y="0"/>
                  </a:moveTo>
                  <a:lnTo>
                    <a:pt x="235" y="0"/>
                  </a:lnTo>
                  <a:lnTo>
                    <a:pt x="235" y="40"/>
                  </a:lnTo>
                  <a:lnTo>
                    <a:pt x="274" y="40"/>
                  </a:lnTo>
                  <a:lnTo>
                    <a:pt x="274" y="0"/>
                  </a:lnTo>
                  <a:close/>
                  <a:moveTo>
                    <a:pt x="196" y="0"/>
                  </a:moveTo>
                  <a:lnTo>
                    <a:pt x="156" y="0"/>
                  </a:lnTo>
                  <a:lnTo>
                    <a:pt x="156" y="40"/>
                  </a:lnTo>
                  <a:lnTo>
                    <a:pt x="196" y="40"/>
                  </a:lnTo>
                  <a:lnTo>
                    <a:pt x="196" y="0"/>
                  </a:lnTo>
                  <a:close/>
                  <a:moveTo>
                    <a:pt x="117" y="0"/>
                  </a:moveTo>
                  <a:lnTo>
                    <a:pt x="78" y="0"/>
                  </a:lnTo>
                  <a:lnTo>
                    <a:pt x="78" y="40"/>
                  </a:lnTo>
                  <a:lnTo>
                    <a:pt x="117" y="40"/>
                  </a:lnTo>
                  <a:lnTo>
                    <a:pt x="1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777098"/>
              <a:endParaRPr lang="en-US" sz="1764" dirty="0">
                <a:solidFill>
                  <a:srgbClr val="505050"/>
                </a:solidFill>
              </a:endParaRPr>
            </a:p>
          </p:txBody>
        </p:sp>
        <p:sp>
          <p:nvSpPr>
            <p:cNvPr id="400" name="right line"/>
            <p:cNvSpPr>
              <a:spLocks noEditPoints="1"/>
            </p:cNvSpPr>
            <p:nvPr/>
          </p:nvSpPr>
          <p:spPr bwMode="auto">
            <a:xfrm rot="20326157">
              <a:off x="9556248" y="3007456"/>
              <a:ext cx="1721303" cy="90646"/>
            </a:xfrm>
            <a:custGeom>
              <a:avLst/>
              <a:gdLst>
                <a:gd name="T0" fmla="*/ 39 w 896"/>
                <a:gd name="T1" fmla="*/ 39 h 39"/>
                <a:gd name="T2" fmla="*/ 0 w 896"/>
                <a:gd name="T3" fmla="*/ 39 h 39"/>
                <a:gd name="T4" fmla="*/ 0 w 896"/>
                <a:gd name="T5" fmla="*/ 0 h 39"/>
                <a:gd name="T6" fmla="*/ 39 w 896"/>
                <a:gd name="T7" fmla="*/ 0 h 39"/>
                <a:gd name="T8" fmla="*/ 39 w 896"/>
                <a:gd name="T9" fmla="*/ 39 h 39"/>
                <a:gd name="T10" fmla="*/ 896 w 896"/>
                <a:gd name="T11" fmla="*/ 0 h 39"/>
                <a:gd name="T12" fmla="*/ 857 w 896"/>
                <a:gd name="T13" fmla="*/ 0 h 39"/>
                <a:gd name="T14" fmla="*/ 857 w 896"/>
                <a:gd name="T15" fmla="*/ 39 h 39"/>
                <a:gd name="T16" fmla="*/ 896 w 896"/>
                <a:gd name="T17" fmla="*/ 39 h 39"/>
                <a:gd name="T18" fmla="*/ 896 w 896"/>
                <a:gd name="T19" fmla="*/ 0 h 39"/>
                <a:gd name="T20" fmla="*/ 818 w 896"/>
                <a:gd name="T21" fmla="*/ 0 h 39"/>
                <a:gd name="T22" fmla="*/ 780 w 896"/>
                <a:gd name="T23" fmla="*/ 0 h 39"/>
                <a:gd name="T24" fmla="*/ 780 w 896"/>
                <a:gd name="T25" fmla="*/ 39 h 39"/>
                <a:gd name="T26" fmla="*/ 818 w 896"/>
                <a:gd name="T27" fmla="*/ 39 h 39"/>
                <a:gd name="T28" fmla="*/ 818 w 896"/>
                <a:gd name="T29" fmla="*/ 0 h 39"/>
                <a:gd name="T30" fmla="*/ 741 w 896"/>
                <a:gd name="T31" fmla="*/ 0 h 39"/>
                <a:gd name="T32" fmla="*/ 702 w 896"/>
                <a:gd name="T33" fmla="*/ 0 h 39"/>
                <a:gd name="T34" fmla="*/ 702 w 896"/>
                <a:gd name="T35" fmla="*/ 39 h 39"/>
                <a:gd name="T36" fmla="*/ 741 w 896"/>
                <a:gd name="T37" fmla="*/ 39 h 39"/>
                <a:gd name="T38" fmla="*/ 741 w 896"/>
                <a:gd name="T39" fmla="*/ 0 h 39"/>
                <a:gd name="T40" fmla="*/ 662 w 896"/>
                <a:gd name="T41" fmla="*/ 0 h 39"/>
                <a:gd name="T42" fmla="*/ 623 w 896"/>
                <a:gd name="T43" fmla="*/ 0 h 39"/>
                <a:gd name="T44" fmla="*/ 623 w 896"/>
                <a:gd name="T45" fmla="*/ 39 h 39"/>
                <a:gd name="T46" fmla="*/ 662 w 896"/>
                <a:gd name="T47" fmla="*/ 39 h 39"/>
                <a:gd name="T48" fmla="*/ 662 w 896"/>
                <a:gd name="T49" fmla="*/ 0 h 39"/>
                <a:gd name="T50" fmla="*/ 584 w 896"/>
                <a:gd name="T51" fmla="*/ 0 h 39"/>
                <a:gd name="T52" fmla="*/ 545 w 896"/>
                <a:gd name="T53" fmla="*/ 0 h 39"/>
                <a:gd name="T54" fmla="*/ 545 w 896"/>
                <a:gd name="T55" fmla="*/ 39 h 39"/>
                <a:gd name="T56" fmla="*/ 584 w 896"/>
                <a:gd name="T57" fmla="*/ 39 h 39"/>
                <a:gd name="T58" fmla="*/ 584 w 896"/>
                <a:gd name="T59" fmla="*/ 0 h 39"/>
                <a:gd name="T60" fmla="*/ 507 w 896"/>
                <a:gd name="T61" fmla="*/ 0 h 39"/>
                <a:gd name="T62" fmla="*/ 468 w 896"/>
                <a:gd name="T63" fmla="*/ 0 h 39"/>
                <a:gd name="T64" fmla="*/ 468 w 896"/>
                <a:gd name="T65" fmla="*/ 39 h 39"/>
                <a:gd name="T66" fmla="*/ 507 w 896"/>
                <a:gd name="T67" fmla="*/ 39 h 39"/>
                <a:gd name="T68" fmla="*/ 507 w 896"/>
                <a:gd name="T69" fmla="*/ 0 h 39"/>
                <a:gd name="T70" fmla="*/ 428 w 896"/>
                <a:gd name="T71" fmla="*/ 0 h 39"/>
                <a:gd name="T72" fmla="*/ 389 w 896"/>
                <a:gd name="T73" fmla="*/ 0 h 39"/>
                <a:gd name="T74" fmla="*/ 389 w 896"/>
                <a:gd name="T75" fmla="*/ 39 h 39"/>
                <a:gd name="T76" fmla="*/ 428 w 896"/>
                <a:gd name="T77" fmla="*/ 39 h 39"/>
                <a:gd name="T78" fmla="*/ 428 w 896"/>
                <a:gd name="T79" fmla="*/ 0 h 39"/>
                <a:gd name="T80" fmla="*/ 350 w 896"/>
                <a:gd name="T81" fmla="*/ 0 h 39"/>
                <a:gd name="T82" fmla="*/ 311 w 896"/>
                <a:gd name="T83" fmla="*/ 0 h 39"/>
                <a:gd name="T84" fmla="*/ 311 w 896"/>
                <a:gd name="T85" fmla="*/ 39 h 39"/>
                <a:gd name="T86" fmla="*/ 350 w 896"/>
                <a:gd name="T87" fmla="*/ 39 h 39"/>
                <a:gd name="T88" fmla="*/ 350 w 896"/>
                <a:gd name="T89" fmla="*/ 0 h 39"/>
                <a:gd name="T90" fmla="*/ 273 w 896"/>
                <a:gd name="T91" fmla="*/ 0 h 39"/>
                <a:gd name="T92" fmla="*/ 234 w 896"/>
                <a:gd name="T93" fmla="*/ 0 h 39"/>
                <a:gd name="T94" fmla="*/ 234 w 896"/>
                <a:gd name="T95" fmla="*/ 39 h 39"/>
                <a:gd name="T96" fmla="*/ 273 w 896"/>
                <a:gd name="T97" fmla="*/ 39 h 39"/>
                <a:gd name="T98" fmla="*/ 273 w 896"/>
                <a:gd name="T99" fmla="*/ 0 h 39"/>
                <a:gd name="T100" fmla="*/ 195 w 896"/>
                <a:gd name="T101" fmla="*/ 0 h 39"/>
                <a:gd name="T102" fmla="*/ 155 w 896"/>
                <a:gd name="T103" fmla="*/ 0 h 39"/>
                <a:gd name="T104" fmla="*/ 155 w 896"/>
                <a:gd name="T105" fmla="*/ 39 h 39"/>
                <a:gd name="T106" fmla="*/ 195 w 896"/>
                <a:gd name="T107" fmla="*/ 39 h 39"/>
                <a:gd name="T108" fmla="*/ 195 w 896"/>
                <a:gd name="T109" fmla="*/ 0 h 39"/>
                <a:gd name="T110" fmla="*/ 116 w 896"/>
                <a:gd name="T111" fmla="*/ 0 h 39"/>
                <a:gd name="T112" fmla="*/ 77 w 896"/>
                <a:gd name="T113" fmla="*/ 0 h 39"/>
                <a:gd name="T114" fmla="*/ 77 w 896"/>
                <a:gd name="T115" fmla="*/ 39 h 39"/>
                <a:gd name="T116" fmla="*/ 116 w 896"/>
                <a:gd name="T117" fmla="*/ 39 h 39"/>
                <a:gd name="T118" fmla="*/ 116 w 896"/>
                <a:gd name="T1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96" h="39">
                  <a:moveTo>
                    <a:pt x="39" y="39"/>
                  </a:moveTo>
                  <a:lnTo>
                    <a:pt x="0" y="39"/>
                  </a:lnTo>
                  <a:lnTo>
                    <a:pt x="0" y="0"/>
                  </a:lnTo>
                  <a:lnTo>
                    <a:pt x="39" y="0"/>
                  </a:lnTo>
                  <a:lnTo>
                    <a:pt x="39" y="39"/>
                  </a:lnTo>
                  <a:close/>
                  <a:moveTo>
                    <a:pt x="896" y="0"/>
                  </a:moveTo>
                  <a:lnTo>
                    <a:pt x="857" y="0"/>
                  </a:lnTo>
                  <a:lnTo>
                    <a:pt x="857" y="39"/>
                  </a:lnTo>
                  <a:lnTo>
                    <a:pt x="896" y="39"/>
                  </a:lnTo>
                  <a:lnTo>
                    <a:pt x="896" y="0"/>
                  </a:lnTo>
                  <a:close/>
                  <a:moveTo>
                    <a:pt x="818" y="0"/>
                  </a:moveTo>
                  <a:lnTo>
                    <a:pt x="780" y="0"/>
                  </a:lnTo>
                  <a:lnTo>
                    <a:pt x="780" y="39"/>
                  </a:lnTo>
                  <a:lnTo>
                    <a:pt x="818" y="39"/>
                  </a:lnTo>
                  <a:lnTo>
                    <a:pt x="818" y="0"/>
                  </a:lnTo>
                  <a:close/>
                  <a:moveTo>
                    <a:pt x="741" y="0"/>
                  </a:moveTo>
                  <a:lnTo>
                    <a:pt x="702" y="0"/>
                  </a:lnTo>
                  <a:lnTo>
                    <a:pt x="702" y="39"/>
                  </a:lnTo>
                  <a:lnTo>
                    <a:pt x="741" y="39"/>
                  </a:lnTo>
                  <a:lnTo>
                    <a:pt x="741" y="0"/>
                  </a:lnTo>
                  <a:close/>
                  <a:moveTo>
                    <a:pt x="662" y="0"/>
                  </a:moveTo>
                  <a:lnTo>
                    <a:pt x="623" y="0"/>
                  </a:lnTo>
                  <a:lnTo>
                    <a:pt x="623" y="39"/>
                  </a:lnTo>
                  <a:lnTo>
                    <a:pt x="662" y="39"/>
                  </a:lnTo>
                  <a:lnTo>
                    <a:pt x="662" y="0"/>
                  </a:lnTo>
                  <a:close/>
                  <a:moveTo>
                    <a:pt x="584" y="0"/>
                  </a:moveTo>
                  <a:lnTo>
                    <a:pt x="545" y="0"/>
                  </a:lnTo>
                  <a:lnTo>
                    <a:pt x="545" y="39"/>
                  </a:lnTo>
                  <a:lnTo>
                    <a:pt x="584" y="39"/>
                  </a:lnTo>
                  <a:lnTo>
                    <a:pt x="584" y="0"/>
                  </a:lnTo>
                  <a:close/>
                  <a:moveTo>
                    <a:pt x="507" y="0"/>
                  </a:moveTo>
                  <a:lnTo>
                    <a:pt x="468" y="0"/>
                  </a:lnTo>
                  <a:lnTo>
                    <a:pt x="468" y="39"/>
                  </a:lnTo>
                  <a:lnTo>
                    <a:pt x="507" y="39"/>
                  </a:lnTo>
                  <a:lnTo>
                    <a:pt x="507" y="0"/>
                  </a:lnTo>
                  <a:close/>
                  <a:moveTo>
                    <a:pt x="428" y="0"/>
                  </a:moveTo>
                  <a:lnTo>
                    <a:pt x="389" y="0"/>
                  </a:lnTo>
                  <a:lnTo>
                    <a:pt x="389" y="39"/>
                  </a:lnTo>
                  <a:lnTo>
                    <a:pt x="428" y="39"/>
                  </a:lnTo>
                  <a:lnTo>
                    <a:pt x="428" y="0"/>
                  </a:lnTo>
                  <a:close/>
                  <a:moveTo>
                    <a:pt x="350" y="0"/>
                  </a:moveTo>
                  <a:lnTo>
                    <a:pt x="311" y="0"/>
                  </a:lnTo>
                  <a:lnTo>
                    <a:pt x="311" y="39"/>
                  </a:lnTo>
                  <a:lnTo>
                    <a:pt x="350" y="39"/>
                  </a:lnTo>
                  <a:lnTo>
                    <a:pt x="350" y="0"/>
                  </a:lnTo>
                  <a:close/>
                  <a:moveTo>
                    <a:pt x="273" y="0"/>
                  </a:moveTo>
                  <a:lnTo>
                    <a:pt x="234" y="0"/>
                  </a:lnTo>
                  <a:lnTo>
                    <a:pt x="234" y="39"/>
                  </a:lnTo>
                  <a:lnTo>
                    <a:pt x="273" y="39"/>
                  </a:lnTo>
                  <a:lnTo>
                    <a:pt x="273" y="0"/>
                  </a:lnTo>
                  <a:close/>
                  <a:moveTo>
                    <a:pt x="195" y="0"/>
                  </a:moveTo>
                  <a:lnTo>
                    <a:pt x="155" y="0"/>
                  </a:lnTo>
                  <a:lnTo>
                    <a:pt x="155" y="39"/>
                  </a:lnTo>
                  <a:lnTo>
                    <a:pt x="195" y="39"/>
                  </a:lnTo>
                  <a:lnTo>
                    <a:pt x="195" y="0"/>
                  </a:lnTo>
                  <a:close/>
                  <a:moveTo>
                    <a:pt x="116" y="0"/>
                  </a:moveTo>
                  <a:lnTo>
                    <a:pt x="77" y="0"/>
                  </a:lnTo>
                  <a:lnTo>
                    <a:pt x="77" y="39"/>
                  </a:lnTo>
                  <a:lnTo>
                    <a:pt x="116" y="39"/>
                  </a:lnTo>
                  <a:lnTo>
                    <a:pt x="1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777098"/>
              <a:endParaRPr lang="en-US" sz="1764" dirty="0">
                <a:solidFill>
                  <a:srgbClr val="505050"/>
                </a:solidFill>
              </a:endParaRPr>
            </a:p>
          </p:txBody>
        </p:sp>
        <p:sp>
          <p:nvSpPr>
            <p:cNvPr id="401" name="arrow cycle"/>
            <p:cNvSpPr>
              <a:spLocks noChangeAspect="1" noEditPoints="1"/>
            </p:cNvSpPr>
            <p:nvPr/>
          </p:nvSpPr>
          <p:spPr bwMode="auto">
            <a:xfrm rot="11880000">
              <a:off x="7240262" y="2525008"/>
              <a:ext cx="2460673" cy="2183106"/>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pPr defTabSz="777098"/>
              <a:endParaRPr lang="en-US" sz="1764" dirty="0">
                <a:solidFill>
                  <a:srgbClr val="505050"/>
                </a:solidFill>
              </a:endParaRPr>
            </a:p>
          </p:txBody>
        </p:sp>
      </p:grpSp>
      <p:sp>
        <p:nvSpPr>
          <p:cNvPr id="5" name="Title 4"/>
          <p:cNvSpPr>
            <a:spLocks noGrp="1"/>
          </p:cNvSpPr>
          <p:nvPr>
            <p:ph type="title"/>
          </p:nvPr>
        </p:nvSpPr>
        <p:spPr>
          <a:xfrm>
            <a:off x="2545600" y="221546"/>
            <a:ext cx="8567287" cy="747713"/>
          </a:xfrm>
        </p:spPr>
        <p:txBody>
          <a:bodyPr/>
          <a:lstStyle/>
          <a:p>
            <a:r>
              <a:rPr lang="en-US" dirty="0" smtClean="0">
                <a:solidFill>
                  <a:schemeClr val="bg1"/>
                </a:solidFill>
              </a:rPr>
              <a:t>Think AND not OR</a:t>
            </a:r>
            <a:endParaRPr lang="en-US" dirty="0">
              <a:solidFill>
                <a:schemeClr val="bg1"/>
              </a:solidFill>
            </a:endParaRPr>
          </a:p>
        </p:txBody>
      </p:sp>
      <p:sp>
        <p:nvSpPr>
          <p:cNvPr id="111" name="Rectangle 110"/>
          <p:cNvSpPr/>
          <p:nvPr/>
        </p:nvSpPr>
        <p:spPr bwMode="auto">
          <a:xfrm>
            <a:off x="3703827" y="1947988"/>
            <a:ext cx="2592581" cy="2090927"/>
          </a:xfrm>
          <a:prstGeom prst="rect">
            <a:avLst/>
          </a:prstGeom>
          <a:solidFill>
            <a:srgbClr val="00188F"/>
          </a:solidFill>
          <a:ln w="50800" cap="sq" cmpd="sng" algn="ctr">
            <a:solidFill>
              <a:srgbClr val="00188F"/>
            </a:solidFill>
            <a:prstDash val="solid"/>
            <a:miter lim="800000"/>
            <a:headEnd type="none" w="med" len="med"/>
            <a:tailEnd type="none" w="med" len="med"/>
          </a:ln>
          <a:effectLst/>
        </p:spPr>
        <p:txBody>
          <a:bodyPr vert="horz" wrap="square" lIns="0" tIns="268857" rIns="0" bIns="46618" numCol="1" rtlCol="0" anchor="t" anchorCtr="0" compatLnSpc="1">
            <a:prstTxWarp prst="textNoShape">
              <a:avLst/>
            </a:prstTxWarp>
          </a:bodyPr>
          <a:lstStyle/>
          <a:p>
            <a:pPr algn="ctr" defTabSz="932103">
              <a:defRPr/>
            </a:pPr>
            <a:endParaRPr lang="en-US" sz="3136" kern="0" dirty="0">
              <a:gradFill>
                <a:gsLst>
                  <a:gs pos="0">
                    <a:srgbClr val="FFFFFF"/>
                  </a:gs>
                  <a:gs pos="100000">
                    <a:srgbClr val="FFFFFF"/>
                  </a:gs>
                </a:gsLst>
                <a:lin ang="5400000" scaled="0"/>
              </a:gradFill>
              <a:latin typeface="Segoe UI Light"/>
            </a:endParaRPr>
          </a:p>
        </p:txBody>
      </p:sp>
      <p:sp>
        <p:nvSpPr>
          <p:cNvPr id="112" name="Oval 111"/>
          <p:cNvSpPr/>
          <p:nvPr/>
        </p:nvSpPr>
        <p:spPr bwMode="auto">
          <a:xfrm>
            <a:off x="3701604" y="2849488"/>
            <a:ext cx="2601776" cy="2582723"/>
          </a:xfrm>
          <a:prstGeom prst="ellipse">
            <a:avLst/>
          </a:prstGeom>
          <a:solidFill>
            <a:srgbClr val="FFFFFF"/>
          </a:solidFill>
          <a:ln w="47625" cap="flat" cmpd="sng" algn="ctr">
            <a:solidFill>
              <a:srgbClr val="00188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defRPr/>
            </a:pPr>
            <a:endParaRPr lang="en-US" sz="1960" kern="0" spc="-49" dirty="0">
              <a:ln w="15875">
                <a:noFill/>
              </a:ln>
              <a:gradFill>
                <a:gsLst>
                  <a:gs pos="1250">
                    <a:srgbClr val="EFEFEF"/>
                  </a:gs>
                  <a:gs pos="10417">
                    <a:srgbClr val="EFEFEF"/>
                  </a:gs>
                </a:gsLst>
                <a:lin ang="5400000" scaled="0"/>
              </a:gradFill>
              <a:latin typeface="Segoe UI"/>
            </a:endParaRPr>
          </a:p>
        </p:txBody>
      </p:sp>
      <p:sp>
        <p:nvSpPr>
          <p:cNvPr id="113" name="Freeform 8"/>
          <p:cNvSpPr>
            <a:spLocks noEditPoints="1"/>
          </p:cNvSpPr>
          <p:nvPr/>
        </p:nvSpPr>
        <p:spPr bwMode="auto">
          <a:xfrm>
            <a:off x="4102537" y="3673773"/>
            <a:ext cx="1799910" cy="934150"/>
          </a:xfrm>
          <a:custGeom>
            <a:avLst/>
            <a:gdLst>
              <a:gd name="T0" fmla="*/ 202 w 251"/>
              <a:gd name="T1" fmla="*/ 60 h 133"/>
              <a:gd name="T2" fmla="*/ 43 w 251"/>
              <a:gd name="T3" fmla="*/ 0 h 133"/>
              <a:gd name="T4" fmla="*/ 37 w 251"/>
              <a:gd name="T5" fmla="*/ 29 h 133"/>
              <a:gd name="T6" fmla="*/ 0 w 251"/>
              <a:gd name="T7" fmla="*/ 41 h 133"/>
              <a:gd name="T8" fmla="*/ 37 w 251"/>
              <a:gd name="T9" fmla="*/ 87 h 133"/>
              <a:gd name="T10" fmla="*/ 0 w 251"/>
              <a:gd name="T11" fmla="*/ 99 h 133"/>
              <a:gd name="T12" fmla="*/ 37 w 251"/>
              <a:gd name="T13" fmla="*/ 127 h 133"/>
              <a:gd name="T14" fmla="*/ 120 w 251"/>
              <a:gd name="T15" fmla="*/ 133 h 133"/>
              <a:gd name="T16" fmla="*/ 251 w 251"/>
              <a:gd name="T17" fmla="*/ 72 h 133"/>
              <a:gd name="T18" fmla="*/ 120 w 251"/>
              <a:gd name="T19" fmla="*/ 121 h 133"/>
              <a:gd name="T20" fmla="*/ 49 w 251"/>
              <a:gd name="T21" fmla="*/ 12 h 133"/>
              <a:gd name="T22" fmla="*/ 191 w 251"/>
              <a:gd name="T23" fmla="*/ 66 h 133"/>
              <a:gd name="T24" fmla="*/ 78 w 251"/>
              <a:gd name="T25" fmla="*/ 50 h 133"/>
              <a:gd name="T26" fmla="*/ 70 w 251"/>
              <a:gd name="T27" fmla="*/ 83 h 133"/>
              <a:gd name="T28" fmla="*/ 87 w 251"/>
              <a:gd name="T29" fmla="*/ 74 h 133"/>
              <a:gd name="T30" fmla="*/ 95 w 251"/>
              <a:gd name="T31" fmla="*/ 83 h 133"/>
              <a:gd name="T32" fmla="*/ 78 w 251"/>
              <a:gd name="T33" fmla="*/ 50 h 133"/>
              <a:gd name="T34" fmla="*/ 80 w 251"/>
              <a:gd name="T35" fmla="*/ 56 h 133"/>
              <a:gd name="T36" fmla="*/ 80 w 251"/>
              <a:gd name="T37" fmla="*/ 54 h 133"/>
              <a:gd name="T38" fmla="*/ 86 w 251"/>
              <a:gd name="T39" fmla="*/ 70 h 133"/>
              <a:gd name="T40" fmla="*/ 137 w 251"/>
              <a:gd name="T41" fmla="*/ 50 h 133"/>
              <a:gd name="T42" fmla="*/ 128 w 251"/>
              <a:gd name="T43" fmla="*/ 83 h 133"/>
              <a:gd name="T44" fmla="*/ 150 w 251"/>
              <a:gd name="T45" fmla="*/ 79 h 133"/>
              <a:gd name="T46" fmla="*/ 137 w 251"/>
              <a:gd name="T47" fmla="*/ 50 h 133"/>
              <a:gd name="T48" fmla="*/ 137 w 251"/>
              <a:gd name="T49" fmla="*/ 80 h 133"/>
              <a:gd name="T50" fmla="*/ 132 w 251"/>
              <a:gd name="T51" fmla="*/ 53 h 133"/>
              <a:gd name="T52" fmla="*/ 151 w 251"/>
              <a:gd name="T53" fmla="*/ 66 h 133"/>
              <a:gd name="T54" fmla="*/ 119 w 251"/>
              <a:gd name="T55" fmla="*/ 50 h 133"/>
              <a:gd name="T56" fmla="*/ 123 w 251"/>
              <a:gd name="T57" fmla="*/ 83 h 133"/>
              <a:gd name="T58" fmla="*/ 101 w 251"/>
              <a:gd name="T59" fmla="*/ 56 h 133"/>
              <a:gd name="T60" fmla="*/ 100 w 251"/>
              <a:gd name="T61" fmla="*/ 54 h 133"/>
              <a:gd name="T62" fmla="*/ 100 w 251"/>
              <a:gd name="T63" fmla="*/ 83 h 133"/>
              <a:gd name="T64" fmla="*/ 96 w 251"/>
              <a:gd name="T65" fmla="*/ 50 h 133"/>
              <a:gd name="T66" fmla="*/ 118 w 251"/>
              <a:gd name="T67" fmla="*/ 76 h 133"/>
              <a:gd name="T68" fmla="*/ 120 w 251"/>
              <a:gd name="T69" fmla="*/ 78 h 133"/>
              <a:gd name="T70" fmla="*/ 119 w 251"/>
              <a:gd name="T71"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33">
                <a:moveTo>
                  <a:pt x="251" y="60"/>
                </a:moveTo>
                <a:cubicBezTo>
                  <a:pt x="202" y="60"/>
                  <a:pt x="202" y="60"/>
                  <a:pt x="202" y="60"/>
                </a:cubicBezTo>
                <a:cubicBezTo>
                  <a:pt x="199" y="26"/>
                  <a:pt x="163" y="0"/>
                  <a:pt x="120" y="0"/>
                </a:cubicBezTo>
                <a:cubicBezTo>
                  <a:pt x="43" y="0"/>
                  <a:pt x="43" y="0"/>
                  <a:pt x="43" y="0"/>
                </a:cubicBezTo>
                <a:cubicBezTo>
                  <a:pt x="40" y="0"/>
                  <a:pt x="37" y="2"/>
                  <a:pt x="37" y="6"/>
                </a:cubicBezTo>
                <a:cubicBezTo>
                  <a:pt x="37" y="29"/>
                  <a:pt x="37" y="29"/>
                  <a:pt x="37" y="29"/>
                </a:cubicBezTo>
                <a:cubicBezTo>
                  <a:pt x="0" y="29"/>
                  <a:pt x="0" y="29"/>
                  <a:pt x="0" y="29"/>
                </a:cubicBezTo>
                <a:cubicBezTo>
                  <a:pt x="0" y="41"/>
                  <a:pt x="0" y="41"/>
                  <a:pt x="0" y="41"/>
                </a:cubicBezTo>
                <a:cubicBezTo>
                  <a:pt x="37" y="41"/>
                  <a:pt x="37" y="41"/>
                  <a:pt x="37" y="41"/>
                </a:cubicBezTo>
                <a:cubicBezTo>
                  <a:pt x="37" y="87"/>
                  <a:pt x="37" y="87"/>
                  <a:pt x="37" y="87"/>
                </a:cubicBezTo>
                <a:cubicBezTo>
                  <a:pt x="0" y="87"/>
                  <a:pt x="0" y="87"/>
                  <a:pt x="0" y="87"/>
                </a:cubicBezTo>
                <a:cubicBezTo>
                  <a:pt x="0" y="99"/>
                  <a:pt x="0" y="99"/>
                  <a:pt x="0" y="99"/>
                </a:cubicBezTo>
                <a:cubicBezTo>
                  <a:pt x="37" y="99"/>
                  <a:pt x="37" y="99"/>
                  <a:pt x="37" y="99"/>
                </a:cubicBezTo>
                <a:cubicBezTo>
                  <a:pt x="37" y="127"/>
                  <a:pt x="37" y="127"/>
                  <a:pt x="37" y="127"/>
                </a:cubicBezTo>
                <a:cubicBezTo>
                  <a:pt x="37" y="130"/>
                  <a:pt x="40" y="133"/>
                  <a:pt x="43" y="133"/>
                </a:cubicBezTo>
                <a:cubicBezTo>
                  <a:pt x="120" y="133"/>
                  <a:pt x="120" y="133"/>
                  <a:pt x="120" y="133"/>
                </a:cubicBezTo>
                <a:cubicBezTo>
                  <a:pt x="163" y="133"/>
                  <a:pt x="199" y="106"/>
                  <a:pt x="202" y="72"/>
                </a:cubicBezTo>
                <a:cubicBezTo>
                  <a:pt x="251" y="72"/>
                  <a:pt x="251" y="72"/>
                  <a:pt x="251" y="72"/>
                </a:cubicBezTo>
                <a:lnTo>
                  <a:pt x="251" y="60"/>
                </a:lnTo>
                <a:close/>
                <a:moveTo>
                  <a:pt x="120" y="121"/>
                </a:moveTo>
                <a:cubicBezTo>
                  <a:pt x="49" y="121"/>
                  <a:pt x="49" y="121"/>
                  <a:pt x="49" y="121"/>
                </a:cubicBezTo>
                <a:cubicBezTo>
                  <a:pt x="49" y="12"/>
                  <a:pt x="49" y="12"/>
                  <a:pt x="49" y="12"/>
                </a:cubicBezTo>
                <a:cubicBezTo>
                  <a:pt x="120" y="12"/>
                  <a:pt x="120" y="12"/>
                  <a:pt x="120" y="12"/>
                </a:cubicBezTo>
                <a:cubicBezTo>
                  <a:pt x="159" y="12"/>
                  <a:pt x="191" y="36"/>
                  <a:pt x="191" y="66"/>
                </a:cubicBezTo>
                <a:cubicBezTo>
                  <a:pt x="191" y="96"/>
                  <a:pt x="159" y="121"/>
                  <a:pt x="120" y="121"/>
                </a:cubicBezTo>
                <a:close/>
                <a:moveTo>
                  <a:pt x="78" y="50"/>
                </a:moveTo>
                <a:cubicBezTo>
                  <a:pt x="65" y="83"/>
                  <a:pt x="65" y="83"/>
                  <a:pt x="65" y="83"/>
                </a:cubicBezTo>
                <a:cubicBezTo>
                  <a:pt x="70" y="83"/>
                  <a:pt x="70" y="83"/>
                  <a:pt x="70" y="83"/>
                </a:cubicBezTo>
                <a:cubicBezTo>
                  <a:pt x="73" y="74"/>
                  <a:pt x="73" y="74"/>
                  <a:pt x="73" y="74"/>
                </a:cubicBezTo>
                <a:cubicBezTo>
                  <a:pt x="87" y="74"/>
                  <a:pt x="87" y="74"/>
                  <a:pt x="87" y="74"/>
                </a:cubicBezTo>
                <a:cubicBezTo>
                  <a:pt x="91" y="83"/>
                  <a:pt x="91" y="83"/>
                  <a:pt x="91" y="83"/>
                </a:cubicBezTo>
                <a:cubicBezTo>
                  <a:pt x="95" y="83"/>
                  <a:pt x="95" y="83"/>
                  <a:pt x="95" y="83"/>
                </a:cubicBezTo>
                <a:cubicBezTo>
                  <a:pt x="82" y="50"/>
                  <a:pt x="82" y="50"/>
                  <a:pt x="82" y="50"/>
                </a:cubicBezTo>
                <a:lnTo>
                  <a:pt x="78" y="50"/>
                </a:lnTo>
                <a:close/>
                <a:moveTo>
                  <a:pt x="74" y="70"/>
                </a:moveTo>
                <a:cubicBezTo>
                  <a:pt x="80" y="56"/>
                  <a:pt x="80" y="56"/>
                  <a:pt x="80" y="56"/>
                </a:cubicBezTo>
                <a:cubicBezTo>
                  <a:pt x="80" y="55"/>
                  <a:pt x="80" y="55"/>
                  <a:pt x="80" y="54"/>
                </a:cubicBezTo>
                <a:cubicBezTo>
                  <a:pt x="80" y="54"/>
                  <a:pt x="80" y="54"/>
                  <a:pt x="80" y="54"/>
                </a:cubicBezTo>
                <a:cubicBezTo>
                  <a:pt x="80" y="55"/>
                  <a:pt x="81" y="56"/>
                  <a:pt x="81" y="56"/>
                </a:cubicBezTo>
                <a:cubicBezTo>
                  <a:pt x="86" y="70"/>
                  <a:pt x="86" y="70"/>
                  <a:pt x="86" y="70"/>
                </a:cubicBezTo>
                <a:lnTo>
                  <a:pt x="74" y="70"/>
                </a:lnTo>
                <a:close/>
                <a:moveTo>
                  <a:pt x="137" y="50"/>
                </a:moveTo>
                <a:cubicBezTo>
                  <a:pt x="128" y="50"/>
                  <a:pt x="128" y="50"/>
                  <a:pt x="128" y="50"/>
                </a:cubicBezTo>
                <a:cubicBezTo>
                  <a:pt x="128" y="83"/>
                  <a:pt x="128" y="83"/>
                  <a:pt x="128" y="83"/>
                </a:cubicBezTo>
                <a:cubicBezTo>
                  <a:pt x="137" y="83"/>
                  <a:pt x="137" y="83"/>
                  <a:pt x="137" y="83"/>
                </a:cubicBezTo>
                <a:cubicBezTo>
                  <a:pt x="142" y="83"/>
                  <a:pt x="147" y="82"/>
                  <a:pt x="150" y="79"/>
                </a:cubicBezTo>
                <a:cubicBezTo>
                  <a:pt x="153" y="75"/>
                  <a:pt x="155" y="71"/>
                  <a:pt x="155" y="66"/>
                </a:cubicBezTo>
                <a:cubicBezTo>
                  <a:pt x="155" y="55"/>
                  <a:pt x="149" y="50"/>
                  <a:pt x="137" y="50"/>
                </a:cubicBezTo>
                <a:close/>
                <a:moveTo>
                  <a:pt x="147" y="76"/>
                </a:moveTo>
                <a:cubicBezTo>
                  <a:pt x="145" y="79"/>
                  <a:pt x="141" y="80"/>
                  <a:pt x="137" y="80"/>
                </a:cubicBezTo>
                <a:cubicBezTo>
                  <a:pt x="132" y="80"/>
                  <a:pt x="132" y="80"/>
                  <a:pt x="132" y="80"/>
                </a:cubicBezTo>
                <a:cubicBezTo>
                  <a:pt x="132" y="53"/>
                  <a:pt x="132" y="53"/>
                  <a:pt x="132" y="53"/>
                </a:cubicBezTo>
                <a:cubicBezTo>
                  <a:pt x="137" y="53"/>
                  <a:pt x="137" y="53"/>
                  <a:pt x="137" y="53"/>
                </a:cubicBezTo>
                <a:cubicBezTo>
                  <a:pt x="146" y="53"/>
                  <a:pt x="151" y="58"/>
                  <a:pt x="151" y="66"/>
                </a:cubicBezTo>
                <a:cubicBezTo>
                  <a:pt x="151" y="70"/>
                  <a:pt x="150" y="74"/>
                  <a:pt x="147" y="76"/>
                </a:cubicBezTo>
                <a:close/>
                <a:moveTo>
                  <a:pt x="119" y="50"/>
                </a:moveTo>
                <a:cubicBezTo>
                  <a:pt x="123" y="50"/>
                  <a:pt x="123" y="50"/>
                  <a:pt x="123" y="50"/>
                </a:cubicBezTo>
                <a:cubicBezTo>
                  <a:pt x="123" y="83"/>
                  <a:pt x="123" y="83"/>
                  <a:pt x="123" y="83"/>
                </a:cubicBezTo>
                <a:cubicBezTo>
                  <a:pt x="118" y="83"/>
                  <a:pt x="118" y="83"/>
                  <a:pt x="118" y="83"/>
                </a:cubicBezTo>
                <a:cubicBezTo>
                  <a:pt x="101" y="56"/>
                  <a:pt x="101" y="56"/>
                  <a:pt x="101" y="56"/>
                </a:cubicBezTo>
                <a:cubicBezTo>
                  <a:pt x="101" y="56"/>
                  <a:pt x="100" y="55"/>
                  <a:pt x="100" y="54"/>
                </a:cubicBezTo>
                <a:cubicBezTo>
                  <a:pt x="100" y="54"/>
                  <a:pt x="100" y="54"/>
                  <a:pt x="100" y="54"/>
                </a:cubicBezTo>
                <a:cubicBezTo>
                  <a:pt x="100" y="55"/>
                  <a:pt x="100" y="57"/>
                  <a:pt x="100" y="59"/>
                </a:cubicBezTo>
                <a:cubicBezTo>
                  <a:pt x="100" y="83"/>
                  <a:pt x="100" y="83"/>
                  <a:pt x="100" y="83"/>
                </a:cubicBezTo>
                <a:cubicBezTo>
                  <a:pt x="96" y="83"/>
                  <a:pt x="96" y="83"/>
                  <a:pt x="96" y="83"/>
                </a:cubicBezTo>
                <a:cubicBezTo>
                  <a:pt x="96" y="50"/>
                  <a:pt x="96" y="50"/>
                  <a:pt x="96" y="50"/>
                </a:cubicBezTo>
                <a:cubicBezTo>
                  <a:pt x="101" y="50"/>
                  <a:pt x="101" y="50"/>
                  <a:pt x="101" y="50"/>
                </a:cubicBezTo>
                <a:cubicBezTo>
                  <a:pt x="118" y="76"/>
                  <a:pt x="118" y="76"/>
                  <a:pt x="118" y="76"/>
                </a:cubicBezTo>
                <a:cubicBezTo>
                  <a:pt x="119" y="77"/>
                  <a:pt x="119" y="78"/>
                  <a:pt x="119" y="78"/>
                </a:cubicBezTo>
                <a:cubicBezTo>
                  <a:pt x="120" y="78"/>
                  <a:pt x="120" y="78"/>
                  <a:pt x="120" y="78"/>
                </a:cubicBezTo>
                <a:cubicBezTo>
                  <a:pt x="119" y="77"/>
                  <a:pt x="119" y="76"/>
                  <a:pt x="119" y="73"/>
                </a:cubicBezTo>
                <a:lnTo>
                  <a:pt x="119" y="50"/>
                </a:lnTo>
                <a:close/>
              </a:path>
            </a:pathLst>
          </a:custGeom>
          <a:solidFill>
            <a:srgbClr val="00188F"/>
          </a:solidFill>
          <a:ln>
            <a:noFill/>
          </a:ln>
        </p:spPr>
        <p:txBody>
          <a:bodyPr vert="horz" wrap="square" lIns="89619" tIns="44810" rIns="89619" bIns="44810" numCol="1" anchor="t" anchorCtr="0" compatLnSpc="1">
            <a:prstTxWarp prst="textNoShape">
              <a:avLst/>
            </a:prstTxWarp>
          </a:bodyPr>
          <a:lstStyle/>
          <a:p>
            <a:pPr defTabSz="913946">
              <a:defRPr/>
            </a:pPr>
            <a:endParaRPr lang="en-US" kern="0">
              <a:solidFill>
                <a:srgbClr val="505050"/>
              </a:solidFill>
              <a:latin typeface="Segoe UI"/>
            </a:endParaRPr>
          </a:p>
        </p:txBody>
      </p:sp>
      <p:sp>
        <p:nvSpPr>
          <p:cNvPr id="114" name="Rectangle 113"/>
          <p:cNvSpPr/>
          <p:nvPr/>
        </p:nvSpPr>
        <p:spPr bwMode="auto">
          <a:xfrm>
            <a:off x="6312435" y="1947988"/>
            <a:ext cx="93795" cy="4719681"/>
          </a:xfrm>
          <a:prstGeom prst="rect">
            <a:avLst/>
          </a:prstGeom>
          <a:solidFill>
            <a:srgbClr val="FFFFFF"/>
          </a:solidFill>
          <a:ln w="1079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defRPr/>
            </a:pPr>
            <a:endParaRPr lang="en-US" sz="1960" kern="0" spc="-49" dirty="0">
              <a:gradFill>
                <a:gsLst>
                  <a:gs pos="1250">
                    <a:srgbClr val="EFEFEF"/>
                  </a:gs>
                  <a:gs pos="10417">
                    <a:srgbClr val="EFEFEF"/>
                  </a:gs>
                </a:gsLst>
                <a:lin ang="5400000" scaled="0"/>
              </a:gradFill>
              <a:latin typeface="Segoe UI"/>
            </a:endParaRPr>
          </a:p>
        </p:txBody>
      </p:sp>
      <p:pic>
        <p:nvPicPr>
          <p:cNvPr id="115" name="Picture 2" descr="\\MAGNUM\Projects\Microsoft\Cloud Power FY12\Design\ICONS_PNG\Tower.png"/>
          <p:cNvPicPr>
            <a:picLocks noChangeAspect="1" noChangeArrowheads="1"/>
          </p:cNvPicPr>
          <p:nvPr/>
        </p:nvPicPr>
        <p:blipFill>
          <a:blip r:embed="rId7" cstate="print">
            <a:lum bright="100000"/>
          </a:blip>
          <a:stretch>
            <a:fillRect/>
          </a:stretch>
        </p:blipFill>
        <p:spPr bwMode="auto">
          <a:xfrm flipH="1">
            <a:off x="7040252" y="3047299"/>
            <a:ext cx="1899428" cy="1899428"/>
          </a:xfrm>
          <a:prstGeom prst="rect">
            <a:avLst/>
          </a:prstGeom>
          <a:noFill/>
        </p:spPr>
      </p:pic>
      <p:sp>
        <p:nvSpPr>
          <p:cNvPr id="116" name="Rectangle 115"/>
          <p:cNvSpPr/>
          <p:nvPr/>
        </p:nvSpPr>
        <p:spPr>
          <a:xfrm>
            <a:off x="6882991" y="5047090"/>
            <a:ext cx="2205990" cy="400110"/>
          </a:xfrm>
          <a:prstGeom prst="rect">
            <a:avLst/>
          </a:prstGeom>
        </p:spPr>
        <p:txBody>
          <a:bodyPr wrap="none">
            <a:spAutoFit/>
          </a:bodyPr>
          <a:lstStyle/>
          <a:p>
            <a:pPr algn="ctr" defTabSz="1624320">
              <a:lnSpc>
                <a:spcPts val="2352"/>
              </a:lnSpc>
            </a:pPr>
            <a:r>
              <a:rPr lang="en-US" sz="3136" spc="-100" dirty="0">
                <a:ln w="3175">
                  <a:noFill/>
                </a:ln>
                <a:gradFill>
                  <a:gsLst>
                    <a:gs pos="1250">
                      <a:srgbClr val="FFFFFF"/>
                    </a:gs>
                    <a:gs pos="100000">
                      <a:srgbClr val="FFFFFF"/>
                    </a:gs>
                  </a:gsLst>
                  <a:lin ang="5400000" scaled="0"/>
                </a:gradFill>
                <a:latin typeface="Segoe UI Light"/>
                <a:cs typeface="Segoe UI" pitchFamily="34" charset="0"/>
              </a:rPr>
              <a:t>On-premises</a:t>
            </a:r>
          </a:p>
        </p:txBody>
      </p:sp>
      <p:sp>
        <p:nvSpPr>
          <p:cNvPr id="117" name="Freeform 128"/>
          <p:cNvSpPr>
            <a:spLocks noChangeAspect="1"/>
          </p:cNvSpPr>
          <p:nvPr/>
        </p:nvSpPr>
        <p:spPr bwMode="black">
          <a:xfrm>
            <a:off x="9826742" y="3534859"/>
            <a:ext cx="1673214" cy="92430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10795" cap="flat" cmpd="sng" algn="ctr">
            <a:noFill/>
            <a:prstDash val="solid"/>
          </a:ln>
          <a:effectLst/>
          <a:ex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defRPr/>
            </a:pPr>
            <a:endParaRPr lang="en-US" sz="1960" kern="0" spc="-49">
              <a:gradFill>
                <a:gsLst>
                  <a:gs pos="1250">
                    <a:srgbClr val="EFEFEF"/>
                  </a:gs>
                  <a:gs pos="10417">
                    <a:srgbClr val="EFEFEF"/>
                  </a:gs>
                </a:gsLst>
                <a:lin ang="5400000" scaled="0"/>
              </a:gradFill>
              <a:latin typeface="Segoe UI"/>
            </a:endParaRPr>
          </a:p>
        </p:txBody>
      </p:sp>
      <p:sp>
        <p:nvSpPr>
          <p:cNvPr id="118" name="Rectangle 117"/>
          <p:cNvSpPr/>
          <p:nvPr/>
        </p:nvSpPr>
        <p:spPr>
          <a:xfrm>
            <a:off x="10100884" y="5065715"/>
            <a:ext cx="1119217" cy="400110"/>
          </a:xfrm>
          <a:prstGeom prst="rect">
            <a:avLst/>
          </a:prstGeom>
        </p:spPr>
        <p:txBody>
          <a:bodyPr wrap="none">
            <a:spAutoFit/>
          </a:bodyPr>
          <a:lstStyle/>
          <a:p>
            <a:pPr algn="ctr" defTabSz="1624320">
              <a:lnSpc>
                <a:spcPts val="2352"/>
              </a:lnSpc>
            </a:pPr>
            <a:r>
              <a:rPr lang="en-US" sz="3136" spc="-100" dirty="0">
                <a:ln w="3175">
                  <a:noFill/>
                </a:ln>
                <a:gradFill>
                  <a:gsLst>
                    <a:gs pos="1250">
                      <a:srgbClr val="FFFFFF"/>
                    </a:gs>
                    <a:gs pos="100000">
                      <a:srgbClr val="FFFFFF"/>
                    </a:gs>
                  </a:gsLst>
                  <a:lin ang="5400000" scaled="0"/>
                </a:gradFill>
                <a:latin typeface="Segoe UI Light"/>
                <a:cs typeface="Segoe UI" pitchFamily="34" charset="0"/>
              </a:rPr>
              <a:t>Cloud</a:t>
            </a:r>
          </a:p>
        </p:txBody>
      </p:sp>
      <p:sp>
        <p:nvSpPr>
          <p:cNvPr id="119" name="Freeform 7"/>
          <p:cNvSpPr>
            <a:spLocks noEditPoints="1"/>
          </p:cNvSpPr>
          <p:nvPr/>
        </p:nvSpPr>
        <p:spPr bwMode="black">
          <a:xfrm>
            <a:off x="9033644" y="3973409"/>
            <a:ext cx="587008" cy="519106"/>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946"/>
            <a:endParaRPr lang="en-US">
              <a:solidFill>
                <a:srgbClr val="505050"/>
              </a:solidFill>
              <a:latin typeface="Segoe UI"/>
            </a:endParaRPr>
          </a:p>
        </p:txBody>
      </p:sp>
      <p:sp>
        <p:nvSpPr>
          <p:cNvPr id="120" name="Rectangle 119"/>
          <p:cNvSpPr/>
          <p:nvPr/>
        </p:nvSpPr>
        <p:spPr bwMode="auto">
          <a:xfrm>
            <a:off x="-42822" y="1947987"/>
            <a:ext cx="3723987" cy="4572363"/>
          </a:xfrm>
          <a:prstGeom prst="rect">
            <a:avLst/>
          </a:prstGeom>
          <a:solidFill>
            <a:srgbClr val="FFFFFF"/>
          </a:solidFill>
          <a:ln w="1079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defRPr/>
            </a:pPr>
            <a:endParaRPr lang="en-US" sz="1960" kern="0" spc="-49" dirty="0">
              <a:gradFill>
                <a:gsLst>
                  <a:gs pos="1250">
                    <a:srgbClr val="EFEFEF"/>
                  </a:gs>
                  <a:gs pos="10417">
                    <a:srgbClr val="EFEFEF"/>
                  </a:gs>
                </a:gsLst>
                <a:lin ang="5400000" scaled="0"/>
              </a:gradFill>
              <a:latin typeface="Segoe UI"/>
            </a:endParaRPr>
          </a:p>
        </p:txBody>
      </p:sp>
      <p:sp>
        <p:nvSpPr>
          <p:cNvPr id="121" name="Rectangle 120"/>
          <p:cNvSpPr/>
          <p:nvPr/>
        </p:nvSpPr>
        <p:spPr bwMode="auto">
          <a:xfrm>
            <a:off x="6312435" y="1947988"/>
            <a:ext cx="108811" cy="4719681"/>
          </a:xfrm>
          <a:prstGeom prst="rect">
            <a:avLst/>
          </a:prstGeom>
          <a:solidFill>
            <a:srgbClr val="FFFFFF"/>
          </a:solidFill>
          <a:ln w="1079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defRPr/>
            </a:pPr>
            <a:endParaRPr lang="en-US" sz="1960" kern="0" spc="-49" dirty="0">
              <a:gradFill>
                <a:gsLst>
                  <a:gs pos="1250">
                    <a:srgbClr val="EFEFEF"/>
                  </a:gs>
                  <a:gs pos="10417">
                    <a:srgbClr val="EFEFEF"/>
                  </a:gs>
                </a:gsLst>
                <a:lin ang="5400000" scaled="0"/>
              </a:gradFill>
              <a:latin typeface="Segoe UI"/>
            </a:endParaRPr>
          </a:p>
        </p:txBody>
      </p:sp>
      <p:grpSp>
        <p:nvGrpSpPr>
          <p:cNvPr id="122" name="Group 121"/>
          <p:cNvGrpSpPr/>
          <p:nvPr/>
        </p:nvGrpSpPr>
        <p:grpSpPr>
          <a:xfrm>
            <a:off x="1589" y="1958345"/>
            <a:ext cx="3546379" cy="896191"/>
            <a:chOff x="0" y="1031017"/>
            <a:chExt cx="3618434" cy="914400"/>
          </a:xfrm>
        </p:grpSpPr>
        <p:sp>
          <p:nvSpPr>
            <p:cNvPr id="123" name="Rectangle 122"/>
            <p:cNvSpPr/>
            <p:nvPr/>
          </p:nvSpPr>
          <p:spPr>
            <a:xfrm>
              <a:off x="0" y="1031017"/>
              <a:ext cx="3618434" cy="914400"/>
            </a:xfrm>
            <a:prstGeom prst="rect">
              <a:avLst/>
            </a:prstGeom>
            <a:solidFill>
              <a:srgbClr val="EFEFEF">
                <a:lumMod val="10000"/>
              </a:srgbClr>
            </a:solidFill>
          </p:spPr>
          <p:txBody>
            <a:bodyPr wrap="square" lIns="268857">
              <a:noAutofit/>
            </a:bodyPr>
            <a:lstStyle/>
            <a:p>
              <a:pPr defTabSz="913946">
                <a:defRPr/>
              </a:pPr>
              <a:r>
                <a:rPr lang="en-US" sz="2548" kern="0" dirty="0">
                  <a:gradFill>
                    <a:gsLst>
                      <a:gs pos="0">
                        <a:srgbClr val="EFEFEF"/>
                      </a:gs>
                      <a:gs pos="100000">
                        <a:srgbClr val="EFEFEF"/>
                      </a:gs>
                    </a:gsLst>
                    <a:lin ang="5400000" scaled="0"/>
                  </a:gradFill>
                  <a:latin typeface="Segoe UI Light"/>
                </a:rPr>
                <a:t>Enterprise </a:t>
              </a:r>
              <a:br>
                <a:rPr lang="en-US" sz="2548" kern="0" dirty="0">
                  <a:gradFill>
                    <a:gsLst>
                      <a:gs pos="0">
                        <a:srgbClr val="EFEFEF"/>
                      </a:gs>
                      <a:gs pos="100000">
                        <a:srgbClr val="EFEFEF"/>
                      </a:gs>
                    </a:gsLst>
                    <a:lin ang="5400000" scaled="0"/>
                  </a:gradFill>
                  <a:latin typeface="Segoe UI Light"/>
                </a:rPr>
              </a:br>
              <a:r>
                <a:rPr lang="en-US" sz="2548" kern="0" dirty="0">
                  <a:gradFill>
                    <a:gsLst>
                      <a:gs pos="0">
                        <a:srgbClr val="EFEFEF"/>
                      </a:gs>
                      <a:gs pos="100000">
                        <a:srgbClr val="EFEFEF"/>
                      </a:gs>
                    </a:gsLst>
                    <a:lin ang="5400000" scaled="0"/>
                  </a:gradFill>
                  <a:latin typeface="Segoe UI Light"/>
                </a:rPr>
                <a:t>needs</a:t>
              </a:r>
            </a:p>
          </p:txBody>
        </p:sp>
        <p:sp>
          <p:nvSpPr>
            <p:cNvPr id="124" name="Freeform 9"/>
            <p:cNvSpPr>
              <a:spLocks noEditPoints="1"/>
            </p:cNvSpPr>
            <p:nvPr/>
          </p:nvSpPr>
          <p:spPr bwMode="black">
            <a:xfrm>
              <a:off x="2811441" y="1153552"/>
              <a:ext cx="666622" cy="66933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EFEFEF">
                <a:alpha val="94000"/>
              </a:srgbClr>
            </a:solidFill>
            <a:ln w="10795" cap="flat" cmpd="sng" algn="ctr">
              <a:noFill/>
              <a:prstDash val="solid"/>
              <a:headEnd type="none" w="med" len="med"/>
              <a:tailEnd type="none" w="med" len="med"/>
            </a:ln>
            <a:effectLst/>
            <a:extLst/>
          </p:spPr>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946">
                <a:defRPr/>
              </a:pPr>
              <a:endParaRPr lang="en-US" sz="3136" kern="0">
                <a:gradFill>
                  <a:gsLst>
                    <a:gs pos="0">
                      <a:srgbClr val="FFFFFF"/>
                    </a:gs>
                    <a:gs pos="100000">
                      <a:srgbClr val="FFFFFF"/>
                    </a:gs>
                  </a:gsLst>
                  <a:lin ang="5400000" scaled="0"/>
                </a:gradFill>
                <a:latin typeface="Segoe UI Light"/>
              </a:endParaRPr>
            </a:p>
          </p:txBody>
        </p:sp>
      </p:grpSp>
      <p:grpSp>
        <p:nvGrpSpPr>
          <p:cNvPr id="125" name="Group 124"/>
          <p:cNvGrpSpPr/>
          <p:nvPr/>
        </p:nvGrpSpPr>
        <p:grpSpPr>
          <a:xfrm>
            <a:off x="1589" y="5594286"/>
            <a:ext cx="3546379" cy="896191"/>
            <a:chOff x="0" y="4517312"/>
            <a:chExt cx="3618434" cy="914400"/>
          </a:xfrm>
        </p:grpSpPr>
        <p:sp>
          <p:nvSpPr>
            <p:cNvPr id="126" name="Rectangle 125"/>
            <p:cNvSpPr/>
            <p:nvPr/>
          </p:nvSpPr>
          <p:spPr>
            <a:xfrm>
              <a:off x="0" y="4517312"/>
              <a:ext cx="3618434" cy="914400"/>
            </a:xfrm>
            <a:prstGeom prst="rect">
              <a:avLst/>
            </a:prstGeom>
            <a:solidFill>
              <a:srgbClr val="EFEFEF">
                <a:lumMod val="10000"/>
              </a:srgbClr>
            </a:solidFill>
          </p:spPr>
          <p:txBody>
            <a:bodyPr wrap="square" lIns="268857">
              <a:noAutofit/>
            </a:bodyPr>
            <a:lstStyle/>
            <a:p>
              <a:pPr defTabSz="913946">
                <a:defRPr/>
              </a:pPr>
              <a:r>
                <a:rPr lang="en-US" sz="2548" kern="0" dirty="0">
                  <a:gradFill>
                    <a:gsLst>
                      <a:gs pos="0">
                        <a:srgbClr val="EFEFEF"/>
                      </a:gs>
                      <a:gs pos="100000">
                        <a:srgbClr val="EFEFEF"/>
                      </a:gs>
                    </a:gsLst>
                    <a:lin ang="5400000" scaled="0"/>
                  </a:gradFill>
                  <a:latin typeface="Segoe UI Light"/>
                </a:rPr>
                <a:t>Microsoft Azure</a:t>
              </a:r>
              <a:br>
                <a:rPr lang="en-US" sz="2548" kern="0" dirty="0">
                  <a:gradFill>
                    <a:gsLst>
                      <a:gs pos="0">
                        <a:srgbClr val="EFEFEF"/>
                      </a:gs>
                      <a:gs pos="100000">
                        <a:srgbClr val="EFEFEF"/>
                      </a:gs>
                    </a:gsLst>
                    <a:lin ang="5400000" scaled="0"/>
                  </a:gradFill>
                  <a:latin typeface="Segoe UI Light"/>
                </a:rPr>
              </a:br>
              <a:r>
                <a:rPr lang="en-US" sz="2548" kern="0" dirty="0">
                  <a:gradFill>
                    <a:gsLst>
                      <a:gs pos="0">
                        <a:srgbClr val="EFEFEF"/>
                      </a:gs>
                      <a:gs pos="100000">
                        <a:srgbClr val="EFEFEF"/>
                      </a:gs>
                    </a:gsLst>
                    <a:lin ang="5400000" scaled="0"/>
                  </a:gradFill>
                  <a:latin typeface="Segoe UI Light"/>
                </a:rPr>
                <a:t>fundamentals</a:t>
              </a:r>
            </a:p>
          </p:txBody>
        </p:sp>
        <p:sp>
          <p:nvSpPr>
            <p:cNvPr id="127" name="Freeform 9"/>
            <p:cNvSpPr>
              <a:spLocks noEditPoints="1"/>
            </p:cNvSpPr>
            <p:nvPr/>
          </p:nvSpPr>
          <p:spPr bwMode="black">
            <a:xfrm>
              <a:off x="2811441" y="4639847"/>
              <a:ext cx="666622" cy="66933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EFEFEF">
                <a:alpha val="94000"/>
              </a:srgbClr>
            </a:solidFill>
            <a:ln w="10795" cap="flat" cmpd="sng" algn="ctr">
              <a:noFill/>
              <a:prstDash val="solid"/>
              <a:headEnd type="none" w="med" len="med"/>
              <a:tailEnd type="none" w="med" len="med"/>
            </a:ln>
            <a:effectLst/>
            <a:extLst/>
          </p:spPr>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946">
                <a:defRPr/>
              </a:pPr>
              <a:endParaRPr lang="en-US" sz="3136" kern="0">
                <a:gradFill>
                  <a:gsLst>
                    <a:gs pos="0">
                      <a:srgbClr val="FFFFFF"/>
                    </a:gs>
                    <a:gs pos="100000">
                      <a:srgbClr val="FFFFFF"/>
                    </a:gs>
                  </a:gsLst>
                  <a:lin ang="5400000" scaled="0"/>
                </a:gradFill>
                <a:latin typeface="Segoe UI Light"/>
              </a:endParaRPr>
            </a:p>
          </p:txBody>
        </p:sp>
      </p:grpSp>
      <p:sp>
        <p:nvSpPr>
          <p:cNvPr id="128" name="Rectangle 127"/>
          <p:cNvSpPr/>
          <p:nvPr/>
        </p:nvSpPr>
        <p:spPr bwMode="auto">
          <a:xfrm>
            <a:off x="3679708" y="2796252"/>
            <a:ext cx="2631473" cy="3694224"/>
          </a:xfrm>
          <a:prstGeom prst="rect">
            <a:avLst/>
          </a:prstGeom>
          <a:solidFill>
            <a:srgbClr val="00188F"/>
          </a:solidFill>
          <a:ln w="50800" cap="sq" cmpd="sng" algn="ctr">
            <a:noFill/>
            <a:prstDash val="solid"/>
            <a:miter lim="800000"/>
            <a:headEnd type="none" w="med" len="med"/>
            <a:tailEnd type="none" w="med" len="med"/>
          </a:ln>
          <a:effectLst/>
        </p:spPr>
        <p:txBody>
          <a:bodyPr vert="horz" wrap="square" lIns="89619" tIns="2598955" rIns="0" bIns="46618" numCol="1" rtlCol="0" anchor="t" anchorCtr="0" compatLnSpc="1">
            <a:prstTxWarp prst="textNoShape">
              <a:avLst/>
            </a:prstTxWarp>
          </a:bodyPr>
          <a:lstStyle/>
          <a:p>
            <a:pPr algn="ctr" defTabSz="932103">
              <a:defRPr/>
            </a:pPr>
            <a:endParaRPr lang="en-US" sz="2352" kern="0" dirty="0">
              <a:gradFill>
                <a:gsLst>
                  <a:gs pos="0">
                    <a:srgbClr val="FFFFFF"/>
                  </a:gs>
                  <a:gs pos="100000">
                    <a:srgbClr val="FFFFFF"/>
                  </a:gs>
                </a:gsLst>
                <a:lin ang="5400000" scaled="0"/>
              </a:gradFill>
              <a:latin typeface="Segoe UI Light"/>
            </a:endParaRPr>
          </a:p>
        </p:txBody>
      </p:sp>
      <p:sp>
        <p:nvSpPr>
          <p:cNvPr id="129" name="Rectangle 128"/>
          <p:cNvSpPr/>
          <p:nvPr/>
        </p:nvSpPr>
        <p:spPr>
          <a:xfrm>
            <a:off x="3692407" y="5654433"/>
            <a:ext cx="2627642" cy="754119"/>
          </a:xfrm>
          <a:prstGeom prst="rect">
            <a:avLst/>
          </a:prstGeom>
        </p:spPr>
        <p:txBody>
          <a:bodyPr wrap="square">
            <a:spAutoFit/>
          </a:bodyPr>
          <a:lstStyle/>
          <a:p>
            <a:pPr algn="ctr" defTabSz="932103"/>
            <a:r>
              <a:rPr lang="en-US" sz="2156" dirty="0">
                <a:gradFill>
                  <a:gsLst>
                    <a:gs pos="0">
                      <a:srgbClr val="FFFFFF"/>
                    </a:gs>
                    <a:gs pos="100000">
                      <a:srgbClr val="FFFFFF"/>
                    </a:gs>
                  </a:gsLst>
                  <a:lin ang="5400000" scaled="0"/>
                </a:gradFill>
                <a:latin typeface="Segoe UI Light"/>
              </a:rPr>
              <a:t>On-premises </a:t>
            </a:r>
            <a:br>
              <a:rPr lang="en-US" sz="2156" dirty="0">
                <a:gradFill>
                  <a:gsLst>
                    <a:gs pos="0">
                      <a:srgbClr val="FFFFFF"/>
                    </a:gs>
                    <a:gs pos="100000">
                      <a:srgbClr val="FFFFFF"/>
                    </a:gs>
                  </a:gsLst>
                  <a:lin ang="5400000" scaled="0"/>
                </a:gradFill>
                <a:latin typeface="Segoe UI Light"/>
              </a:rPr>
            </a:br>
            <a:r>
              <a:rPr lang="en-US" sz="2156" dirty="0">
                <a:gradFill>
                  <a:gsLst>
                    <a:gs pos="0">
                      <a:srgbClr val="FFFFFF"/>
                    </a:gs>
                    <a:gs pos="100000">
                      <a:srgbClr val="FFFFFF"/>
                    </a:gs>
                  </a:gsLst>
                  <a:lin ang="5400000" scaled="0"/>
                </a:gradFill>
                <a:latin typeface="Segoe UI Light"/>
              </a:rPr>
              <a:t>AND Cloud</a:t>
            </a:r>
          </a:p>
        </p:txBody>
      </p:sp>
      <p:sp>
        <p:nvSpPr>
          <p:cNvPr id="130" name="Rectangle 129"/>
          <p:cNvSpPr/>
          <p:nvPr/>
        </p:nvSpPr>
        <p:spPr>
          <a:xfrm>
            <a:off x="3995578" y="2177008"/>
            <a:ext cx="2011300" cy="573130"/>
          </a:xfrm>
          <a:prstGeom prst="rect">
            <a:avLst/>
          </a:prstGeom>
        </p:spPr>
        <p:txBody>
          <a:bodyPr wrap="none">
            <a:spAutoFit/>
          </a:bodyPr>
          <a:lstStyle/>
          <a:p>
            <a:pPr algn="ctr" defTabSz="932103"/>
            <a:r>
              <a:rPr lang="en-US" sz="3136" dirty="0">
                <a:gradFill>
                  <a:gsLst>
                    <a:gs pos="0">
                      <a:srgbClr val="FFFFFF"/>
                    </a:gs>
                    <a:gs pos="100000">
                      <a:srgbClr val="FFFFFF"/>
                    </a:gs>
                  </a:gsLst>
                  <a:lin ang="5400000" scaled="0"/>
                </a:gradFill>
                <a:latin typeface="Segoe UI Light"/>
              </a:rPr>
              <a:t>Integration</a:t>
            </a:r>
          </a:p>
        </p:txBody>
      </p:sp>
      <p:sp>
        <p:nvSpPr>
          <p:cNvPr id="131" name="Freeform 8"/>
          <p:cNvSpPr>
            <a:spLocks noEditPoints="1"/>
          </p:cNvSpPr>
          <p:nvPr/>
        </p:nvSpPr>
        <p:spPr bwMode="auto">
          <a:xfrm>
            <a:off x="4102537" y="3673773"/>
            <a:ext cx="1799910" cy="934150"/>
          </a:xfrm>
          <a:custGeom>
            <a:avLst/>
            <a:gdLst>
              <a:gd name="T0" fmla="*/ 202 w 251"/>
              <a:gd name="T1" fmla="*/ 60 h 133"/>
              <a:gd name="T2" fmla="*/ 43 w 251"/>
              <a:gd name="T3" fmla="*/ 0 h 133"/>
              <a:gd name="T4" fmla="*/ 37 w 251"/>
              <a:gd name="T5" fmla="*/ 29 h 133"/>
              <a:gd name="T6" fmla="*/ 0 w 251"/>
              <a:gd name="T7" fmla="*/ 41 h 133"/>
              <a:gd name="T8" fmla="*/ 37 w 251"/>
              <a:gd name="T9" fmla="*/ 87 h 133"/>
              <a:gd name="T10" fmla="*/ 0 w 251"/>
              <a:gd name="T11" fmla="*/ 99 h 133"/>
              <a:gd name="T12" fmla="*/ 37 w 251"/>
              <a:gd name="T13" fmla="*/ 127 h 133"/>
              <a:gd name="T14" fmla="*/ 120 w 251"/>
              <a:gd name="T15" fmla="*/ 133 h 133"/>
              <a:gd name="T16" fmla="*/ 251 w 251"/>
              <a:gd name="T17" fmla="*/ 72 h 133"/>
              <a:gd name="T18" fmla="*/ 120 w 251"/>
              <a:gd name="T19" fmla="*/ 121 h 133"/>
              <a:gd name="T20" fmla="*/ 49 w 251"/>
              <a:gd name="T21" fmla="*/ 12 h 133"/>
              <a:gd name="T22" fmla="*/ 191 w 251"/>
              <a:gd name="T23" fmla="*/ 66 h 133"/>
              <a:gd name="T24" fmla="*/ 78 w 251"/>
              <a:gd name="T25" fmla="*/ 50 h 133"/>
              <a:gd name="T26" fmla="*/ 70 w 251"/>
              <a:gd name="T27" fmla="*/ 83 h 133"/>
              <a:gd name="T28" fmla="*/ 87 w 251"/>
              <a:gd name="T29" fmla="*/ 74 h 133"/>
              <a:gd name="T30" fmla="*/ 95 w 251"/>
              <a:gd name="T31" fmla="*/ 83 h 133"/>
              <a:gd name="T32" fmla="*/ 78 w 251"/>
              <a:gd name="T33" fmla="*/ 50 h 133"/>
              <a:gd name="T34" fmla="*/ 80 w 251"/>
              <a:gd name="T35" fmla="*/ 56 h 133"/>
              <a:gd name="T36" fmla="*/ 80 w 251"/>
              <a:gd name="T37" fmla="*/ 54 h 133"/>
              <a:gd name="T38" fmla="*/ 86 w 251"/>
              <a:gd name="T39" fmla="*/ 70 h 133"/>
              <a:gd name="T40" fmla="*/ 137 w 251"/>
              <a:gd name="T41" fmla="*/ 50 h 133"/>
              <a:gd name="T42" fmla="*/ 128 w 251"/>
              <a:gd name="T43" fmla="*/ 83 h 133"/>
              <a:gd name="T44" fmla="*/ 150 w 251"/>
              <a:gd name="T45" fmla="*/ 79 h 133"/>
              <a:gd name="T46" fmla="*/ 137 w 251"/>
              <a:gd name="T47" fmla="*/ 50 h 133"/>
              <a:gd name="T48" fmla="*/ 137 w 251"/>
              <a:gd name="T49" fmla="*/ 80 h 133"/>
              <a:gd name="T50" fmla="*/ 132 w 251"/>
              <a:gd name="T51" fmla="*/ 53 h 133"/>
              <a:gd name="T52" fmla="*/ 151 w 251"/>
              <a:gd name="T53" fmla="*/ 66 h 133"/>
              <a:gd name="T54" fmla="*/ 119 w 251"/>
              <a:gd name="T55" fmla="*/ 50 h 133"/>
              <a:gd name="T56" fmla="*/ 123 w 251"/>
              <a:gd name="T57" fmla="*/ 83 h 133"/>
              <a:gd name="T58" fmla="*/ 101 w 251"/>
              <a:gd name="T59" fmla="*/ 56 h 133"/>
              <a:gd name="T60" fmla="*/ 100 w 251"/>
              <a:gd name="T61" fmla="*/ 54 h 133"/>
              <a:gd name="T62" fmla="*/ 100 w 251"/>
              <a:gd name="T63" fmla="*/ 83 h 133"/>
              <a:gd name="T64" fmla="*/ 96 w 251"/>
              <a:gd name="T65" fmla="*/ 50 h 133"/>
              <a:gd name="T66" fmla="*/ 118 w 251"/>
              <a:gd name="T67" fmla="*/ 76 h 133"/>
              <a:gd name="T68" fmla="*/ 120 w 251"/>
              <a:gd name="T69" fmla="*/ 78 h 133"/>
              <a:gd name="T70" fmla="*/ 119 w 251"/>
              <a:gd name="T71"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33">
                <a:moveTo>
                  <a:pt x="251" y="60"/>
                </a:moveTo>
                <a:cubicBezTo>
                  <a:pt x="202" y="60"/>
                  <a:pt x="202" y="60"/>
                  <a:pt x="202" y="60"/>
                </a:cubicBezTo>
                <a:cubicBezTo>
                  <a:pt x="199" y="26"/>
                  <a:pt x="163" y="0"/>
                  <a:pt x="120" y="0"/>
                </a:cubicBezTo>
                <a:cubicBezTo>
                  <a:pt x="43" y="0"/>
                  <a:pt x="43" y="0"/>
                  <a:pt x="43" y="0"/>
                </a:cubicBezTo>
                <a:cubicBezTo>
                  <a:pt x="40" y="0"/>
                  <a:pt x="37" y="2"/>
                  <a:pt x="37" y="6"/>
                </a:cubicBezTo>
                <a:cubicBezTo>
                  <a:pt x="37" y="29"/>
                  <a:pt x="37" y="29"/>
                  <a:pt x="37" y="29"/>
                </a:cubicBezTo>
                <a:cubicBezTo>
                  <a:pt x="0" y="29"/>
                  <a:pt x="0" y="29"/>
                  <a:pt x="0" y="29"/>
                </a:cubicBezTo>
                <a:cubicBezTo>
                  <a:pt x="0" y="41"/>
                  <a:pt x="0" y="41"/>
                  <a:pt x="0" y="41"/>
                </a:cubicBezTo>
                <a:cubicBezTo>
                  <a:pt x="37" y="41"/>
                  <a:pt x="37" y="41"/>
                  <a:pt x="37" y="41"/>
                </a:cubicBezTo>
                <a:cubicBezTo>
                  <a:pt x="37" y="87"/>
                  <a:pt x="37" y="87"/>
                  <a:pt x="37" y="87"/>
                </a:cubicBezTo>
                <a:cubicBezTo>
                  <a:pt x="0" y="87"/>
                  <a:pt x="0" y="87"/>
                  <a:pt x="0" y="87"/>
                </a:cubicBezTo>
                <a:cubicBezTo>
                  <a:pt x="0" y="99"/>
                  <a:pt x="0" y="99"/>
                  <a:pt x="0" y="99"/>
                </a:cubicBezTo>
                <a:cubicBezTo>
                  <a:pt x="37" y="99"/>
                  <a:pt x="37" y="99"/>
                  <a:pt x="37" y="99"/>
                </a:cubicBezTo>
                <a:cubicBezTo>
                  <a:pt x="37" y="127"/>
                  <a:pt x="37" y="127"/>
                  <a:pt x="37" y="127"/>
                </a:cubicBezTo>
                <a:cubicBezTo>
                  <a:pt x="37" y="130"/>
                  <a:pt x="40" y="133"/>
                  <a:pt x="43" y="133"/>
                </a:cubicBezTo>
                <a:cubicBezTo>
                  <a:pt x="120" y="133"/>
                  <a:pt x="120" y="133"/>
                  <a:pt x="120" y="133"/>
                </a:cubicBezTo>
                <a:cubicBezTo>
                  <a:pt x="163" y="133"/>
                  <a:pt x="199" y="106"/>
                  <a:pt x="202" y="72"/>
                </a:cubicBezTo>
                <a:cubicBezTo>
                  <a:pt x="251" y="72"/>
                  <a:pt x="251" y="72"/>
                  <a:pt x="251" y="72"/>
                </a:cubicBezTo>
                <a:lnTo>
                  <a:pt x="251" y="60"/>
                </a:lnTo>
                <a:close/>
                <a:moveTo>
                  <a:pt x="120" y="121"/>
                </a:moveTo>
                <a:cubicBezTo>
                  <a:pt x="49" y="121"/>
                  <a:pt x="49" y="121"/>
                  <a:pt x="49" y="121"/>
                </a:cubicBezTo>
                <a:cubicBezTo>
                  <a:pt x="49" y="12"/>
                  <a:pt x="49" y="12"/>
                  <a:pt x="49" y="12"/>
                </a:cubicBezTo>
                <a:cubicBezTo>
                  <a:pt x="120" y="12"/>
                  <a:pt x="120" y="12"/>
                  <a:pt x="120" y="12"/>
                </a:cubicBezTo>
                <a:cubicBezTo>
                  <a:pt x="159" y="12"/>
                  <a:pt x="191" y="36"/>
                  <a:pt x="191" y="66"/>
                </a:cubicBezTo>
                <a:cubicBezTo>
                  <a:pt x="191" y="96"/>
                  <a:pt x="159" y="121"/>
                  <a:pt x="120" y="121"/>
                </a:cubicBezTo>
                <a:close/>
                <a:moveTo>
                  <a:pt x="78" y="50"/>
                </a:moveTo>
                <a:cubicBezTo>
                  <a:pt x="65" y="83"/>
                  <a:pt x="65" y="83"/>
                  <a:pt x="65" y="83"/>
                </a:cubicBezTo>
                <a:cubicBezTo>
                  <a:pt x="70" y="83"/>
                  <a:pt x="70" y="83"/>
                  <a:pt x="70" y="83"/>
                </a:cubicBezTo>
                <a:cubicBezTo>
                  <a:pt x="73" y="74"/>
                  <a:pt x="73" y="74"/>
                  <a:pt x="73" y="74"/>
                </a:cubicBezTo>
                <a:cubicBezTo>
                  <a:pt x="87" y="74"/>
                  <a:pt x="87" y="74"/>
                  <a:pt x="87" y="74"/>
                </a:cubicBezTo>
                <a:cubicBezTo>
                  <a:pt x="91" y="83"/>
                  <a:pt x="91" y="83"/>
                  <a:pt x="91" y="83"/>
                </a:cubicBezTo>
                <a:cubicBezTo>
                  <a:pt x="95" y="83"/>
                  <a:pt x="95" y="83"/>
                  <a:pt x="95" y="83"/>
                </a:cubicBezTo>
                <a:cubicBezTo>
                  <a:pt x="82" y="50"/>
                  <a:pt x="82" y="50"/>
                  <a:pt x="82" y="50"/>
                </a:cubicBezTo>
                <a:lnTo>
                  <a:pt x="78" y="50"/>
                </a:lnTo>
                <a:close/>
                <a:moveTo>
                  <a:pt x="74" y="70"/>
                </a:moveTo>
                <a:cubicBezTo>
                  <a:pt x="80" y="56"/>
                  <a:pt x="80" y="56"/>
                  <a:pt x="80" y="56"/>
                </a:cubicBezTo>
                <a:cubicBezTo>
                  <a:pt x="80" y="55"/>
                  <a:pt x="80" y="55"/>
                  <a:pt x="80" y="54"/>
                </a:cubicBezTo>
                <a:cubicBezTo>
                  <a:pt x="80" y="54"/>
                  <a:pt x="80" y="54"/>
                  <a:pt x="80" y="54"/>
                </a:cubicBezTo>
                <a:cubicBezTo>
                  <a:pt x="80" y="55"/>
                  <a:pt x="81" y="56"/>
                  <a:pt x="81" y="56"/>
                </a:cubicBezTo>
                <a:cubicBezTo>
                  <a:pt x="86" y="70"/>
                  <a:pt x="86" y="70"/>
                  <a:pt x="86" y="70"/>
                </a:cubicBezTo>
                <a:lnTo>
                  <a:pt x="74" y="70"/>
                </a:lnTo>
                <a:close/>
                <a:moveTo>
                  <a:pt x="137" y="50"/>
                </a:moveTo>
                <a:cubicBezTo>
                  <a:pt x="128" y="50"/>
                  <a:pt x="128" y="50"/>
                  <a:pt x="128" y="50"/>
                </a:cubicBezTo>
                <a:cubicBezTo>
                  <a:pt x="128" y="83"/>
                  <a:pt x="128" y="83"/>
                  <a:pt x="128" y="83"/>
                </a:cubicBezTo>
                <a:cubicBezTo>
                  <a:pt x="137" y="83"/>
                  <a:pt x="137" y="83"/>
                  <a:pt x="137" y="83"/>
                </a:cubicBezTo>
                <a:cubicBezTo>
                  <a:pt x="142" y="83"/>
                  <a:pt x="147" y="82"/>
                  <a:pt x="150" y="79"/>
                </a:cubicBezTo>
                <a:cubicBezTo>
                  <a:pt x="153" y="75"/>
                  <a:pt x="155" y="71"/>
                  <a:pt x="155" y="66"/>
                </a:cubicBezTo>
                <a:cubicBezTo>
                  <a:pt x="155" y="55"/>
                  <a:pt x="149" y="50"/>
                  <a:pt x="137" y="50"/>
                </a:cubicBezTo>
                <a:close/>
                <a:moveTo>
                  <a:pt x="147" y="76"/>
                </a:moveTo>
                <a:cubicBezTo>
                  <a:pt x="145" y="79"/>
                  <a:pt x="141" y="80"/>
                  <a:pt x="137" y="80"/>
                </a:cubicBezTo>
                <a:cubicBezTo>
                  <a:pt x="132" y="80"/>
                  <a:pt x="132" y="80"/>
                  <a:pt x="132" y="80"/>
                </a:cubicBezTo>
                <a:cubicBezTo>
                  <a:pt x="132" y="53"/>
                  <a:pt x="132" y="53"/>
                  <a:pt x="132" y="53"/>
                </a:cubicBezTo>
                <a:cubicBezTo>
                  <a:pt x="137" y="53"/>
                  <a:pt x="137" y="53"/>
                  <a:pt x="137" y="53"/>
                </a:cubicBezTo>
                <a:cubicBezTo>
                  <a:pt x="146" y="53"/>
                  <a:pt x="151" y="58"/>
                  <a:pt x="151" y="66"/>
                </a:cubicBezTo>
                <a:cubicBezTo>
                  <a:pt x="151" y="70"/>
                  <a:pt x="150" y="74"/>
                  <a:pt x="147" y="76"/>
                </a:cubicBezTo>
                <a:close/>
                <a:moveTo>
                  <a:pt x="119" y="50"/>
                </a:moveTo>
                <a:cubicBezTo>
                  <a:pt x="123" y="50"/>
                  <a:pt x="123" y="50"/>
                  <a:pt x="123" y="50"/>
                </a:cubicBezTo>
                <a:cubicBezTo>
                  <a:pt x="123" y="83"/>
                  <a:pt x="123" y="83"/>
                  <a:pt x="123" y="83"/>
                </a:cubicBezTo>
                <a:cubicBezTo>
                  <a:pt x="118" y="83"/>
                  <a:pt x="118" y="83"/>
                  <a:pt x="118" y="83"/>
                </a:cubicBezTo>
                <a:cubicBezTo>
                  <a:pt x="101" y="56"/>
                  <a:pt x="101" y="56"/>
                  <a:pt x="101" y="56"/>
                </a:cubicBezTo>
                <a:cubicBezTo>
                  <a:pt x="101" y="56"/>
                  <a:pt x="100" y="55"/>
                  <a:pt x="100" y="54"/>
                </a:cubicBezTo>
                <a:cubicBezTo>
                  <a:pt x="100" y="54"/>
                  <a:pt x="100" y="54"/>
                  <a:pt x="100" y="54"/>
                </a:cubicBezTo>
                <a:cubicBezTo>
                  <a:pt x="100" y="55"/>
                  <a:pt x="100" y="57"/>
                  <a:pt x="100" y="59"/>
                </a:cubicBezTo>
                <a:cubicBezTo>
                  <a:pt x="100" y="83"/>
                  <a:pt x="100" y="83"/>
                  <a:pt x="100" y="83"/>
                </a:cubicBezTo>
                <a:cubicBezTo>
                  <a:pt x="96" y="83"/>
                  <a:pt x="96" y="83"/>
                  <a:pt x="96" y="83"/>
                </a:cubicBezTo>
                <a:cubicBezTo>
                  <a:pt x="96" y="50"/>
                  <a:pt x="96" y="50"/>
                  <a:pt x="96" y="50"/>
                </a:cubicBezTo>
                <a:cubicBezTo>
                  <a:pt x="101" y="50"/>
                  <a:pt x="101" y="50"/>
                  <a:pt x="101" y="50"/>
                </a:cubicBezTo>
                <a:cubicBezTo>
                  <a:pt x="118" y="76"/>
                  <a:pt x="118" y="76"/>
                  <a:pt x="118" y="76"/>
                </a:cubicBezTo>
                <a:cubicBezTo>
                  <a:pt x="119" y="77"/>
                  <a:pt x="119" y="78"/>
                  <a:pt x="119" y="78"/>
                </a:cubicBezTo>
                <a:cubicBezTo>
                  <a:pt x="120" y="78"/>
                  <a:pt x="120" y="78"/>
                  <a:pt x="120" y="78"/>
                </a:cubicBezTo>
                <a:cubicBezTo>
                  <a:pt x="119" y="77"/>
                  <a:pt x="119" y="76"/>
                  <a:pt x="119" y="73"/>
                </a:cubicBezTo>
                <a:lnTo>
                  <a:pt x="119" y="50"/>
                </a:ln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defTabSz="913946"/>
            <a:endParaRPr lang="en-US">
              <a:solidFill>
                <a:srgbClr val="505050"/>
              </a:solidFill>
              <a:latin typeface="Segoe UI"/>
            </a:endParaRPr>
          </a:p>
        </p:txBody>
      </p:sp>
      <p:grpSp>
        <p:nvGrpSpPr>
          <p:cNvPr id="132" name="final small cloud"/>
          <p:cNvGrpSpPr>
            <a:grpSpLocks noChangeAspect="1"/>
          </p:cNvGrpSpPr>
          <p:nvPr/>
        </p:nvGrpSpPr>
        <p:grpSpPr>
          <a:xfrm>
            <a:off x="7057689" y="2807968"/>
            <a:ext cx="4137491" cy="2348273"/>
            <a:chOff x="5094630" y="1421965"/>
            <a:chExt cx="6487484" cy="3680338"/>
          </a:xfrm>
        </p:grpSpPr>
        <p:sp>
          <p:nvSpPr>
            <p:cNvPr id="133" name="original cloud"/>
            <p:cNvSpPr>
              <a:spLocks noChangeAspect="1"/>
            </p:cNvSpPr>
            <p:nvPr/>
          </p:nvSpPr>
          <p:spPr bwMode="black">
            <a:xfrm>
              <a:off x="5094630" y="1421965"/>
              <a:ext cx="6487484" cy="368033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2050">
                <a:lumMod val="75000"/>
                <a:lumOff val="25000"/>
              </a:srgbClr>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00188F"/>
                </a:solidFill>
                <a:latin typeface="Segoe UI"/>
              </a:endParaRPr>
            </a:p>
          </p:txBody>
        </p:sp>
        <p:sp>
          <p:nvSpPr>
            <p:cNvPr id="134" name="bottom line"/>
            <p:cNvSpPr>
              <a:spLocks noEditPoints="1"/>
            </p:cNvSpPr>
            <p:nvPr/>
          </p:nvSpPr>
          <p:spPr bwMode="auto">
            <a:xfrm rot="5400000">
              <a:off x="8275994" y="4875162"/>
              <a:ext cx="329480" cy="97621"/>
            </a:xfrm>
            <a:custGeom>
              <a:avLst/>
              <a:gdLst>
                <a:gd name="T0" fmla="*/ 215 w 215"/>
                <a:gd name="T1" fmla="*/ 42 h 42"/>
                <a:gd name="T2" fmla="*/ 172 w 215"/>
                <a:gd name="T3" fmla="*/ 42 h 42"/>
                <a:gd name="T4" fmla="*/ 172 w 215"/>
                <a:gd name="T5" fmla="*/ 0 h 42"/>
                <a:gd name="T6" fmla="*/ 215 w 215"/>
                <a:gd name="T7" fmla="*/ 0 h 42"/>
                <a:gd name="T8" fmla="*/ 215 w 215"/>
                <a:gd name="T9" fmla="*/ 42 h 42"/>
                <a:gd name="T10" fmla="*/ 130 w 215"/>
                <a:gd name="T11" fmla="*/ 42 h 42"/>
                <a:gd name="T12" fmla="*/ 85 w 215"/>
                <a:gd name="T13" fmla="*/ 42 h 42"/>
                <a:gd name="T14" fmla="*/ 85 w 215"/>
                <a:gd name="T15" fmla="*/ 0 h 42"/>
                <a:gd name="T16" fmla="*/ 130 w 215"/>
                <a:gd name="T17" fmla="*/ 0 h 42"/>
                <a:gd name="T18" fmla="*/ 130 w 215"/>
                <a:gd name="T19" fmla="*/ 42 h 42"/>
                <a:gd name="T20" fmla="*/ 43 w 215"/>
                <a:gd name="T21" fmla="*/ 42 h 42"/>
                <a:gd name="T22" fmla="*/ 0 w 215"/>
                <a:gd name="T23" fmla="*/ 42 h 42"/>
                <a:gd name="T24" fmla="*/ 0 w 215"/>
                <a:gd name="T25" fmla="*/ 0 h 42"/>
                <a:gd name="T26" fmla="*/ 43 w 215"/>
                <a:gd name="T27" fmla="*/ 0 h 42"/>
                <a:gd name="T28" fmla="*/ 43 w 215"/>
                <a:gd name="T2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 h="42">
                  <a:moveTo>
                    <a:pt x="215" y="42"/>
                  </a:moveTo>
                  <a:lnTo>
                    <a:pt x="172" y="42"/>
                  </a:lnTo>
                  <a:lnTo>
                    <a:pt x="172" y="0"/>
                  </a:lnTo>
                  <a:lnTo>
                    <a:pt x="215" y="0"/>
                  </a:lnTo>
                  <a:lnTo>
                    <a:pt x="215" y="42"/>
                  </a:lnTo>
                  <a:close/>
                  <a:moveTo>
                    <a:pt x="130" y="42"/>
                  </a:moveTo>
                  <a:lnTo>
                    <a:pt x="85" y="42"/>
                  </a:lnTo>
                  <a:lnTo>
                    <a:pt x="85" y="0"/>
                  </a:lnTo>
                  <a:lnTo>
                    <a:pt x="130" y="0"/>
                  </a:lnTo>
                  <a:lnTo>
                    <a:pt x="130" y="42"/>
                  </a:lnTo>
                  <a:close/>
                  <a:moveTo>
                    <a:pt x="43" y="42"/>
                  </a:moveTo>
                  <a:lnTo>
                    <a:pt x="0" y="42"/>
                  </a:lnTo>
                  <a:lnTo>
                    <a:pt x="0" y="0"/>
                  </a:lnTo>
                  <a:lnTo>
                    <a:pt x="43" y="0"/>
                  </a:lnTo>
                  <a:lnTo>
                    <a:pt x="4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pic>
          <p:nvPicPr>
            <p:cNvPr id="135" name="M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1750" y="1999374"/>
              <a:ext cx="1415685" cy="1901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6" name="on premis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04677" y="4230371"/>
              <a:ext cx="1646189" cy="203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7" name="one consistent platform"/>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37605" y="3274069"/>
              <a:ext cx="1511730" cy="735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8" name="Service Provide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14587" y="3971053"/>
              <a:ext cx="1212073" cy="462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9" name="left line"/>
            <p:cNvSpPr>
              <a:spLocks noEditPoints="1"/>
            </p:cNvSpPr>
            <p:nvPr/>
          </p:nvSpPr>
          <p:spPr bwMode="auto">
            <a:xfrm rot="1143405">
              <a:off x="6260820" y="3222679"/>
              <a:ext cx="1092910" cy="100276"/>
            </a:xfrm>
            <a:custGeom>
              <a:avLst/>
              <a:gdLst>
                <a:gd name="T0" fmla="*/ 39 w 588"/>
                <a:gd name="T1" fmla="*/ 40 h 40"/>
                <a:gd name="T2" fmla="*/ 0 w 588"/>
                <a:gd name="T3" fmla="*/ 40 h 40"/>
                <a:gd name="T4" fmla="*/ 0 w 588"/>
                <a:gd name="T5" fmla="*/ 0 h 40"/>
                <a:gd name="T6" fmla="*/ 39 w 588"/>
                <a:gd name="T7" fmla="*/ 0 h 40"/>
                <a:gd name="T8" fmla="*/ 39 w 588"/>
                <a:gd name="T9" fmla="*/ 40 h 40"/>
                <a:gd name="T10" fmla="*/ 588 w 588"/>
                <a:gd name="T11" fmla="*/ 0 h 40"/>
                <a:gd name="T12" fmla="*/ 549 w 588"/>
                <a:gd name="T13" fmla="*/ 0 h 40"/>
                <a:gd name="T14" fmla="*/ 549 w 588"/>
                <a:gd name="T15" fmla="*/ 40 h 40"/>
                <a:gd name="T16" fmla="*/ 588 w 588"/>
                <a:gd name="T17" fmla="*/ 40 h 40"/>
                <a:gd name="T18" fmla="*/ 588 w 588"/>
                <a:gd name="T19" fmla="*/ 0 h 40"/>
                <a:gd name="T20" fmla="*/ 510 w 588"/>
                <a:gd name="T21" fmla="*/ 0 h 40"/>
                <a:gd name="T22" fmla="*/ 471 w 588"/>
                <a:gd name="T23" fmla="*/ 0 h 40"/>
                <a:gd name="T24" fmla="*/ 471 w 588"/>
                <a:gd name="T25" fmla="*/ 40 h 40"/>
                <a:gd name="T26" fmla="*/ 510 w 588"/>
                <a:gd name="T27" fmla="*/ 40 h 40"/>
                <a:gd name="T28" fmla="*/ 510 w 588"/>
                <a:gd name="T29" fmla="*/ 0 h 40"/>
                <a:gd name="T30" fmla="*/ 431 w 588"/>
                <a:gd name="T31" fmla="*/ 0 h 40"/>
                <a:gd name="T32" fmla="*/ 392 w 588"/>
                <a:gd name="T33" fmla="*/ 0 h 40"/>
                <a:gd name="T34" fmla="*/ 392 w 588"/>
                <a:gd name="T35" fmla="*/ 40 h 40"/>
                <a:gd name="T36" fmla="*/ 431 w 588"/>
                <a:gd name="T37" fmla="*/ 40 h 40"/>
                <a:gd name="T38" fmla="*/ 431 w 588"/>
                <a:gd name="T39" fmla="*/ 0 h 40"/>
                <a:gd name="T40" fmla="*/ 353 w 588"/>
                <a:gd name="T41" fmla="*/ 0 h 40"/>
                <a:gd name="T42" fmla="*/ 314 w 588"/>
                <a:gd name="T43" fmla="*/ 0 h 40"/>
                <a:gd name="T44" fmla="*/ 314 w 588"/>
                <a:gd name="T45" fmla="*/ 40 h 40"/>
                <a:gd name="T46" fmla="*/ 353 w 588"/>
                <a:gd name="T47" fmla="*/ 40 h 40"/>
                <a:gd name="T48" fmla="*/ 353 w 588"/>
                <a:gd name="T49" fmla="*/ 0 h 40"/>
                <a:gd name="T50" fmla="*/ 274 w 588"/>
                <a:gd name="T51" fmla="*/ 0 h 40"/>
                <a:gd name="T52" fmla="*/ 235 w 588"/>
                <a:gd name="T53" fmla="*/ 0 h 40"/>
                <a:gd name="T54" fmla="*/ 235 w 588"/>
                <a:gd name="T55" fmla="*/ 40 h 40"/>
                <a:gd name="T56" fmla="*/ 274 w 588"/>
                <a:gd name="T57" fmla="*/ 40 h 40"/>
                <a:gd name="T58" fmla="*/ 274 w 588"/>
                <a:gd name="T59" fmla="*/ 0 h 40"/>
                <a:gd name="T60" fmla="*/ 196 w 588"/>
                <a:gd name="T61" fmla="*/ 0 h 40"/>
                <a:gd name="T62" fmla="*/ 156 w 588"/>
                <a:gd name="T63" fmla="*/ 0 h 40"/>
                <a:gd name="T64" fmla="*/ 156 w 588"/>
                <a:gd name="T65" fmla="*/ 40 h 40"/>
                <a:gd name="T66" fmla="*/ 196 w 588"/>
                <a:gd name="T67" fmla="*/ 40 h 40"/>
                <a:gd name="T68" fmla="*/ 196 w 588"/>
                <a:gd name="T69" fmla="*/ 0 h 40"/>
                <a:gd name="T70" fmla="*/ 117 w 588"/>
                <a:gd name="T71" fmla="*/ 0 h 40"/>
                <a:gd name="T72" fmla="*/ 78 w 588"/>
                <a:gd name="T73" fmla="*/ 0 h 40"/>
                <a:gd name="T74" fmla="*/ 78 w 588"/>
                <a:gd name="T75" fmla="*/ 40 h 40"/>
                <a:gd name="T76" fmla="*/ 117 w 588"/>
                <a:gd name="T77" fmla="*/ 40 h 40"/>
                <a:gd name="T78" fmla="*/ 117 w 588"/>
                <a:gd name="T7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40">
                  <a:moveTo>
                    <a:pt x="39" y="40"/>
                  </a:moveTo>
                  <a:lnTo>
                    <a:pt x="0" y="40"/>
                  </a:lnTo>
                  <a:lnTo>
                    <a:pt x="0" y="0"/>
                  </a:lnTo>
                  <a:lnTo>
                    <a:pt x="39" y="0"/>
                  </a:lnTo>
                  <a:lnTo>
                    <a:pt x="39" y="40"/>
                  </a:lnTo>
                  <a:close/>
                  <a:moveTo>
                    <a:pt x="588" y="0"/>
                  </a:moveTo>
                  <a:lnTo>
                    <a:pt x="549" y="0"/>
                  </a:lnTo>
                  <a:lnTo>
                    <a:pt x="549" y="40"/>
                  </a:lnTo>
                  <a:lnTo>
                    <a:pt x="588" y="40"/>
                  </a:lnTo>
                  <a:lnTo>
                    <a:pt x="588" y="0"/>
                  </a:lnTo>
                  <a:close/>
                  <a:moveTo>
                    <a:pt x="510" y="0"/>
                  </a:moveTo>
                  <a:lnTo>
                    <a:pt x="471" y="0"/>
                  </a:lnTo>
                  <a:lnTo>
                    <a:pt x="471" y="40"/>
                  </a:lnTo>
                  <a:lnTo>
                    <a:pt x="510" y="40"/>
                  </a:lnTo>
                  <a:lnTo>
                    <a:pt x="510" y="0"/>
                  </a:lnTo>
                  <a:close/>
                  <a:moveTo>
                    <a:pt x="431" y="0"/>
                  </a:moveTo>
                  <a:lnTo>
                    <a:pt x="392" y="0"/>
                  </a:lnTo>
                  <a:lnTo>
                    <a:pt x="392" y="40"/>
                  </a:lnTo>
                  <a:lnTo>
                    <a:pt x="431" y="40"/>
                  </a:lnTo>
                  <a:lnTo>
                    <a:pt x="431" y="0"/>
                  </a:lnTo>
                  <a:close/>
                  <a:moveTo>
                    <a:pt x="353" y="0"/>
                  </a:moveTo>
                  <a:lnTo>
                    <a:pt x="314" y="0"/>
                  </a:lnTo>
                  <a:lnTo>
                    <a:pt x="314" y="40"/>
                  </a:lnTo>
                  <a:lnTo>
                    <a:pt x="353" y="40"/>
                  </a:lnTo>
                  <a:lnTo>
                    <a:pt x="353" y="0"/>
                  </a:lnTo>
                  <a:close/>
                  <a:moveTo>
                    <a:pt x="274" y="0"/>
                  </a:moveTo>
                  <a:lnTo>
                    <a:pt x="235" y="0"/>
                  </a:lnTo>
                  <a:lnTo>
                    <a:pt x="235" y="40"/>
                  </a:lnTo>
                  <a:lnTo>
                    <a:pt x="274" y="40"/>
                  </a:lnTo>
                  <a:lnTo>
                    <a:pt x="274" y="0"/>
                  </a:lnTo>
                  <a:close/>
                  <a:moveTo>
                    <a:pt x="196" y="0"/>
                  </a:moveTo>
                  <a:lnTo>
                    <a:pt x="156" y="0"/>
                  </a:lnTo>
                  <a:lnTo>
                    <a:pt x="156" y="40"/>
                  </a:lnTo>
                  <a:lnTo>
                    <a:pt x="196" y="40"/>
                  </a:lnTo>
                  <a:lnTo>
                    <a:pt x="196" y="0"/>
                  </a:lnTo>
                  <a:close/>
                  <a:moveTo>
                    <a:pt x="117" y="0"/>
                  </a:moveTo>
                  <a:lnTo>
                    <a:pt x="78" y="0"/>
                  </a:lnTo>
                  <a:lnTo>
                    <a:pt x="78" y="40"/>
                  </a:lnTo>
                  <a:lnTo>
                    <a:pt x="117" y="40"/>
                  </a:lnTo>
                  <a:lnTo>
                    <a:pt x="1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40" name="right line"/>
            <p:cNvSpPr>
              <a:spLocks noEditPoints="1"/>
            </p:cNvSpPr>
            <p:nvPr/>
          </p:nvSpPr>
          <p:spPr bwMode="auto">
            <a:xfrm rot="20326157">
              <a:off x="9555304" y="3002413"/>
              <a:ext cx="1749183" cy="90646"/>
            </a:xfrm>
            <a:custGeom>
              <a:avLst/>
              <a:gdLst>
                <a:gd name="T0" fmla="*/ 39 w 896"/>
                <a:gd name="T1" fmla="*/ 39 h 39"/>
                <a:gd name="T2" fmla="*/ 0 w 896"/>
                <a:gd name="T3" fmla="*/ 39 h 39"/>
                <a:gd name="T4" fmla="*/ 0 w 896"/>
                <a:gd name="T5" fmla="*/ 0 h 39"/>
                <a:gd name="T6" fmla="*/ 39 w 896"/>
                <a:gd name="T7" fmla="*/ 0 h 39"/>
                <a:gd name="T8" fmla="*/ 39 w 896"/>
                <a:gd name="T9" fmla="*/ 39 h 39"/>
                <a:gd name="T10" fmla="*/ 896 w 896"/>
                <a:gd name="T11" fmla="*/ 0 h 39"/>
                <a:gd name="T12" fmla="*/ 857 w 896"/>
                <a:gd name="T13" fmla="*/ 0 h 39"/>
                <a:gd name="T14" fmla="*/ 857 w 896"/>
                <a:gd name="T15" fmla="*/ 39 h 39"/>
                <a:gd name="T16" fmla="*/ 896 w 896"/>
                <a:gd name="T17" fmla="*/ 39 h 39"/>
                <a:gd name="T18" fmla="*/ 896 w 896"/>
                <a:gd name="T19" fmla="*/ 0 h 39"/>
                <a:gd name="T20" fmla="*/ 818 w 896"/>
                <a:gd name="T21" fmla="*/ 0 h 39"/>
                <a:gd name="T22" fmla="*/ 780 w 896"/>
                <a:gd name="T23" fmla="*/ 0 h 39"/>
                <a:gd name="T24" fmla="*/ 780 w 896"/>
                <a:gd name="T25" fmla="*/ 39 h 39"/>
                <a:gd name="T26" fmla="*/ 818 w 896"/>
                <a:gd name="T27" fmla="*/ 39 h 39"/>
                <a:gd name="T28" fmla="*/ 818 w 896"/>
                <a:gd name="T29" fmla="*/ 0 h 39"/>
                <a:gd name="T30" fmla="*/ 741 w 896"/>
                <a:gd name="T31" fmla="*/ 0 h 39"/>
                <a:gd name="T32" fmla="*/ 702 w 896"/>
                <a:gd name="T33" fmla="*/ 0 h 39"/>
                <a:gd name="T34" fmla="*/ 702 w 896"/>
                <a:gd name="T35" fmla="*/ 39 h 39"/>
                <a:gd name="T36" fmla="*/ 741 w 896"/>
                <a:gd name="T37" fmla="*/ 39 h 39"/>
                <a:gd name="T38" fmla="*/ 741 w 896"/>
                <a:gd name="T39" fmla="*/ 0 h 39"/>
                <a:gd name="T40" fmla="*/ 662 w 896"/>
                <a:gd name="T41" fmla="*/ 0 h 39"/>
                <a:gd name="T42" fmla="*/ 623 w 896"/>
                <a:gd name="T43" fmla="*/ 0 h 39"/>
                <a:gd name="T44" fmla="*/ 623 w 896"/>
                <a:gd name="T45" fmla="*/ 39 h 39"/>
                <a:gd name="T46" fmla="*/ 662 w 896"/>
                <a:gd name="T47" fmla="*/ 39 h 39"/>
                <a:gd name="T48" fmla="*/ 662 w 896"/>
                <a:gd name="T49" fmla="*/ 0 h 39"/>
                <a:gd name="T50" fmla="*/ 584 w 896"/>
                <a:gd name="T51" fmla="*/ 0 h 39"/>
                <a:gd name="T52" fmla="*/ 545 w 896"/>
                <a:gd name="T53" fmla="*/ 0 h 39"/>
                <a:gd name="T54" fmla="*/ 545 w 896"/>
                <a:gd name="T55" fmla="*/ 39 h 39"/>
                <a:gd name="T56" fmla="*/ 584 w 896"/>
                <a:gd name="T57" fmla="*/ 39 h 39"/>
                <a:gd name="T58" fmla="*/ 584 w 896"/>
                <a:gd name="T59" fmla="*/ 0 h 39"/>
                <a:gd name="T60" fmla="*/ 507 w 896"/>
                <a:gd name="T61" fmla="*/ 0 h 39"/>
                <a:gd name="T62" fmla="*/ 468 w 896"/>
                <a:gd name="T63" fmla="*/ 0 h 39"/>
                <a:gd name="T64" fmla="*/ 468 w 896"/>
                <a:gd name="T65" fmla="*/ 39 h 39"/>
                <a:gd name="T66" fmla="*/ 507 w 896"/>
                <a:gd name="T67" fmla="*/ 39 h 39"/>
                <a:gd name="T68" fmla="*/ 507 w 896"/>
                <a:gd name="T69" fmla="*/ 0 h 39"/>
                <a:gd name="T70" fmla="*/ 428 w 896"/>
                <a:gd name="T71" fmla="*/ 0 h 39"/>
                <a:gd name="T72" fmla="*/ 389 w 896"/>
                <a:gd name="T73" fmla="*/ 0 h 39"/>
                <a:gd name="T74" fmla="*/ 389 w 896"/>
                <a:gd name="T75" fmla="*/ 39 h 39"/>
                <a:gd name="T76" fmla="*/ 428 w 896"/>
                <a:gd name="T77" fmla="*/ 39 h 39"/>
                <a:gd name="T78" fmla="*/ 428 w 896"/>
                <a:gd name="T79" fmla="*/ 0 h 39"/>
                <a:gd name="T80" fmla="*/ 350 w 896"/>
                <a:gd name="T81" fmla="*/ 0 h 39"/>
                <a:gd name="T82" fmla="*/ 311 w 896"/>
                <a:gd name="T83" fmla="*/ 0 h 39"/>
                <a:gd name="T84" fmla="*/ 311 w 896"/>
                <a:gd name="T85" fmla="*/ 39 h 39"/>
                <a:gd name="T86" fmla="*/ 350 w 896"/>
                <a:gd name="T87" fmla="*/ 39 h 39"/>
                <a:gd name="T88" fmla="*/ 350 w 896"/>
                <a:gd name="T89" fmla="*/ 0 h 39"/>
                <a:gd name="T90" fmla="*/ 273 w 896"/>
                <a:gd name="T91" fmla="*/ 0 h 39"/>
                <a:gd name="T92" fmla="*/ 234 w 896"/>
                <a:gd name="T93" fmla="*/ 0 h 39"/>
                <a:gd name="T94" fmla="*/ 234 w 896"/>
                <a:gd name="T95" fmla="*/ 39 h 39"/>
                <a:gd name="T96" fmla="*/ 273 w 896"/>
                <a:gd name="T97" fmla="*/ 39 h 39"/>
                <a:gd name="T98" fmla="*/ 273 w 896"/>
                <a:gd name="T99" fmla="*/ 0 h 39"/>
                <a:gd name="T100" fmla="*/ 195 w 896"/>
                <a:gd name="T101" fmla="*/ 0 h 39"/>
                <a:gd name="T102" fmla="*/ 155 w 896"/>
                <a:gd name="T103" fmla="*/ 0 h 39"/>
                <a:gd name="T104" fmla="*/ 155 w 896"/>
                <a:gd name="T105" fmla="*/ 39 h 39"/>
                <a:gd name="T106" fmla="*/ 195 w 896"/>
                <a:gd name="T107" fmla="*/ 39 h 39"/>
                <a:gd name="T108" fmla="*/ 195 w 896"/>
                <a:gd name="T109" fmla="*/ 0 h 39"/>
                <a:gd name="T110" fmla="*/ 116 w 896"/>
                <a:gd name="T111" fmla="*/ 0 h 39"/>
                <a:gd name="T112" fmla="*/ 77 w 896"/>
                <a:gd name="T113" fmla="*/ 0 h 39"/>
                <a:gd name="T114" fmla="*/ 77 w 896"/>
                <a:gd name="T115" fmla="*/ 39 h 39"/>
                <a:gd name="T116" fmla="*/ 116 w 896"/>
                <a:gd name="T117" fmla="*/ 39 h 39"/>
                <a:gd name="T118" fmla="*/ 116 w 896"/>
                <a:gd name="T1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96" h="39">
                  <a:moveTo>
                    <a:pt x="39" y="39"/>
                  </a:moveTo>
                  <a:lnTo>
                    <a:pt x="0" y="39"/>
                  </a:lnTo>
                  <a:lnTo>
                    <a:pt x="0" y="0"/>
                  </a:lnTo>
                  <a:lnTo>
                    <a:pt x="39" y="0"/>
                  </a:lnTo>
                  <a:lnTo>
                    <a:pt x="39" y="39"/>
                  </a:lnTo>
                  <a:close/>
                  <a:moveTo>
                    <a:pt x="896" y="0"/>
                  </a:moveTo>
                  <a:lnTo>
                    <a:pt x="857" y="0"/>
                  </a:lnTo>
                  <a:lnTo>
                    <a:pt x="857" y="39"/>
                  </a:lnTo>
                  <a:lnTo>
                    <a:pt x="896" y="39"/>
                  </a:lnTo>
                  <a:lnTo>
                    <a:pt x="896" y="0"/>
                  </a:lnTo>
                  <a:close/>
                  <a:moveTo>
                    <a:pt x="818" y="0"/>
                  </a:moveTo>
                  <a:lnTo>
                    <a:pt x="780" y="0"/>
                  </a:lnTo>
                  <a:lnTo>
                    <a:pt x="780" y="39"/>
                  </a:lnTo>
                  <a:lnTo>
                    <a:pt x="818" y="39"/>
                  </a:lnTo>
                  <a:lnTo>
                    <a:pt x="818" y="0"/>
                  </a:lnTo>
                  <a:close/>
                  <a:moveTo>
                    <a:pt x="741" y="0"/>
                  </a:moveTo>
                  <a:lnTo>
                    <a:pt x="702" y="0"/>
                  </a:lnTo>
                  <a:lnTo>
                    <a:pt x="702" y="39"/>
                  </a:lnTo>
                  <a:lnTo>
                    <a:pt x="741" y="39"/>
                  </a:lnTo>
                  <a:lnTo>
                    <a:pt x="741" y="0"/>
                  </a:lnTo>
                  <a:close/>
                  <a:moveTo>
                    <a:pt x="662" y="0"/>
                  </a:moveTo>
                  <a:lnTo>
                    <a:pt x="623" y="0"/>
                  </a:lnTo>
                  <a:lnTo>
                    <a:pt x="623" y="39"/>
                  </a:lnTo>
                  <a:lnTo>
                    <a:pt x="662" y="39"/>
                  </a:lnTo>
                  <a:lnTo>
                    <a:pt x="662" y="0"/>
                  </a:lnTo>
                  <a:close/>
                  <a:moveTo>
                    <a:pt x="584" y="0"/>
                  </a:moveTo>
                  <a:lnTo>
                    <a:pt x="545" y="0"/>
                  </a:lnTo>
                  <a:lnTo>
                    <a:pt x="545" y="39"/>
                  </a:lnTo>
                  <a:lnTo>
                    <a:pt x="584" y="39"/>
                  </a:lnTo>
                  <a:lnTo>
                    <a:pt x="584" y="0"/>
                  </a:lnTo>
                  <a:close/>
                  <a:moveTo>
                    <a:pt x="507" y="0"/>
                  </a:moveTo>
                  <a:lnTo>
                    <a:pt x="468" y="0"/>
                  </a:lnTo>
                  <a:lnTo>
                    <a:pt x="468" y="39"/>
                  </a:lnTo>
                  <a:lnTo>
                    <a:pt x="507" y="39"/>
                  </a:lnTo>
                  <a:lnTo>
                    <a:pt x="507" y="0"/>
                  </a:lnTo>
                  <a:close/>
                  <a:moveTo>
                    <a:pt x="428" y="0"/>
                  </a:moveTo>
                  <a:lnTo>
                    <a:pt x="389" y="0"/>
                  </a:lnTo>
                  <a:lnTo>
                    <a:pt x="389" y="39"/>
                  </a:lnTo>
                  <a:lnTo>
                    <a:pt x="428" y="39"/>
                  </a:lnTo>
                  <a:lnTo>
                    <a:pt x="428" y="0"/>
                  </a:lnTo>
                  <a:close/>
                  <a:moveTo>
                    <a:pt x="350" y="0"/>
                  </a:moveTo>
                  <a:lnTo>
                    <a:pt x="311" y="0"/>
                  </a:lnTo>
                  <a:lnTo>
                    <a:pt x="311" y="39"/>
                  </a:lnTo>
                  <a:lnTo>
                    <a:pt x="350" y="39"/>
                  </a:lnTo>
                  <a:lnTo>
                    <a:pt x="350" y="0"/>
                  </a:lnTo>
                  <a:close/>
                  <a:moveTo>
                    <a:pt x="273" y="0"/>
                  </a:moveTo>
                  <a:lnTo>
                    <a:pt x="234" y="0"/>
                  </a:lnTo>
                  <a:lnTo>
                    <a:pt x="234" y="39"/>
                  </a:lnTo>
                  <a:lnTo>
                    <a:pt x="273" y="39"/>
                  </a:lnTo>
                  <a:lnTo>
                    <a:pt x="273" y="0"/>
                  </a:lnTo>
                  <a:close/>
                  <a:moveTo>
                    <a:pt x="195" y="0"/>
                  </a:moveTo>
                  <a:lnTo>
                    <a:pt x="155" y="0"/>
                  </a:lnTo>
                  <a:lnTo>
                    <a:pt x="155" y="39"/>
                  </a:lnTo>
                  <a:lnTo>
                    <a:pt x="195" y="39"/>
                  </a:lnTo>
                  <a:lnTo>
                    <a:pt x="195" y="0"/>
                  </a:lnTo>
                  <a:close/>
                  <a:moveTo>
                    <a:pt x="116" y="0"/>
                  </a:moveTo>
                  <a:lnTo>
                    <a:pt x="77" y="0"/>
                  </a:lnTo>
                  <a:lnTo>
                    <a:pt x="77" y="39"/>
                  </a:lnTo>
                  <a:lnTo>
                    <a:pt x="116" y="39"/>
                  </a:lnTo>
                  <a:lnTo>
                    <a:pt x="1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41" name="arrow cycle"/>
            <p:cNvSpPr>
              <a:spLocks noChangeAspect="1" noEditPoints="1"/>
            </p:cNvSpPr>
            <p:nvPr/>
          </p:nvSpPr>
          <p:spPr bwMode="auto">
            <a:xfrm rot="11880000">
              <a:off x="7240262" y="2525008"/>
              <a:ext cx="2460673" cy="2183106"/>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rgbClr val="7FBA00"/>
            </a:solidFill>
            <a:ln>
              <a:noFill/>
            </a:ln>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grpSp>
      <p:sp>
        <p:nvSpPr>
          <p:cNvPr id="142" name="grey circle"/>
          <p:cNvSpPr/>
          <p:nvPr/>
        </p:nvSpPr>
        <p:spPr bwMode="auto">
          <a:xfrm>
            <a:off x="6762265" y="1792649"/>
            <a:ext cx="4857527" cy="4859763"/>
          </a:xfrm>
          <a:prstGeom prst="ellipse">
            <a:avLst/>
          </a:prstGeom>
          <a:noFill/>
          <a:ln w="142875" cap="flat" cmpd="sng" algn="ctr">
            <a:solidFill>
              <a:srgbClr val="969696">
                <a:lumMod val="40000"/>
                <a:lumOff val="60000"/>
              </a:srgbClr>
            </a:solidFill>
            <a:prstDash val="solid"/>
            <a:headEnd type="none" w="med" len="med"/>
            <a:tailEnd type="none" w="med" len="med"/>
          </a:ln>
          <a:effectLst/>
        </p:spPr>
        <p:txBody>
          <a:bodyPr vert="horz" wrap="square" lIns="77708" tIns="38854" rIns="77708" bIns="38854" numCol="1" rtlCol="0" anchor="ctr" anchorCtr="0" compatLnSpc="1">
            <a:prstTxWarp prst="textNoShape">
              <a:avLst/>
            </a:prstTxWarp>
          </a:bodyPr>
          <a:lstStyle/>
          <a:p>
            <a:pPr algn="ctr" defTabSz="776873">
              <a:lnSpc>
                <a:spcPct val="90000"/>
              </a:lnSpc>
              <a:defRPr/>
            </a:pPr>
            <a:endParaRPr lang="en-US" sz="1666" kern="0" spc="-43" dirty="0">
              <a:gradFill>
                <a:gsLst>
                  <a:gs pos="0">
                    <a:srgbClr val="EFEFEF"/>
                  </a:gs>
                  <a:gs pos="100000">
                    <a:srgbClr val="EFEFEF"/>
                  </a:gs>
                </a:gsLst>
                <a:lin ang="5400000" scaled="0"/>
              </a:gradFill>
              <a:latin typeface="Segoe UI"/>
            </a:endParaRPr>
          </a:p>
        </p:txBody>
      </p:sp>
      <p:grpSp>
        <p:nvGrpSpPr>
          <p:cNvPr id="143" name="identity"/>
          <p:cNvGrpSpPr/>
          <p:nvPr/>
        </p:nvGrpSpPr>
        <p:grpSpPr>
          <a:xfrm>
            <a:off x="6457147" y="3436092"/>
            <a:ext cx="714298" cy="700483"/>
            <a:chOff x="5236199" y="2525674"/>
            <a:chExt cx="840390" cy="823755"/>
          </a:xfrm>
        </p:grpSpPr>
        <p:sp>
          <p:nvSpPr>
            <p:cNvPr id="144" name="TextBox 143"/>
            <p:cNvSpPr txBox="1"/>
            <p:nvPr/>
          </p:nvSpPr>
          <p:spPr>
            <a:xfrm>
              <a:off x="5236199" y="2976958"/>
              <a:ext cx="840390" cy="372471"/>
            </a:xfrm>
            <a:prstGeom prst="rect">
              <a:avLst/>
            </a:prstGeom>
            <a:noFill/>
          </p:spPr>
          <p:txBody>
            <a:bodyPr wrap="none" lIns="0" tIns="44810" rIns="0" bIns="0" rtlCol="0" anchor="t"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l" defTabSz="517937">
                <a:lnSpc>
                  <a:spcPct val="90000"/>
                </a:lnSpc>
                <a:defRPr/>
              </a:pPr>
              <a:r>
                <a:rPr lang="en-US" sz="1960" b="1" kern="0" spc="-60" dirty="0">
                  <a:solidFill>
                    <a:srgbClr val="00188F"/>
                  </a:solidFill>
                  <a:latin typeface="Segoe UI Light"/>
                </a:rPr>
                <a:t>Identity</a:t>
              </a:r>
            </a:p>
          </p:txBody>
        </p:sp>
        <p:sp>
          <p:nvSpPr>
            <p:cNvPr id="145" name="Freeform 27"/>
            <p:cNvSpPr>
              <a:spLocks noChangeAspect="1" noEditPoints="1"/>
            </p:cNvSpPr>
            <p:nvPr/>
          </p:nvSpPr>
          <p:spPr bwMode="auto">
            <a:xfrm>
              <a:off x="5481075" y="2525674"/>
              <a:ext cx="385809" cy="427654"/>
            </a:xfrm>
            <a:custGeom>
              <a:avLst/>
              <a:gdLst>
                <a:gd name="T0" fmla="*/ 129 w 355"/>
                <a:gd name="T1" fmla="*/ 67 h 394"/>
                <a:gd name="T2" fmla="*/ 17 w 355"/>
                <a:gd name="T3" fmla="*/ 253 h 394"/>
                <a:gd name="T4" fmla="*/ 158 w 355"/>
                <a:gd name="T5" fmla="*/ 332 h 394"/>
                <a:gd name="T6" fmla="*/ 249 w 355"/>
                <a:gd name="T7" fmla="*/ 179 h 394"/>
                <a:gd name="T8" fmla="*/ 139 w 355"/>
                <a:gd name="T9" fmla="*/ 118 h 394"/>
                <a:gd name="T10" fmla="*/ 68 w 355"/>
                <a:gd name="T11" fmla="*/ 237 h 394"/>
                <a:gd name="T12" fmla="*/ 147 w 355"/>
                <a:gd name="T13" fmla="*/ 281 h 394"/>
                <a:gd name="T14" fmla="*/ 198 w 355"/>
                <a:gd name="T15" fmla="*/ 195 h 394"/>
                <a:gd name="T16" fmla="*/ 150 w 355"/>
                <a:gd name="T17" fmla="*/ 169 h 394"/>
                <a:gd name="T18" fmla="*/ 120 w 355"/>
                <a:gd name="T19" fmla="*/ 220 h 394"/>
                <a:gd name="T20" fmla="*/ 136 w 355"/>
                <a:gd name="T21" fmla="*/ 229 h 394"/>
                <a:gd name="T22" fmla="*/ 147 w 355"/>
                <a:gd name="T23" fmla="*/ 211 h 394"/>
                <a:gd name="T24" fmla="*/ 156 w 355"/>
                <a:gd name="T25" fmla="*/ 195 h 394"/>
                <a:gd name="T26" fmla="*/ 170 w 355"/>
                <a:gd name="T27" fmla="*/ 204 h 394"/>
                <a:gd name="T28" fmla="*/ 141 w 355"/>
                <a:gd name="T29" fmla="*/ 254 h 394"/>
                <a:gd name="T30" fmla="*/ 96 w 355"/>
                <a:gd name="T31" fmla="*/ 228 h 394"/>
                <a:gd name="T32" fmla="*/ 145 w 355"/>
                <a:gd name="T33" fmla="*/ 144 h 394"/>
                <a:gd name="T34" fmla="*/ 222 w 355"/>
                <a:gd name="T35" fmla="*/ 188 h 394"/>
                <a:gd name="T36" fmla="*/ 152 w 355"/>
                <a:gd name="T37" fmla="*/ 305 h 394"/>
                <a:gd name="T38" fmla="*/ 44 w 355"/>
                <a:gd name="T39" fmla="*/ 245 h 394"/>
                <a:gd name="T40" fmla="*/ 134 w 355"/>
                <a:gd name="T41" fmla="*/ 93 h 394"/>
                <a:gd name="T42" fmla="*/ 272 w 355"/>
                <a:gd name="T43" fmla="*/ 171 h 394"/>
                <a:gd name="T44" fmla="*/ 163 w 355"/>
                <a:gd name="T45" fmla="*/ 356 h 394"/>
                <a:gd name="T46" fmla="*/ 91 w 355"/>
                <a:gd name="T47" fmla="*/ 360 h 394"/>
                <a:gd name="T48" fmla="*/ 79 w 355"/>
                <a:gd name="T49" fmla="*/ 362 h 394"/>
                <a:gd name="T50" fmla="*/ 73 w 355"/>
                <a:gd name="T51" fmla="*/ 371 h 394"/>
                <a:gd name="T52" fmla="*/ 73 w 355"/>
                <a:gd name="T53" fmla="*/ 378 h 394"/>
                <a:gd name="T54" fmla="*/ 82 w 355"/>
                <a:gd name="T55" fmla="*/ 387 h 394"/>
                <a:gd name="T56" fmla="*/ 168 w 355"/>
                <a:gd name="T57" fmla="*/ 383 h 394"/>
                <a:gd name="T58" fmla="*/ 300 w 355"/>
                <a:gd name="T59" fmla="*/ 162 h 394"/>
                <a:gd name="T60" fmla="*/ 129 w 355"/>
                <a:gd name="T61" fmla="*/ 67 h 394"/>
                <a:gd name="T62" fmla="*/ 353 w 355"/>
                <a:gd name="T63" fmla="*/ 142 h 394"/>
                <a:gd name="T64" fmla="*/ 271 w 355"/>
                <a:gd name="T65" fmla="*/ 28 h 394"/>
                <a:gd name="T66" fmla="*/ 127 w 355"/>
                <a:gd name="T67" fmla="*/ 16 h 394"/>
                <a:gd name="T68" fmla="*/ 116 w 355"/>
                <a:gd name="T69" fmla="*/ 34 h 394"/>
                <a:gd name="T70" fmla="*/ 133 w 355"/>
                <a:gd name="T71" fmla="*/ 43 h 394"/>
                <a:gd name="T72" fmla="*/ 255 w 355"/>
                <a:gd name="T73" fmla="*/ 53 h 394"/>
                <a:gd name="T74" fmla="*/ 326 w 355"/>
                <a:gd name="T75" fmla="*/ 151 h 394"/>
                <a:gd name="T76" fmla="*/ 338 w 355"/>
                <a:gd name="T77" fmla="*/ 160 h 394"/>
                <a:gd name="T78" fmla="*/ 342 w 355"/>
                <a:gd name="T79" fmla="*/ 160 h 394"/>
                <a:gd name="T80" fmla="*/ 353 w 355"/>
                <a:gd name="T81" fmla="*/ 142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5" h="394">
                  <a:moveTo>
                    <a:pt x="129" y="67"/>
                  </a:moveTo>
                  <a:cubicBezTo>
                    <a:pt x="50" y="92"/>
                    <a:pt x="0" y="175"/>
                    <a:pt x="17" y="253"/>
                  </a:cubicBezTo>
                  <a:cubicBezTo>
                    <a:pt x="30" y="317"/>
                    <a:pt x="93" y="353"/>
                    <a:pt x="158" y="332"/>
                  </a:cubicBezTo>
                  <a:cubicBezTo>
                    <a:pt x="222" y="311"/>
                    <a:pt x="263" y="243"/>
                    <a:pt x="249" y="179"/>
                  </a:cubicBezTo>
                  <a:cubicBezTo>
                    <a:pt x="239" y="129"/>
                    <a:pt x="189" y="101"/>
                    <a:pt x="139" y="118"/>
                  </a:cubicBezTo>
                  <a:cubicBezTo>
                    <a:pt x="90" y="133"/>
                    <a:pt x="58" y="187"/>
                    <a:pt x="68" y="237"/>
                  </a:cubicBezTo>
                  <a:cubicBezTo>
                    <a:pt x="76" y="273"/>
                    <a:pt x="111" y="292"/>
                    <a:pt x="147" y="281"/>
                  </a:cubicBezTo>
                  <a:cubicBezTo>
                    <a:pt x="183" y="270"/>
                    <a:pt x="205" y="231"/>
                    <a:pt x="198" y="195"/>
                  </a:cubicBezTo>
                  <a:cubicBezTo>
                    <a:pt x="193" y="173"/>
                    <a:pt x="172" y="161"/>
                    <a:pt x="150" y="169"/>
                  </a:cubicBezTo>
                  <a:cubicBezTo>
                    <a:pt x="129" y="175"/>
                    <a:pt x="115" y="199"/>
                    <a:pt x="120" y="220"/>
                  </a:cubicBezTo>
                  <a:cubicBezTo>
                    <a:pt x="121" y="228"/>
                    <a:pt x="128" y="232"/>
                    <a:pt x="136" y="229"/>
                  </a:cubicBezTo>
                  <a:cubicBezTo>
                    <a:pt x="144" y="226"/>
                    <a:pt x="149" y="219"/>
                    <a:pt x="147" y="211"/>
                  </a:cubicBezTo>
                  <a:cubicBezTo>
                    <a:pt x="146" y="205"/>
                    <a:pt x="150" y="197"/>
                    <a:pt x="156" y="195"/>
                  </a:cubicBezTo>
                  <a:cubicBezTo>
                    <a:pt x="162" y="193"/>
                    <a:pt x="169" y="197"/>
                    <a:pt x="170" y="204"/>
                  </a:cubicBezTo>
                  <a:cubicBezTo>
                    <a:pt x="175" y="225"/>
                    <a:pt x="162" y="248"/>
                    <a:pt x="141" y="254"/>
                  </a:cubicBezTo>
                  <a:cubicBezTo>
                    <a:pt x="121" y="261"/>
                    <a:pt x="100" y="249"/>
                    <a:pt x="96" y="228"/>
                  </a:cubicBezTo>
                  <a:cubicBezTo>
                    <a:pt x="88" y="193"/>
                    <a:pt x="111" y="155"/>
                    <a:pt x="145" y="144"/>
                  </a:cubicBezTo>
                  <a:cubicBezTo>
                    <a:pt x="180" y="133"/>
                    <a:pt x="214" y="153"/>
                    <a:pt x="222" y="188"/>
                  </a:cubicBezTo>
                  <a:cubicBezTo>
                    <a:pt x="232" y="237"/>
                    <a:pt x="201" y="289"/>
                    <a:pt x="152" y="305"/>
                  </a:cubicBezTo>
                  <a:cubicBezTo>
                    <a:pt x="103" y="321"/>
                    <a:pt x="55" y="294"/>
                    <a:pt x="44" y="245"/>
                  </a:cubicBezTo>
                  <a:cubicBezTo>
                    <a:pt x="31" y="181"/>
                    <a:pt x="71" y="114"/>
                    <a:pt x="134" y="93"/>
                  </a:cubicBezTo>
                  <a:cubicBezTo>
                    <a:pt x="197" y="73"/>
                    <a:pt x="259" y="108"/>
                    <a:pt x="272" y="171"/>
                  </a:cubicBezTo>
                  <a:cubicBezTo>
                    <a:pt x="289" y="249"/>
                    <a:pt x="239" y="332"/>
                    <a:pt x="163" y="356"/>
                  </a:cubicBezTo>
                  <a:cubicBezTo>
                    <a:pt x="140" y="364"/>
                    <a:pt x="115" y="365"/>
                    <a:pt x="91" y="360"/>
                  </a:cubicBezTo>
                  <a:cubicBezTo>
                    <a:pt x="87" y="359"/>
                    <a:pt x="83" y="360"/>
                    <a:pt x="79" y="362"/>
                  </a:cubicBezTo>
                  <a:cubicBezTo>
                    <a:pt x="76" y="364"/>
                    <a:pt x="74" y="367"/>
                    <a:pt x="73" y="371"/>
                  </a:cubicBezTo>
                  <a:cubicBezTo>
                    <a:pt x="72" y="373"/>
                    <a:pt x="72" y="375"/>
                    <a:pt x="73" y="378"/>
                  </a:cubicBezTo>
                  <a:cubicBezTo>
                    <a:pt x="74" y="383"/>
                    <a:pt x="77" y="387"/>
                    <a:pt x="82" y="387"/>
                  </a:cubicBezTo>
                  <a:cubicBezTo>
                    <a:pt x="110" y="394"/>
                    <a:pt x="140" y="392"/>
                    <a:pt x="168" y="383"/>
                  </a:cubicBezTo>
                  <a:cubicBezTo>
                    <a:pt x="260" y="354"/>
                    <a:pt x="319" y="255"/>
                    <a:pt x="300" y="162"/>
                  </a:cubicBezTo>
                  <a:cubicBezTo>
                    <a:pt x="284" y="85"/>
                    <a:pt x="207" y="41"/>
                    <a:pt x="129" y="67"/>
                  </a:cubicBezTo>
                  <a:close/>
                  <a:moveTo>
                    <a:pt x="353" y="142"/>
                  </a:moveTo>
                  <a:cubicBezTo>
                    <a:pt x="343" y="92"/>
                    <a:pt x="314" y="52"/>
                    <a:pt x="271" y="28"/>
                  </a:cubicBezTo>
                  <a:cubicBezTo>
                    <a:pt x="228" y="4"/>
                    <a:pt x="177" y="0"/>
                    <a:pt x="127" y="16"/>
                  </a:cubicBezTo>
                  <a:cubicBezTo>
                    <a:pt x="119" y="18"/>
                    <a:pt x="114" y="26"/>
                    <a:pt x="116" y="34"/>
                  </a:cubicBezTo>
                  <a:cubicBezTo>
                    <a:pt x="118" y="41"/>
                    <a:pt x="125" y="46"/>
                    <a:pt x="133" y="43"/>
                  </a:cubicBezTo>
                  <a:cubicBezTo>
                    <a:pt x="175" y="29"/>
                    <a:pt x="219" y="33"/>
                    <a:pt x="255" y="53"/>
                  </a:cubicBezTo>
                  <a:cubicBezTo>
                    <a:pt x="292" y="74"/>
                    <a:pt x="317" y="108"/>
                    <a:pt x="326" y="151"/>
                  </a:cubicBezTo>
                  <a:cubicBezTo>
                    <a:pt x="327" y="157"/>
                    <a:pt x="332" y="160"/>
                    <a:pt x="338" y="160"/>
                  </a:cubicBezTo>
                  <a:cubicBezTo>
                    <a:pt x="339" y="160"/>
                    <a:pt x="341" y="160"/>
                    <a:pt x="342" y="160"/>
                  </a:cubicBezTo>
                  <a:cubicBezTo>
                    <a:pt x="350" y="157"/>
                    <a:pt x="355" y="149"/>
                    <a:pt x="353" y="142"/>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grpSp>
      <p:grpSp>
        <p:nvGrpSpPr>
          <p:cNvPr id="146" name="virtualization"/>
          <p:cNvGrpSpPr/>
          <p:nvPr/>
        </p:nvGrpSpPr>
        <p:grpSpPr>
          <a:xfrm>
            <a:off x="8566420" y="1524558"/>
            <a:ext cx="1272271" cy="729588"/>
            <a:chOff x="7697879" y="308887"/>
            <a:chExt cx="1496857" cy="857983"/>
          </a:xfrm>
        </p:grpSpPr>
        <p:sp>
          <p:nvSpPr>
            <p:cNvPr id="147" name="TextBox 146"/>
            <p:cNvSpPr txBox="1"/>
            <p:nvPr/>
          </p:nvSpPr>
          <p:spPr>
            <a:xfrm>
              <a:off x="7697879" y="794398"/>
              <a:ext cx="1496857" cy="372472"/>
            </a:xfrm>
            <a:prstGeom prst="rect">
              <a:avLst/>
            </a:prstGeom>
            <a:noFill/>
          </p:spPr>
          <p:txBody>
            <a:bodyPr wrap="none" lIns="0" tIns="44810" rIns="0" bIns="0" rtlCol="0" anchor="t" anchorCtr="0">
              <a:spAutoFit/>
            </a:bodyPr>
            <a:lstStyle/>
            <a:p>
              <a:pPr defTabSz="517937">
                <a:lnSpc>
                  <a:spcPct val="90000"/>
                </a:lnSpc>
                <a:defRPr/>
              </a:pPr>
              <a:r>
                <a:rPr lang="en-US" sz="1960" b="1" kern="0" spc="-60" dirty="0">
                  <a:solidFill>
                    <a:srgbClr val="00188F"/>
                  </a:solidFill>
                  <a:latin typeface="Segoe UI Light"/>
                  <a:ea typeface="Segoe UI" pitchFamily="34" charset="0"/>
                  <a:cs typeface="Segoe UI" pitchFamily="34" charset="0"/>
                </a:rPr>
                <a:t>Virtualization</a:t>
              </a:r>
            </a:p>
          </p:txBody>
        </p:sp>
        <p:grpSp>
          <p:nvGrpSpPr>
            <p:cNvPr id="148" name="Group 147"/>
            <p:cNvGrpSpPr>
              <a:grpSpLocks noChangeAspect="1"/>
            </p:cNvGrpSpPr>
            <p:nvPr/>
          </p:nvGrpSpPr>
          <p:grpSpPr bwMode="black">
            <a:xfrm>
              <a:off x="8162968" y="308887"/>
              <a:ext cx="628004" cy="484787"/>
              <a:chOff x="7010400" y="2133600"/>
              <a:chExt cx="1379538" cy="1065213"/>
            </a:xfrm>
          </p:grpSpPr>
          <p:sp>
            <p:nvSpPr>
              <p:cNvPr id="149"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50"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51"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52"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53"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54"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55"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56"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5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5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5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6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6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6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6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6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6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6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6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6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6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7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7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7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7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7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7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7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7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7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7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8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8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8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8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8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8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8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8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8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8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9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9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9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9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9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sp>
            <p:nvSpPr>
              <p:cNvPr id="195"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grpSp>
      </p:grpSp>
      <p:grpSp>
        <p:nvGrpSpPr>
          <p:cNvPr id="196" name="data"/>
          <p:cNvGrpSpPr/>
          <p:nvPr/>
        </p:nvGrpSpPr>
        <p:grpSpPr>
          <a:xfrm>
            <a:off x="11288423" y="3464902"/>
            <a:ext cx="825803" cy="943155"/>
            <a:chOff x="10861837" y="2559557"/>
            <a:chExt cx="971577" cy="1109135"/>
          </a:xfrm>
        </p:grpSpPr>
        <p:sp>
          <p:nvSpPr>
            <p:cNvPr id="197" name="TextBox 196"/>
            <p:cNvSpPr txBox="1"/>
            <p:nvPr/>
          </p:nvSpPr>
          <p:spPr>
            <a:xfrm>
              <a:off x="10861837" y="2976958"/>
              <a:ext cx="971577" cy="691734"/>
            </a:xfrm>
            <a:prstGeom prst="rect">
              <a:avLst/>
            </a:prstGeom>
            <a:noFill/>
            <a:ln>
              <a:noFill/>
              <a:headEnd type="none" w="med" len="med"/>
              <a:tailEnd type="none" w="med" len="med"/>
            </a:ln>
          </p:spPr>
          <p:txBody>
            <a:bodyPr wrap="none" lIns="0" tIns="44810" rIns="0" bIns="0" rtlCol="0" anchor="t"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l" defTabSz="517937">
                <a:lnSpc>
                  <a:spcPct val="90000"/>
                </a:lnSpc>
                <a:defRPr/>
              </a:pPr>
              <a:r>
                <a:rPr lang="en-US" sz="1960" b="1" kern="0" spc="-60" dirty="0">
                  <a:solidFill>
                    <a:srgbClr val="00188F"/>
                  </a:solidFill>
                  <a:latin typeface="Segoe UI Light"/>
                </a:rPr>
                <a:t>Data</a:t>
              </a:r>
            </a:p>
            <a:p>
              <a:pPr algn="l" defTabSz="517937">
                <a:lnSpc>
                  <a:spcPct val="90000"/>
                </a:lnSpc>
                <a:defRPr/>
              </a:pPr>
              <a:r>
                <a:rPr lang="en-US" sz="1960" b="1" kern="0" spc="-60" dirty="0">
                  <a:solidFill>
                    <a:srgbClr val="00188F"/>
                  </a:solidFill>
                  <a:latin typeface="Segoe UI Light"/>
                </a:rPr>
                <a:t>Platform</a:t>
              </a:r>
            </a:p>
          </p:txBody>
        </p:sp>
        <p:sp>
          <p:nvSpPr>
            <p:cNvPr id="198" name="Freeform 11"/>
            <p:cNvSpPr>
              <a:spLocks noChangeAspect="1" noEditPoints="1"/>
            </p:cNvSpPr>
            <p:nvPr/>
          </p:nvSpPr>
          <p:spPr bwMode="auto">
            <a:xfrm>
              <a:off x="10996438" y="2559557"/>
              <a:ext cx="434550" cy="380289"/>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505050"/>
            </a:solidFill>
            <a:ln>
              <a:noFill/>
            </a:ln>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grpSp>
      <p:grpSp>
        <p:nvGrpSpPr>
          <p:cNvPr id="199" name="devlopment"/>
          <p:cNvGrpSpPr/>
          <p:nvPr/>
        </p:nvGrpSpPr>
        <p:grpSpPr>
          <a:xfrm>
            <a:off x="6989356" y="5615294"/>
            <a:ext cx="1329210" cy="668969"/>
            <a:chOff x="5693581" y="4716694"/>
            <a:chExt cx="1563847" cy="786696"/>
          </a:xfrm>
        </p:grpSpPr>
        <p:sp>
          <p:nvSpPr>
            <p:cNvPr id="200" name="TextBox 199"/>
            <p:cNvSpPr txBox="1"/>
            <p:nvPr/>
          </p:nvSpPr>
          <p:spPr>
            <a:xfrm>
              <a:off x="5693581" y="5130918"/>
              <a:ext cx="1563847" cy="372472"/>
            </a:xfrm>
            <a:prstGeom prst="rect">
              <a:avLst/>
            </a:prstGeom>
            <a:noFill/>
          </p:spPr>
          <p:txBody>
            <a:bodyPr wrap="none" lIns="0" tIns="44810" rIns="0" bIns="0" rtlCol="0" anchor="t" anchorCtr="0">
              <a:spAutoFit/>
            </a:bodyPr>
            <a:lstStyle/>
            <a:p>
              <a:pPr indent="-4048" defTabSz="517937">
                <a:lnSpc>
                  <a:spcPct val="90000"/>
                </a:lnSpc>
                <a:defRPr/>
              </a:pPr>
              <a:r>
                <a:rPr lang="en-US" sz="1960" b="1" kern="0" spc="-60" dirty="0">
                  <a:solidFill>
                    <a:srgbClr val="00188F"/>
                  </a:solidFill>
                  <a:latin typeface="Segoe UI Light"/>
                  <a:ea typeface="Segoe UI" pitchFamily="34" charset="0"/>
                  <a:cs typeface="Segoe UI" pitchFamily="34" charset="0"/>
                </a:rPr>
                <a:t>Development</a:t>
              </a:r>
            </a:p>
          </p:txBody>
        </p:sp>
        <p:sp>
          <p:nvSpPr>
            <p:cNvPr id="201" name="Freeform 205"/>
            <p:cNvSpPr>
              <a:spLocks noChangeAspect="1" noEditPoints="1"/>
            </p:cNvSpPr>
            <p:nvPr/>
          </p:nvSpPr>
          <p:spPr bwMode="auto">
            <a:xfrm>
              <a:off x="6278722" y="4716694"/>
              <a:ext cx="405066" cy="401172"/>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grpSp>
      <p:grpSp>
        <p:nvGrpSpPr>
          <p:cNvPr id="202" name="dev ops"/>
          <p:cNvGrpSpPr/>
          <p:nvPr/>
        </p:nvGrpSpPr>
        <p:grpSpPr>
          <a:xfrm>
            <a:off x="10293461" y="5463660"/>
            <a:ext cx="1076434" cy="961049"/>
            <a:chOff x="9877799" y="4539736"/>
            <a:chExt cx="1266451" cy="1130178"/>
          </a:xfrm>
        </p:grpSpPr>
        <p:sp>
          <p:nvSpPr>
            <p:cNvPr id="203" name="TextBox 202"/>
            <p:cNvSpPr txBox="1"/>
            <p:nvPr/>
          </p:nvSpPr>
          <p:spPr>
            <a:xfrm>
              <a:off x="9877799" y="4978181"/>
              <a:ext cx="1266451" cy="691733"/>
            </a:xfrm>
            <a:prstGeom prst="rect">
              <a:avLst/>
            </a:prstGeom>
            <a:noFill/>
          </p:spPr>
          <p:txBody>
            <a:bodyPr wrap="square" lIns="0" tIns="44810" rIns="0" bIns="0" rtlCol="0" anchor="t" anchorCtr="0">
              <a:spAutoFit/>
            </a:bodyPr>
            <a:lstStyle/>
            <a:p>
              <a:pPr defTabSz="517937">
                <a:lnSpc>
                  <a:spcPct val="90000"/>
                </a:lnSpc>
                <a:defRPr/>
              </a:pPr>
              <a:r>
                <a:rPr lang="en-US" sz="1960" b="1" kern="0" spc="-60" dirty="0">
                  <a:solidFill>
                    <a:srgbClr val="00188F"/>
                  </a:solidFill>
                  <a:latin typeface="Segoe UI Light"/>
                  <a:ea typeface="Segoe UI" pitchFamily="34" charset="0"/>
                  <a:cs typeface="Segoe UI" pitchFamily="34" charset="0"/>
                </a:rPr>
                <a:t>DevOps and mgmt</a:t>
              </a:r>
            </a:p>
          </p:txBody>
        </p:sp>
        <p:sp>
          <p:nvSpPr>
            <p:cNvPr id="204" name="Freeform 647"/>
            <p:cNvSpPr>
              <a:spLocks noChangeAspect="1" noEditPoints="1"/>
            </p:cNvSpPr>
            <p:nvPr/>
          </p:nvSpPr>
          <p:spPr bwMode="auto">
            <a:xfrm rot="5400000">
              <a:off x="10179888" y="4462006"/>
              <a:ext cx="423540" cy="579000"/>
            </a:xfrm>
            <a:custGeom>
              <a:avLst/>
              <a:gdLst>
                <a:gd name="T0" fmla="*/ 110 w 293"/>
                <a:gd name="T1" fmla="*/ 266 h 400"/>
                <a:gd name="T2" fmla="*/ 110 w 293"/>
                <a:gd name="T3" fmla="*/ 314 h 400"/>
                <a:gd name="T4" fmla="*/ 119 w 293"/>
                <a:gd name="T5" fmla="*/ 181 h 400"/>
                <a:gd name="T6" fmla="*/ 90 w 293"/>
                <a:gd name="T7" fmla="*/ 211 h 400"/>
                <a:gd name="T8" fmla="*/ 39 w 293"/>
                <a:gd name="T9" fmla="*/ 206 h 400"/>
                <a:gd name="T10" fmla="*/ 40 w 293"/>
                <a:gd name="T11" fmla="*/ 248 h 400"/>
                <a:gd name="T12" fmla="*/ 1 w 293"/>
                <a:gd name="T13" fmla="*/ 281 h 400"/>
                <a:gd name="T14" fmla="*/ 30 w 293"/>
                <a:gd name="T15" fmla="*/ 310 h 400"/>
                <a:gd name="T16" fmla="*/ 26 w 293"/>
                <a:gd name="T17" fmla="*/ 361 h 400"/>
                <a:gd name="T18" fmla="*/ 68 w 293"/>
                <a:gd name="T19" fmla="*/ 361 h 400"/>
                <a:gd name="T20" fmla="*/ 101 w 293"/>
                <a:gd name="T21" fmla="*/ 399 h 400"/>
                <a:gd name="T22" fmla="*/ 130 w 293"/>
                <a:gd name="T23" fmla="*/ 370 h 400"/>
                <a:gd name="T24" fmla="*/ 181 w 293"/>
                <a:gd name="T25" fmla="*/ 374 h 400"/>
                <a:gd name="T26" fmla="*/ 181 w 293"/>
                <a:gd name="T27" fmla="*/ 332 h 400"/>
                <a:gd name="T28" fmla="*/ 219 w 293"/>
                <a:gd name="T29" fmla="*/ 299 h 400"/>
                <a:gd name="T30" fmla="*/ 190 w 293"/>
                <a:gd name="T31" fmla="*/ 270 h 400"/>
                <a:gd name="T32" fmla="*/ 194 w 293"/>
                <a:gd name="T33" fmla="*/ 219 h 400"/>
                <a:gd name="T34" fmla="*/ 152 w 293"/>
                <a:gd name="T35" fmla="*/ 220 h 400"/>
                <a:gd name="T36" fmla="*/ 119 w 293"/>
                <a:gd name="T37" fmla="*/ 181 h 400"/>
                <a:gd name="T38" fmla="*/ 179 w 293"/>
                <a:gd name="T39" fmla="*/ 82 h 400"/>
                <a:gd name="T40" fmla="*/ 197 w 293"/>
                <a:gd name="T41" fmla="*/ 126 h 400"/>
                <a:gd name="T42" fmla="*/ 155 w 293"/>
                <a:gd name="T43" fmla="*/ 0 h 400"/>
                <a:gd name="T44" fmla="*/ 139 w 293"/>
                <a:gd name="T45" fmla="*/ 38 h 400"/>
                <a:gd name="T46" fmla="*/ 91 w 293"/>
                <a:gd name="T47" fmla="*/ 54 h 400"/>
                <a:gd name="T48" fmla="*/ 107 w 293"/>
                <a:gd name="T49" fmla="*/ 92 h 400"/>
                <a:gd name="T50" fmla="*/ 84 w 293"/>
                <a:gd name="T51" fmla="*/ 137 h 400"/>
                <a:gd name="T52" fmla="*/ 122 w 293"/>
                <a:gd name="T53" fmla="*/ 153 h 400"/>
                <a:gd name="T54" fmla="*/ 138 w 293"/>
                <a:gd name="T55" fmla="*/ 201 h 400"/>
                <a:gd name="T56" fmla="*/ 176 w 293"/>
                <a:gd name="T57" fmla="*/ 185 h 400"/>
                <a:gd name="T58" fmla="*/ 222 w 293"/>
                <a:gd name="T59" fmla="*/ 208 h 400"/>
                <a:gd name="T60" fmla="*/ 237 w 293"/>
                <a:gd name="T61" fmla="*/ 170 h 400"/>
                <a:gd name="T62" fmla="*/ 286 w 293"/>
                <a:gd name="T63" fmla="*/ 154 h 400"/>
                <a:gd name="T64" fmla="*/ 270 w 293"/>
                <a:gd name="T65" fmla="*/ 116 h 400"/>
                <a:gd name="T66" fmla="*/ 293 w 293"/>
                <a:gd name="T67" fmla="*/ 71 h 400"/>
                <a:gd name="T68" fmla="*/ 254 w 293"/>
                <a:gd name="T69" fmla="*/ 55 h 400"/>
                <a:gd name="T70" fmla="*/ 239 w 293"/>
                <a:gd name="T71" fmla="*/ 7 h 400"/>
                <a:gd name="T72" fmla="*/ 200 w 293"/>
                <a:gd name="T73" fmla="*/ 23 h 400"/>
                <a:gd name="T74" fmla="*/ 155 w 293"/>
                <a:gd name="T7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3" h="400">
                  <a:moveTo>
                    <a:pt x="86" y="290"/>
                  </a:moveTo>
                  <a:cubicBezTo>
                    <a:pt x="86" y="277"/>
                    <a:pt x="97" y="266"/>
                    <a:pt x="110" y="266"/>
                  </a:cubicBezTo>
                  <a:cubicBezTo>
                    <a:pt x="123" y="266"/>
                    <a:pt x="134" y="277"/>
                    <a:pt x="134" y="290"/>
                  </a:cubicBezTo>
                  <a:cubicBezTo>
                    <a:pt x="134" y="303"/>
                    <a:pt x="123" y="314"/>
                    <a:pt x="110" y="314"/>
                  </a:cubicBezTo>
                  <a:cubicBezTo>
                    <a:pt x="97" y="314"/>
                    <a:pt x="86" y="303"/>
                    <a:pt x="86" y="290"/>
                  </a:cubicBezTo>
                  <a:close/>
                  <a:moveTo>
                    <a:pt x="119" y="181"/>
                  </a:moveTo>
                  <a:cubicBezTo>
                    <a:pt x="113" y="180"/>
                    <a:pt x="107" y="180"/>
                    <a:pt x="101" y="181"/>
                  </a:cubicBezTo>
                  <a:cubicBezTo>
                    <a:pt x="90" y="211"/>
                    <a:pt x="90" y="211"/>
                    <a:pt x="90" y="211"/>
                  </a:cubicBezTo>
                  <a:cubicBezTo>
                    <a:pt x="82" y="212"/>
                    <a:pt x="75" y="216"/>
                    <a:pt x="68" y="220"/>
                  </a:cubicBezTo>
                  <a:cubicBezTo>
                    <a:pt x="39" y="206"/>
                    <a:pt x="39" y="206"/>
                    <a:pt x="39" y="206"/>
                  </a:cubicBezTo>
                  <a:cubicBezTo>
                    <a:pt x="35" y="210"/>
                    <a:pt x="30" y="215"/>
                    <a:pt x="26" y="219"/>
                  </a:cubicBezTo>
                  <a:cubicBezTo>
                    <a:pt x="40" y="248"/>
                    <a:pt x="40" y="248"/>
                    <a:pt x="40" y="248"/>
                  </a:cubicBezTo>
                  <a:cubicBezTo>
                    <a:pt x="36" y="255"/>
                    <a:pt x="32" y="262"/>
                    <a:pt x="31" y="270"/>
                  </a:cubicBezTo>
                  <a:cubicBezTo>
                    <a:pt x="1" y="281"/>
                    <a:pt x="1" y="281"/>
                    <a:pt x="1" y="281"/>
                  </a:cubicBezTo>
                  <a:cubicBezTo>
                    <a:pt x="0" y="287"/>
                    <a:pt x="0" y="293"/>
                    <a:pt x="1" y="299"/>
                  </a:cubicBezTo>
                  <a:cubicBezTo>
                    <a:pt x="30" y="310"/>
                    <a:pt x="30" y="310"/>
                    <a:pt x="30" y="310"/>
                  </a:cubicBezTo>
                  <a:cubicBezTo>
                    <a:pt x="32" y="318"/>
                    <a:pt x="36" y="325"/>
                    <a:pt x="40" y="332"/>
                  </a:cubicBezTo>
                  <a:cubicBezTo>
                    <a:pt x="26" y="361"/>
                    <a:pt x="26" y="361"/>
                    <a:pt x="26" y="361"/>
                  </a:cubicBezTo>
                  <a:cubicBezTo>
                    <a:pt x="30" y="366"/>
                    <a:pt x="35" y="370"/>
                    <a:pt x="39" y="374"/>
                  </a:cubicBezTo>
                  <a:cubicBezTo>
                    <a:pt x="68" y="361"/>
                    <a:pt x="68" y="361"/>
                    <a:pt x="68" y="361"/>
                  </a:cubicBezTo>
                  <a:cubicBezTo>
                    <a:pt x="75" y="365"/>
                    <a:pt x="82" y="368"/>
                    <a:pt x="90" y="370"/>
                  </a:cubicBezTo>
                  <a:cubicBezTo>
                    <a:pt x="101" y="399"/>
                    <a:pt x="101" y="399"/>
                    <a:pt x="101" y="399"/>
                  </a:cubicBezTo>
                  <a:cubicBezTo>
                    <a:pt x="107" y="400"/>
                    <a:pt x="113" y="400"/>
                    <a:pt x="119" y="399"/>
                  </a:cubicBezTo>
                  <a:cubicBezTo>
                    <a:pt x="130" y="370"/>
                    <a:pt x="130" y="370"/>
                    <a:pt x="130" y="370"/>
                  </a:cubicBezTo>
                  <a:cubicBezTo>
                    <a:pt x="138" y="368"/>
                    <a:pt x="145" y="365"/>
                    <a:pt x="152" y="361"/>
                  </a:cubicBezTo>
                  <a:cubicBezTo>
                    <a:pt x="181" y="374"/>
                    <a:pt x="181" y="374"/>
                    <a:pt x="181" y="374"/>
                  </a:cubicBezTo>
                  <a:cubicBezTo>
                    <a:pt x="185" y="370"/>
                    <a:pt x="190" y="366"/>
                    <a:pt x="194" y="361"/>
                  </a:cubicBezTo>
                  <a:cubicBezTo>
                    <a:pt x="181" y="332"/>
                    <a:pt x="181" y="332"/>
                    <a:pt x="181" y="332"/>
                  </a:cubicBezTo>
                  <a:cubicBezTo>
                    <a:pt x="185" y="325"/>
                    <a:pt x="188" y="318"/>
                    <a:pt x="190" y="310"/>
                  </a:cubicBezTo>
                  <a:cubicBezTo>
                    <a:pt x="219" y="299"/>
                    <a:pt x="219" y="299"/>
                    <a:pt x="219" y="299"/>
                  </a:cubicBezTo>
                  <a:cubicBezTo>
                    <a:pt x="220" y="293"/>
                    <a:pt x="220" y="287"/>
                    <a:pt x="219" y="281"/>
                  </a:cubicBezTo>
                  <a:cubicBezTo>
                    <a:pt x="190" y="270"/>
                    <a:pt x="190" y="270"/>
                    <a:pt x="190" y="270"/>
                  </a:cubicBezTo>
                  <a:cubicBezTo>
                    <a:pt x="188" y="262"/>
                    <a:pt x="185" y="255"/>
                    <a:pt x="181" y="248"/>
                  </a:cubicBezTo>
                  <a:cubicBezTo>
                    <a:pt x="194" y="219"/>
                    <a:pt x="194" y="219"/>
                    <a:pt x="194" y="219"/>
                  </a:cubicBezTo>
                  <a:cubicBezTo>
                    <a:pt x="190" y="215"/>
                    <a:pt x="185" y="210"/>
                    <a:pt x="181" y="206"/>
                  </a:cubicBezTo>
                  <a:cubicBezTo>
                    <a:pt x="152" y="220"/>
                    <a:pt x="152" y="220"/>
                    <a:pt x="152" y="220"/>
                  </a:cubicBezTo>
                  <a:cubicBezTo>
                    <a:pt x="145" y="216"/>
                    <a:pt x="138" y="212"/>
                    <a:pt x="130" y="211"/>
                  </a:cubicBezTo>
                  <a:lnTo>
                    <a:pt x="119" y="181"/>
                  </a:lnTo>
                  <a:close/>
                  <a:moveTo>
                    <a:pt x="167" y="113"/>
                  </a:moveTo>
                  <a:cubicBezTo>
                    <a:pt x="162" y="101"/>
                    <a:pt x="167" y="87"/>
                    <a:pt x="179" y="82"/>
                  </a:cubicBezTo>
                  <a:cubicBezTo>
                    <a:pt x="191" y="77"/>
                    <a:pt x="205" y="83"/>
                    <a:pt x="210" y="95"/>
                  </a:cubicBezTo>
                  <a:cubicBezTo>
                    <a:pt x="215" y="107"/>
                    <a:pt x="210" y="121"/>
                    <a:pt x="197" y="126"/>
                  </a:cubicBezTo>
                  <a:cubicBezTo>
                    <a:pt x="185" y="131"/>
                    <a:pt x="172" y="125"/>
                    <a:pt x="167" y="113"/>
                  </a:cubicBezTo>
                  <a:close/>
                  <a:moveTo>
                    <a:pt x="155" y="0"/>
                  </a:moveTo>
                  <a:cubicBezTo>
                    <a:pt x="149" y="2"/>
                    <a:pt x="144" y="4"/>
                    <a:pt x="138" y="7"/>
                  </a:cubicBezTo>
                  <a:cubicBezTo>
                    <a:pt x="139" y="38"/>
                    <a:pt x="139" y="38"/>
                    <a:pt x="139" y="38"/>
                  </a:cubicBezTo>
                  <a:cubicBezTo>
                    <a:pt x="133" y="43"/>
                    <a:pt x="127" y="49"/>
                    <a:pt x="123" y="55"/>
                  </a:cubicBezTo>
                  <a:cubicBezTo>
                    <a:pt x="91" y="54"/>
                    <a:pt x="91" y="54"/>
                    <a:pt x="91" y="54"/>
                  </a:cubicBezTo>
                  <a:cubicBezTo>
                    <a:pt x="88" y="59"/>
                    <a:pt x="86" y="65"/>
                    <a:pt x="84" y="71"/>
                  </a:cubicBezTo>
                  <a:cubicBezTo>
                    <a:pt x="107" y="92"/>
                    <a:pt x="107" y="92"/>
                    <a:pt x="107" y="92"/>
                  </a:cubicBezTo>
                  <a:cubicBezTo>
                    <a:pt x="106" y="100"/>
                    <a:pt x="106" y="108"/>
                    <a:pt x="107" y="116"/>
                  </a:cubicBezTo>
                  <a:cubicBezTo>
                    <a:pt x="84" y="137"/>
                    <a:pt x="84" y="137"/>
                    <a:pt x="84" y="137"/>
                  </a:cubicBezTo>
                  <a:cubicBezTo>
                    <a:pt x="86" y="143"/>
                    <a:pt x="88" y="149"/>
                    <a:pt x="91" y="154"/>
                  </a:cubicBezTo>
                  <a:cubicBezTo>
                    <a:pt x="122" y="153"/>
                    <a:pt x="122" y="153"/>
                    <a:pt x="122" y="153"/>
                  </a:cubicBezTo>
                  <a:cubicBezTo>
                    <a:pt x="127" y="159"/>
                    <a:pt x="133" y="165"/>
                    <a:pt x="139" y="170"/>
                  </a:cubicBezTo>
                  <a:cubicBezTo>
                    <a:pt x="138" y="201"/>
                    <a:pt x="138" y="201"/>
                    <a:pt x="138" y="201"/>
                  </a:cubicBezTo>
                  <a:cubicBezTo>
                    <a:pt x="144" y="204"/>
                    <a:pt x="149" y="206"/>
                    <a:pt x="155" y="208"/>
                  </a:cubicBezTo>
                  <a:cubicBezTo>
                    <a:pt x="176" y="185"/>
                    <a:pt x="176" y="185"/>
                    <a:pt x="176" y="185"/>
                  </a:cubicBezTo>
                  <a:cubicBezTo>
                    <a:pt x="184" y="186"/>
                    <a:pt x="193" y="186"/>
                    <a:pt x="200" y="185"/>
                  </a:cubicBezTo>
                  <a:cubicBezTo>
                    <a:pt x="222" y="208"/>
                    <a:pt x="222" y="208"/>
                    <a:pt x="222" y="208"/>
                  </a:cubicBezTo>
                  <a:cubicBezTo>
                    <a:pt x="228" y="206"/>
                    <a:pt x="233" y="204"/>
                    <a:pt x="239" y="201"/>
                  </a:cubicBezTo>
                  <a:cubicBezTo>
                    <a:pt x="237" y="170"/>
                    <a:pt x="237" y="170"/>
                    <a:pt x="237" y="170"/>
                  </a:cubicBezTo>
                  <a:cubicBezTo>
                    <a:pt x="244" y="165"/>
                    <a:pt x="250" y="159"/>
                    <a:pt x="254" y="153"/>
                  </a:cubicBezTo>
                  <a:cubicBezTo>
                    <a:pt x="286" y="154"/>
                    <a:pt x="286" y="154"/>
                    <a:pt x="286" y="154"/>
                  </a:cubicBezTo>
                  <a:cubicBezTo>
                    <a:pt x="289" y="149"/>
                    <a:pt x="291" y="143"/>
                    <a:pt x="293" y="137"/>
                  </a:cubicBezTo>
                  <a:cubicBezTo>
                    <a:pt x="270" y="116"/>
                    <a:pt x="270" y="116"/>
                    <a:pt x="270" y="116"/>
                  </a:cubicBezTo>
                  <a:cubicBezTo>
                    <a:pt x="271" y="108"/>
                    <a:pt x="271" y="100"/>
                    <a:pt x="270" y="92"/>
                  </a:cubicBezTo>
                  <a:cubicBezTo>
                    <a:pt x="293" y="71"/>
                    <a:pt x="293" y="71"/>
                    <a:pt x="293" y="71"/>
                  </a:cubicBezTo>
                  <a:cubicBezTo>
                    <a:pt x="291" y="65"/>
                    <a:pt x="289" y="59"/>
                    <a:pt x="286" y="54"/>
                  </a:cubicBezTo>
                  <a:cubicBezTo>
                    <a:pt x="254" y="55"/>
                    <a:pt x="254" y="55"/>
                    <a:pt x="254" y="55"/>
                  </a:cubicBezTo>
                  <a:cubicBezTo>
                    <a:pt x="249" y="49"/>
                    <a:pt x="244" y="43"/>
                    <a:pt x="237" y="38"/>
                  </a:cubicBezTo>
                  <a:cubicBezTo>
                    <a:pt x="239" y="7"/>
                    <a:pt x="239" y="7"/>
                    <a:pt x="239" y="7"/>
                  </a:cubicBezTo>
                  <a:cubicBezTo>
                    <a:pt x="233" y="4"/>
                    <a:pt x="228" y="2"/>
                    <a:pt x="222" y="0"/>
                  </a:cubicBezTo>
                  <a:cubicBezTo>
                    <a:pt x="200" y="23"/>
                    <a:pt x="200" y="23"/>
                    <a:pt x="200" y="23"/>
                  </a:cubicBezTo>
                  <a:cubicBezTo>
                    <a:pt x="192" y="22"/>
                    <a:pt x="184" y="22"/>
                    <a:pt x="176" y="23"/>
                  </a:cubicBezTo>
                  <a:lnTo>
                    <a:pt x="155" y="0"/>
                  </a:lnTo>
                  <a:close/>
                </a:path>
              </a:pathLst>
            </a:custGeom>
            <a:solidFill>
              <a:srgbClr val="505050"/>
            </a:solidFill>
            <a:ln>
              <a:noFill/>
            </a:ln>
            <a:extLst/>
          </p:spPr>
          <p:txBody>
            <a:bodyPr vert="horz" wrap="square" lIns="89619" tIns="44810" rIns="89619" bIns="44810" numCol="1" anchor="t" anchorCtr="0" compatLnSpc="1">
              <a:prstTxWarp prst="textNoShape">
                <a:avLst/>
              </a:prstTxWarp>
            </a:bodyPr>
            <a:lstStyle/>
            <a:p>
              <a:pPr defTabSz="777098">
                <a:defRPr/>
              </a:pPr>
              <a:endParaRPr lang="en-US" kern="0" dirty="0">
                <a:solidFill>
                  <a:srgbClr val="505050"/>
                </a:solidFill>
                <a:latin typeface="Segoe UI"/>
              </a:endParaRPr>
            </a:p>
          </p:txBody>
        </p:sp>
      </p:grpSp>
    </p:spTree>
    <p:extLst>
      <p:ext uri="{BB962C8B-B14F-4D97-AF65-F5344CB8AC3E}">
        <p14:creationId xmlns:p14="http://schemas.microsoft.com/office/powerpoint/2010/main" val="219148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1000"/>
                                  </p:stCondLst>
                                  <p:childTnLst>
                                    <p:set>
                                      <p:cBhvr>
                                        <p:cTn id="6" dur="1" fill="hold">
                                          <p:stCondLst>
                                            <p:cond delay="0"/>
                                          </p:stCondLst>
                                        </p:cTn>
                                        <p:tgtEl>
                                          <p:spTgt spid="391"/>
                                        </p:tgtEl>
                                        <p:attrNameLst>
                                          <p:attrName>style.visibility</p:attrName>
                                        </p:attrNameLst>
                                      </p:cBhvr>
                                      <p:to>
                                        <p:strVal val="visible"/>
                                      </p:to>
                                    </p:set>
                                  </p:childTnLst>
                                </p:cTn>
                              </p:par>
                              <p:par>
                                <p:cTn id="7" presetID="6" presetClass="emph" presetSubtype="0" accel="100000" autoRev="1" fill="hold" grpId="1" nodeType="withEffect">
                                  <p:stCondLst>
                                    <p:cond delay="250"/>
                                  </p:stCondLst>
                                  <p:childTnLst>
                                    <p:animScale>
                                      <p:cBhvr>
                                        <p:cTn id="8" dur="750" fill="hold"/>
                                        <p:tgtEl>
                                          <p:spTgt spid="391"/>
                                        </p:tgtEl>
                                      </p:cBhvr>
                                      <p:by x="0" y="0"/>
                                    </p:animScale>
                                  </p:childTnLst>
                                </p:cTn>
                              </p:par>
                              <p:par>
                                <p:cTn id="9" presetID="8" presetClass="emph" presetSubtype="0" decel="100000" fill="hold" grpId="0" nodeType="withEffect">
                                  <p:stCondLst>
                                    <p:cond delay="1000"/>
                                  </p:stCondLst>
                                  <p:childTnLst>
                                    <p:animRot by="10800000">
                                      <p:cBhvr>
                                        <p:cTn id="10" dur="750" fill="hold"/>
                                        <p:tgtEl>
                                          <p:spTgt spid="391"/>
                                        </p:tgtEl>
                                        <p:attrNameLst>
                                          <p:attrName>r</p:attrName>
                                        </p:attrNameLst>
                                      </p:cBhvr>
                                    </p:animRot>
                                  </p:childTnLst>
                                </p:cTn>
                              </p:par>
                              <p:par>
                                <p:cTn id="11" presetID="1" presetClass="entr" presetSubtype="0" fill="hold" nodeType="withEffect">
                                  <p:stCondLst>
                                    <p:cond delay="1600"/>
                                  </p:stCondLst>
                                  <p:childTnLst>
                                    <p:set>
                                      <p:cBhvr>
                                        <p:cTn id="12" dur="1" fill="hold">
                                          <p:stCondLst>
                                            <p:cond delay="0"/>
                                          </p:stCondLst>
                                        </p:cTn>
                                        <p:tgtEl>
                                          <p:spTgt spid="385"/>
                                        </p:tgtEl>
                                        <p:attrNameLst>
                                          <p:attrName>style.visibility</p:attrName>
                                        </p:attrNameLst>
                                      </p:cBhvr>
                                      <p:to>
                                        <p:strVal val="visible"/>
                                      </p:to>
                                    </p:set>
                                  </p:childTnLst>
                                </p:cTn>
                              </p:par>
                              <p:par>
                                <p:cTn id="13" presetID="64" presetClass="path" presetSubtype="0" decel="100000" fill="hold" nodeType="withEffect">
                                  <p:stCondLst>
                                    <p:cond delay="1600"/>
                                  </p:stCondLst>
                                  <p:childTnLst>
                                    <p:animMotion origin="layout" path="M 3.4132E-6 3.33333E-6 L 3.4132E-6 -0.04098 " pathEditMode="relative" rAng="0" ptsTypes="AA">
                                      <p:cBhvr>
                                        <p:cTn id="14" dur="200" spd="-100000" fill="hold"/>
                                        <p:tgtEl>
                                          <p:spTgt spid="385"/>
                                        </p:tgtEl>
                                        <p:attrNameLst>
                                          <p:attrName>ppt_x</p:attrName>
                                          <p:attrName>ppt_y</p:attrName>
                                        </p:attrNameLst>
                                      </p:cBhvr>
                                      <p:rCtr x="0" y="-2060"/>
                                    </p:animMotion>
                                  </p:childTnLst>
                                </p:cTn>
                              </p:par>
                              <p:par>
                                <p:cTn id="15" presetID="22" presetClass="entr" presetSubtype="1" fill="hold" grpId="0" nodeType="withEffect">
                                  <p:stCondLst>
                                    <p:cond delay="2050"/>
                                  </p:stCondLst>
                                  <p:childTnLst>
                                    <p:set>
                                      <p:cBhvr>
                                        <p:cTn id="16" dur="1" fill="hold">
                                          <p:stCondLst>
                                            <p:cond delay="0"/>
                                          </p:stCondLst>
                                        </p:cTn>
                                        <p:tgtEl>
                                          <p:spTgt spid="384"/>
                                        </p:tgtEl>
                                        <p:attrNameLst>
                                          <p:attrName>style.visibility</p:attrName>
                                        </p:attrNameLst>
                                      </p:cBhvr>
                                      <p:to>
                                        <p:strVal val="visible"/>
                                      </p:to>
                                    </p:set>
                                    <p:animEffect transition="in" filter="wipe(up)">
                                      <p:cBhvr>
                                        <p:cTn id="17" dur="500"/>
                                        <p:tgtEl>
                                          <p:spTgt spid="384"/>
                                        </p:tgtEl>
                                      </p:cBhvr>
                                    </p:animEffect>
                                  </p:childTnLst>
                                </p:cTn>
                              </p:par>
                              <p:par>
                                <p:cTn id="18" presetID="1" presetClass="entr" presetSubtype="0" fill="hold" nodeType="withEffect">
                                  <p:stCondLst>
                                    <p:cond delay="2050"/>
                                  </p:stCondLst>
                                  <p:childTnLst>
                                    <p:set>
                                      <p:cBhvr>
                                        <p:cTn id="19" dur="1" fill="hold">
                                          <p:stCondLst>
                                            <p:cond delay="0"/>
                                          </p:stCondLst>
                                        </p:cTn>
                                        <p:tgtEl>
                                          <p:spTgt spid="386"/>
                                        </p:tgtEl>
                                        <p:attrNameLst>
                                          <p:attrName>style.visibility</p:attrName>
                                        </p:attrNameLst>
                                      </p:cBhvr>
                                      <p:to>
                                        <p:strVal val="visible"/>
                                      </p:to>
                                    </p:set>
                                  </p:childTnLst>
                                </p:cTn>
                              </p:par>
                              <p:par>
                                <p:cTn id="20" presetID="64" presetClass="path" presetSubtype="0" decel="100000" fill="hold" nodeType="withEffect">
                                  <p:stCondLst>
                                    <p:cond delay="2050"/>
                                  </p:stCondLst>
                                  <p:childTnLst>
                                    <p:animMotion origin="layout" path="M 3.4132E-6 3.33333E-6 L 3.4132E-6 -0.04098 " pathEditMode="relative" rAng="0" ptsTypes="AA">
                                      <p:cBhvr>
                                        <p:cTn id="21" dur="200" spd="-100000" fill="hold"/>
                                        <p:tgtEl>
                                          <p:spTgt spid="386"/>
                                        </p:tgtEl>
                                        <p:attrNameLst>
                                          <p:attrName>ppt_x</p:attrName>
                                          <p:attrName>ppt_y</p:attrName>
                                        </p:attrNameLst>
                                      </p:cBhvr>
                                      <p:rCtr x="0" y="-2060"/>
                                    </p:animMotion>
                                  </p:childTnLst>
                                </p:cTn>
                              </p:par>
                            </p:childTnLst>
                          </p:cTn>
                        </p:par>
                        <p:par>
                          <p:cTn id="22" fill="hold">
                            <p:stCondLst>
                              <p:cond delay="2550"/>
                            </p:stCondLst>
                            <p:childTnLst>
                              <p:par>
                                <p:cTn id="23" presetID="1" presetClass="entr" presetSubtype="0" fill="hold" nodeType="afterEffect">
                                  <p:stCondLst>
                                    <p:cond delay="500"/>
                                  </p:stCondLst>
                                  <p:childTnLst>
                                    <p:set>
                                      <p:cBhvr>
                                        <p:cTn id="24" dur="1" fill="hold">
                                          <p:stCondLst>
                                            <p:cond delay="0"/>
                                          </p:stCondLst>
                                        </p:cTn>
                                        <p:tgtEl>
                                          <p:spTgt spid="392"/>
                                        </p:tgtEl>
                                        <p:attrNameLst>
                                          <p:attrName>style.visibility</p:attrName>
                                        </p:attrNameLst>
                                      </p:cBhvr>
                                      <p:to>
                                        <p:strVal val="visible"/>
                                      </p:to>
                                    </p:set>
                                  </p:childTnLst>
                                </p:cTn>
                              </p:par>
                              <p:par>
                                <p:cTn id="25" presetID="1" presetClass="exit" presetSubtype="0" fill="hold" grpId="3" nodeType="withEffect">
                                  <p:stCondLst>
                                    <p:cond delay="500"/>
                                  </p:stCondLst>
                                  <p:childTnLst>
                                    <p:set>
                                      <p:cBhvr>
                                        <p:cTn id="26" dur="1" fill="hold">
                                          <p:stCondLst>
                                            <p:cond delay="0"/>
                                          </p:stCondLst>
                                        </p:cTn>
                                        <p:tgtEl>
                                          <p:spTgt spid="391"/>
                                        </p:tgtEl>
                                        <p:attrNameLst>
                                          <p:attrName>style.visibility</p:attrName>
                                        </p:attrNameLst>
                                      </p:cBhvr>
                                      <p:to>
                                        <p:strVal val="hidden"/>
                                      </p:to>
                                    </p:set>
                                  </p:childTnLst>
                                </p:cTn>
                              </p:par>
                              <p:par>
                                <p:cTn id="27" presetID="1" presetClass="exit" presetSubtype="0" fill="hold" nodeType="withEffect">
                                  <p:stCondLst>
                                    <p:cond delay="500"/>
                                  </p:stCondLst>
                                  <p:childTnLst>
                                    <p:set>
                                      <p:cBhvr>
                                        <p:cTn id="28" dur="1" fill="hold">
                                          <p:stCondLst>
                                            <p:cond delay="0"/>
                                          </p:stCondLst>
                                        </p:cTn>
                                        <p:tgtEl>
                                          <p:spTgt spid="385"/>
                                        </p:tgtEl>
                                        <p:attrNameLst>
                                          <p:attrName>style.visibility</p:attrName>
                                        </p:attrNameLst>
                                      </p:cBhvr>
                                      <p:to>
                                        <p:strVal val="hidden"/>
                                      </p:to>
                                    </p:set>
                                  </p:childTnLst>
                                </p:cTn>
                              </p:par>
                              <p:par>
                                <p:cTn id="29" presetID="1" presetClass="exit" presetSubtype="0" fill="hold" grpId="1" nodeType="withEffect">
                                  <p:stCondLst>
                                    <p:cond delay="500"/>
                                  </p:stCondLst>
                                  <p:childTnLst>
                                    <p:set>
                                      <p:cBhvr>
                                        <p:cTn id="30" dur="1" fill="hold">
                                          <p:stCondLst>
                                            <p:cond delay="0"/>
                                          </p:stCondLst>
                                        </p:cTn>
                                        <p:tgtEl>
                                          <p:spTgt spid="384"/>
                                        </p:tgtEl>
                                        <p:attrNameLst>
                                          <p:attrName>style.visibility</p:attrName>
                                        </p:attrNameLst>
                                      </p:cBhvr>
                                      <p:to>
                                        <p:strVal val="hidden"/>
                                      </p:to>
                                    </p:set>
                                  </p:childTnLst>
                                </p:cTn>
                              </p:par>
                              <p:par>
                                <p:cTn id="31" presetID="1" presetClass="exit" presetSubtype="0" fill="hold" nodeType="withEffect">
                                  <p:stCondLst>
                                    <p:cond delay="500"/>
                                  </p:stCondLst>
                                  <p:childTnLst>
                                    <p:set>
                                      <p:cBhvr>
                                        <p:cTn id="32" dur="1" fill="hold">
                                          <p:stCondLst>
                                            <p:cond delay="0"/>
                                          </p:stCondLst>
                                        </p:cTn>
                                        <p:tgtEl>
                                          <p:spTgt spid="386"/>
                                        </p:tgtEl>
                                        <p:attrNameLst>
                                          <p:attrName>style.visibility</p:attrName>
                                        </p:attrNameLst>
                                      </p:cBhvr>
                                      <p:to>
                                        <p:strVal val="hidden"/>
                                      </p:to>
                                    </p:set>
                                  </p:childTnLst>
                                </p:cTn>
                              </p:par>
                              <p:par>
                                <p:cTn id="33" presetID="6" presetClass="emph" presetSubtype="0" decel="100000" fill="hold" nodeType="withEffect">
                                  <p:stCondLst>
                                    <p:cond delay="500"/>
                                  </p:stCondLst>
                                  <p:childTnLst>
                                    <p:animScale>
                                      <p:cBhvr>
                                        <p:cTn id="34" dur="750" fill="hold"/>
                                        <p:tgtEl>
                                          <p:spTgt spid="392"/>
                                        </p:tgtEl>
                                      </p:cBhvr>
                                      <p:by x="75140" y="75140"/>
                                    </p:animScale>
                                  </p:childTnLst>
                                </p:cTn>
                              </p:par>
                              <p:par>
                                <p:cTn id="35" presetID="1" presetClass="exit" presetSubtype="0" fill="hold" nodeType="withEffect">
                                  <p:stCondLst>
                                    <p:cond delay="1250"/>
                                  </p:stCondLst>
                                  <p:childTnLst>
                                    <p:set>
                                      <p:cBhvr>
                                        <p:cTn id="36" dur="1" fill="hold">
                                          <p:stCondLst>
                                            <p:cond delay="0"/>
                                          </p:stCondLst>
                                        </p:cTn>
                                        <p:tgtEl>
                                          <p:spTgt spid="392"/>
                                        </p:tgtEl>
                                        <p:attrNameLst>
                                          <p:attrName>style.visibility</p:attrName>
                                        </p:attrNameLst>
                                      </p:cBhvr>
                                      <p:to>
                                        <p:strVal val="hidden"/>
                                      </p:to>
                                    </p:set>
                                  </p:childTnLst>
                                </p:cTn>
                              </p:par>
                              <p:par>
                                <p:cTn id="37" presetID="53" presetClass="entr" presetSubtype="16" fill="hold" grpId="0" nodeType="withEffect">
                                  <p:stCondLst>
                                    <p:cond delay="0"/>
                                  </p:stCondLst>
                                  <p:childTnLst>
                                    <p:set>
                                      <p:cBhvr>
                                        <p:cTn id="38" dur="1" fill="hold">
                                          <p:stCondLst>
                                            <p:cond delay="0"/>
                                          </p:stCondLst>
                                        </p:cTn>
                                        <p:tgtEl>
                                          <p:spTgt spid="119"/>
                                        </p:tgtEl>
                                        <p:attrNameLst>
                                          <p:attrName>style.visibility</p:attrName>
                                        </p:attrNameLst>
                                      </p:cBhvr>
                                      <p:to>
                                        <p:strVal val="visible"/>
                                      </p:to>
                                    </p:set>
                                    <p:anim calcmode="lin" valueType="num">
                                      <p:cBhvr>
                                        <p:cTn id="39" dur="250" fill="hold"/>
                                        <p:tgtEl>
                                          <p:spTgt spid="119"/>
                                        </p:tgtEl>
                                        <p:attrNameLst>
                                          <p:attrName>ppt_w</p:attrName>
                                        </p:attrNameLst>
                                      </p:cBhvr>
                                      <p:tavLst>
                                        <p:tav tm="0">
                                          <p:val>
                                            <p:fltVal val="0"/>
                                          </p:val>
                                        </p:tav>
                                        <p:tav tm="100000">
                                          <p:val>
                                            <p:strVal val="#ppt_w"/>
                                          </p:val>
                                        </p:tav>
                                      </p:tavLst>
                                    </p:anim>
                                    <p:anim calcmode="lin" valueType="num">
                                      <p:cBhvr>
                                        <p:cTn id="40" dur="250" fill="hold"/>
                                        <p:tgtEl>
                                          <p:spTgt spid="119"/>
                                        </p:tgtEl>
                                        <p:attrNameLst>
                                          <p:attrName>ppt_h</p:attrName>
                                        </p:attrNameLst>
                                      </p:cBhvr>
                                      <p:tavLst>
                                        <p:tav tm="0">
                                          <p:val>
                                            <p:fltVal val="0"/>
                                          </p:val>
                                        </p:tav>
                                        <p:tav tm="100000">
                                          <p:val>
                                            <p:strVal val="#ppt_h"/>
                                          </p:val>
                                        </p:tav>
                                      </p:tavLst>
                                    </p:anim>
                                    <p:animEffect transition="in" filter="fade">
                                      <p:cBhvr>
                                        <p:cTn id="41" dur="250"/>
                                        <p:tgtEl>
                                          <p:spTgt spid="119"/>
                                        </p:tgtEl>
                                      </p:cBhvr>
                                    </p:animEffect>
                                  </p:childTnLst>
                                </p:cTn>
                              </p:par>
                              <p:par>
                                <p:cTn id="42" presetID="6" presetClass="emph" presetSubtype="0" decel="100000" fill="hold" grpId="1" nodeType="withEffect">
                                  <p:stCondLst>
                                    <p:cond delay="700"/>
                                  </p:stCondLst>
                                  <p:childTnLst>
                                    <p:animScale>
                                      <p:cBhvr>
                                        <p:cTn id="43" dur="250" fill="hold"/>
                                        <p:tgtEl>
                                          <p:spTgt spid="119"/>
                                        </p:tgtEl>
                                      </p:cBhvr>
                                      <p:by x="110000" y="110000"/>
                                    </p:animScale>
                                  </p:childTnLst>
                                </p:cTn>
                              </p:par>
                              <p:par>
                                <p:cTn id="44" presetID="6" presetClass="emph" presetSubtype="0" decel="100000" fill="hold" grpId="2" nodeType="withEffect">
                                  <p:stCondLst>
                                    <p:cond delay="900"/>
                                  </p:stCondLst>
                                  <p:childTnLst>
                                    <p:animScale>
                                      <p:cBhvr>
                                        <p:cTn id="45" dur="250" fill="hold"/>
                                        <p:tgtEl>
                                          <p:spTgt spid="119"/>
                                        </p:tgtEl>
                                      </p:cBhvr>
                                      <p:by x="91000" y="91000"/>
                                    </p:animScale>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132"/>
                                        </p:tgtEl>
                                        <p:attrNameLst>
                                          <p:attrName>style.visibility</p:attrName>
                                        </p:attrNameLst>
                                      </p:cBhvr>
                                      <p:to>
                                        <p:strVal val="visible"/>
                                      </p:to>
                                    </p:set>
                                    <p:animEffect transition="in" filter="fade">
                                      <p:cBhvr>
                                        <p:cTn id="50" dur="500"/>
                                        <p:tgtEl>
                                          <p:spTgt spid="132"/>
                                        </p:tgtEl>
                                      </p:cBhvr>
                                    </p:animEffect>
                                  </p:childTnLst>
                                </p:cTn>
                              </p:par>
                              <p:par>
                                <p:cTn id="51" presetID="1" presetClass="entr" presetSubtype="0" fill="hold" nodeType="withEffect">
                                  <p:stCondLst>
                                    <p:cond delay="750"/>
                                  </p:stCondLst>
                                  <p:childTnLst>
                                    <p:set>
                                      <p:cBhvr>
                                        <p:cTn id="52" dur="1" fill="hold">
                                          <p:stCondLst>
                                            <p:cond delay="0"/>
                                          </p:stCondLst>
                                        </p:cTn>
                                        <p:tgtEl>
                                          <p:spTgt spid="143"/>
                                        </p:tgtEl>
                                        <p:attrNameLst>
                                          <p:attrName>style.visibility</p:attrName>
                                        </p:attrNameLst>
                                      </p:cBhvr>
                                      <p:to>
                                        <p:strVal val="visible"/>
                                      </p:to>
                                    </p:set>
                                  </p:childTnLst>
                                </p:cTn>
                              </p:par>
                              <p:par>
                                <p:cTn id="53" presetID="6" presetClass="emph" presetSubtype="0" accel="100000" autoRev="1" fill="hold" nodeType="withEffect">
                                  <p:stCondLst>
                                    <p:cond delay="0"/>
                                  </p:stCondLst>
                                  <p:childTnLst>
                                    <p:animScale>
                                      <p:cBhvr>
                                        <p:cTn id="54" dur="750" fill="hold"/>
                                        <p:tgtEl>
                                          <p:spTgt spid="143"/>
                                        </p:tgtEl>
                                      </p:cBhvr>
                                      <p:by x="0" y="0"/>
                                    </p:animScale>
                                  </p:childTnLst>
                                </p:cTn>
                              </p:par>
                              <p:par>
                                <p:cTn id="55" presetID="42" presetClass="path" presetSubtype="0" decel="100000" fill="hold" nodeType="withEffect">
                                  <p:stCondLst>
                                    <p:cond delay="750"/>
                                  </p:stCondLst>
                                  <p:childTnLst>
                                    <p:animMotion origin="layout" path="M 1.15395E-6 9.71548E-7 L 0.23157 0.05829 " pathEditMode="relative" rAng="0" ptsTypes="AA">
                                      <p:cBhvr>
                                        <p:cTn id="56" dur="1000" spd="-100000" fill="hold"/>
                                        <p:tgtEl>
                                          <p:spTgt spid="143"/>
                                        </p:tgtEl>
                                        <p:attrNameLst>
                                          <p:attrName>ppt_x</p:attrName>
                                          <p:attrName>ppt_y</p:attrName>
                                        </p:attrNameLst>
                                      </p:cBhvr>
                                      <p:rCtr x="11579" y="2915"/>
                                    </p:animMotion>
                                  </p:childTnLst>
                                </p:cTn>
                              </p:par>
                              <p:par>
                                <p:cTn id="57" presetID="1" presetClass="entr" presetSubtype="0" fill="hold" nodeType="withEffect">
                                  <p:stCondLst>
                                    <p:cond delay="850"/>
                                  </p:stCondLst>
                                  <p:childTnLst>
                                    <p:set>
                                      <p:cBhvr>
                                        <p:cTn id="58" dur="1" fill="hold">
                                          <p:stCondLst>
                                            <p:cond delay="0"/>
                                          </p:stCondLst>
                                        </p:cTn>
                                        <p:tgtEl>
                                          <p:spTgt spid="146"/>
                                        </p:tgtEl>
                                        <p:attrNameLst>
                                          <p:attrName>style.visibility</p:attrName>
                                        </p:attrNameLst>
                                      </p:cBhvr>
                                      <p:to>
                                        <p:strVal val="visible"/>
                                      </p:to>
                                    </p:set>
                                  </p:childTnLst>
                                </p:cTn>
                              </p:par>
                              <p:par>
                                <p:cTn id="59" presetID="6" presetClass="emph" presetSubtype="0" accel="100000" autoRev="1" fill="hold" nodeType="withEffect">
                                  <p:stCondLst>
                                    <p:cond delay="100"/>
                                  </p:stCondLst>
                                  <p:childTnLst>
                                    <p:animScale>
                                      <p:cBhvr>
                                        <p:cTn id="60" dur="750" fill="hold"/>
                                        <p:tgtEl>
                                          <p:spTgt spid="146"/>
                                        </p:tgtEl>
                                      </p:cBhvr>
                                      <p:by x="0" y="0"/>
                                    </p:animScale>
                                  </p:childTnLst>
                                </p:cTn>
                              </p:par>
                              <p:par>
                                <p:cTn id="61" presetID="42" presetClass="path" presetSubtype="0" decel="100000" fill="hold" nodeType="withEffect">
                                  <p:stCondLst>
                                    <p:cond delay="850"/>
                                  </p:stCondLst>
                                  <p:childTnLst>
                                    <p:animMotion origin="layout" path="M 4.32404E-7 -3.24543E-6 L 4.32404E-7 0.3833 " pathEditMode="relative" rAng="0" ptsTypes="AA">
                                      <p:cBhvr>
                                        <p:cTn id="62" dur="1000" spd="-100000" fill="hold"/>
                                        <p:tgtEl>
                                          <p:spTgt spid="146"/>
                                        </p:tgtEl>
                                        <p:attrNameLst>
                                          <p:attrName>ppt_x</p:attrName>
                                          <p:attrName>ppt_y</p:attrName>
                                        </p:attrNameLst>
                                      </p:cBhvr>
                                      <p:rCtr x="0" y="19153"/>
                                    </p:animMotion>
                                  </p:childTnLst>
                                </p:cTn>
                              </p:par>
                              <p:par>
                                <p:cTn id="63" presetID="1" presetClass="entr" presetSubtype="0" fill="hold" nodeType="withEffect">
                                  <p:stCondLst>
                                    <p:cond delay="950"/>
                                  </p:stCondLst>
                                  <p:childTnLst>
                                    <p:set>
                                      <p:cBhvr>
                                        <p:cTn id="64" dur="1" fill="hold">
                                          <p:stCondLst>
                                            <p:cond delay="0"/>
                                          </p:stCondLst>
                                        </p:cTn>
                                        <p:tgtEl>
                                          <p:spTgt spid="196"/>
                                        </p:tgtEl>
                                        <p:attrNameLst>
                                          <p:attrName>style.visibility</p:attrName>
                                        </p:attrNameLst>
                                      </p:cBhvr>
                                      <p:to>
                                        <p:strVal val="visible"/>
                                      </p:to>
                                    </p:set>
                                  </p:childTnLst>
                                </p:cTn>
                              </p:par>
                              <p:par>
                                <p:cTn id="65" presetID="6" presetClass="emph" presetSubtype="0" accel="100000" autoRev="1" fill="hold" nodeType="withEffect">
                                  <p:stCondLst>
                                    <p:cond delay="200"/>
                                  </p:stCondLst>
                                  <p:childTnLst>
                                    <p:animScale>
                                      <p:cBhvr>
                                        <p:cTn id="66" dur="750" fill="hold"/>
                                        <p:tgtEl>
                                          <p:spTgt spid="196"/>
                                        </p:tgtEl>
                                      </p:cBhvr>
                                      <p:by x="0" y="0"/>
                                    </p:animScale>
                                  </p:childTnLst>
                                </p:cTn>
                              </p:par>
                              <p:par>
                                <p:cTn id="67" presetID="42" presetClass="path" presetSubtype="0" decel="100000" fill="hold" nodeType="withEffect">
                                  <p:stCondLst>
                                    <p:cond delay="950"/>
                                  </p:stCondLst>
                                  <p:childTnLst>
                                    <p:animMotion origin="layout" path="M 2.61787E-6 -3.55771E-6 L -0.23001 0.05575 " pathEditMode="relative" rAng="0" ptsTypes="AA">
                                      <p:cBhvr>
                                        <p:cTn id="68" dur="1000" spd="-100000" fill="hold"/>
                                        <p:tgtEl>
                                          <p:spTgt spid="196"/>
                                        </p:tgtEl>
                                        <p:attrNameLst>
                                          <p:attrName>ppt_x</p:attrName>
                                          <p:attrName>ppt_y</p:attrName>
                                        </p:attrNameLst>
                                      </p:cBhvr>
                                      <p:rCtr x="-11500" y="2776"/>
                                    </p:animMotion>
                                  </p:childTnLst>
                                </p:cTn>
                              </p:par>
                              <p:par>
                                <p:cTn id="69" presetID="1" presetClass="entr" presetSubtype="0" fill="hold" nodeType="withEffect">
                                  <p:stCondLst>
                                    <p:cond delay="1050"/>
                                  </p:stCondLst>
                                  <p:childTnLst>
                                    <p:set>
                                      <p:cBhvr>
                                        <p:cTn id="70" dur="1" fill="hold">
                                          <p:stCondLst>
                                            <p:cond delay="0"/>
                                          </p:stCondLst>
                                        </p:cTn>
                                        <p:tgtEl>
                                          <p:spTgt spid="202"/>
                                        </p:tgtEl>
                                        <p:attrNameLst>
                                          <p:attrName>style.visibility</p:attrName>
                                        </p:attrNameLst>
                                      </p:cBhvr>
                                      <p:to>
                                        <p:strVal val="visible"/>
                                      </p:to>
                                    </p:set>
                                  </p:childTnLst>
                                </p:cTn>
                              </p:par>
                              <p:par>
                                <p:cTn id="71" presetID="6" presetClass="emph" presetSubtype="0" accel="100000" autoRev="1" fill="hold" nodeType="withEffect">
                                  <p:stCondLst>
                                    <p:cond delay="300"/>
                                  </p:stCondLst>
                                  <p:childTnLst>
                                    <p:animScale>
                                      <p:cBhvr>
                                        <p:cTn id="72" dur="750" fill="hold"/>
                                        <p:tgtEl>
                                          <p:spTgt spid="202"/>
                                        </p:tgtEl>
                                      </p:cBhvr>
                                      <p:by x="0" y="0"/>
                                    </p:animScale>
                                  </p:childTnLst>
                                </p:cTn>
                              </p:par>
                              <p:par>
                                <p:cTn id="73" presetID="42" presetClass="path" presetSubtype="0" decel="100000" fill="hold" nodeType="withEffect">
                                  <p:stCondLst>
                                    <p:cond delay="1050"/>
                                  </p:stCondLst>
                                  <p:childTnLst>
                                    <p:animMotion origin="layout" path="M 2.39646E-6 3.66181E-6 L -0.15486 -0.31252 " pathEditMode="relative" rAng="0" ptsTypes="AA">
                                      <p:cBhvr>
                                        <p:cTn id="74" dur="1000" spd="-100000" fill="hold"/>
                                        <p:tgtEl>
                                          <p:spTgt spid="202"/>
                                        </p:tgtEl>
                                        <p:attrNameLst>
                                          <p:attrName>ppt_x</p:attrName>
                                          <p:attrName>ppt_y</p:attrName>
                                        </p:attrNameLst>
                                      </p:cBhvr>
                                      <p:rCtr x="-7749" y="-15637"/>
                                    </p:animMotion>
                                  </p:childTnLst>
                                </p:cTn>
                              </p:par>
                              <p:par>
                                <p:cTn id="75" presetID="1" presetClass="entr" presetSubtype="0" fill="hold" nodeType="withEffect">
                                  <p:stCondLst>
                                    <p:cond delay="1120"/>
                                  </p:stCondLst>
                                  <p:childTnLst>
                                    <p:set>
                                      <p:cBhvr>
                                        <p:cTn id="76" dur="1" fill="hold">
                                          <p:stCondLst>
                                            <p:cond delay="0"/>
                                          </p:stCondLst>
                                        </p:cTn>
                                        <p:tgtEl>
                                          <p:spTgt spid="199"/>
                                        </p:tgtEl>
                                        <p:attrNameLst>
                                          <p:attrName>style.visibility</p:attrName>
                                        </p:attrNameLst>
                                      </p:cBhvr>
                                      <p:to>
                                        <p:strVal val="visible"/>
                                      </p:to>
                                    </p:set>
                                  </p:childTnLst>
                                </p:cTn>
                              </p:par>
                              <p:par>
                                <p:cTn id="77" presetID="6" presetClass="emph" presetSubtype="0" accel="100000" autoRev="1" fill="hold" nodeType="withEffect">
                                  <p:stCondLst>
                                    <p:cond delay="400"/>
                                  </p:stCondLst>
                                  <p:childTnLst>
                                    <p:animScale>
                                      <p:cBhvr>
                                        <p:cTn id="78" dur="750" fill="hold"/>
                                        <p:tgtEl>
                                          <p:spTgt spid="199"/>
                                        </p:tgtEl>
                                      </p:cBhvr>
                                      <p:by x="0" y="0"/>
                                    </p:animScale>
                                  </p:childTnLst>
                                </p:cTn>
                              </p:par>
                              <p:par>
                                <p:cTn id="79" presetID="42" presetClass="path" presetSubtype="0" decel="100000" fill="hold" nodeType="withEffect">
                                  <p:stCondLst>
                                    <p:cond delay="1120"/>
                                  </p:stCondLst>
                                  <p:childTnLst>
                                    <p:animMotion origin="layout" path="M -2.19067E-6 3.66181E-6 L 0.14913 -0.31252 " pathEditMode="relative" rAng="0" ptsTypes="AA">
                                      <p:cBhvr>
                                        <p:cTn id="80" dur="1000" spd="-100000" fill="hold"/>
                                        <p:tgtEl>
                                          <p:spTgt spid="199"/>
                                        </p:tgtEl>
                                        <p:attrNameLst>
                                          <p:attrName>ppt_x</p:attrName>
                                          <p:attrName>ppt_y</p:attrName>
                                        </p:attrNameLst>
                                      </p:cBhvr>
                                      <p:rCtr x="7450" y="-15637"/>
                                    </p:animMotion>
                                  </p:childTnLst>
                                </p:cTn>
                              </p:par>
                              <p:par>
                                <p:cTn id="81" presetID="1" presetClass="entr" presetSubtype="0" fill="hold" grpId="1" nodeType="withEffect">
                                  <p:stCondLst>
                                    <p:cond delay="1000"/>
                                  </p:stCondLst>
                                  <p:childTnLst>
                                    <p:set>
                                      <p:cBhvr>
                                        <p:cTn id="82" dur="1" fill="hold">
                                          <p:stCondLst>
                                            <p:cond delay="0"/>
                                          </p:stCondLst>
                                        </p:cTn>
                                        <p:tgtEl>
                                          <p:spTgt spid="142"/>
                                        </p:tgtEl>
                                        <p:attrNameLst>
                                          <p:attrName>style.visibility</p:attrName>
                                        </p:attrNameLst>
                                      </p:cBhvr>
                                      <p:to>
                                        <p:strVal val="visible"/>
                                      </p:to>
                                    </p:set>
                                  </p:childTnLst>
                                </p:cTn>
                              </p:par>
                              <p:par>
                                <p:cTn id="83" presetID="6" presetClass="emph" presetSubtype="0" accel="100000" autoRev="1" fill="hold" grpId="0" nodeType="withEffect">
                                  <p:stCondLst>
                                    <p:cond delay="0"/>
                                  </p:stCondLst>
                                  <p:childTnLst>
                                    <p:animScale>
                                      <p:cBhvr>
                                        <p:cTn id="84" dur="750" fill="hold"/>
                                        <p:tgtEl>
                                          <p:spTgt spid="142"/>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4" grpId="0" animBg="1"/>
      <p:bldP spid="384" grpId="1" animBg="1"/>
      <p:bldP spid="391" grpId="0" animBg="1"/>
      <p:bldP spid="391" grpId="1" animBg="1"/>
      <p:bldP spid="391" grpId="2" animBg="1"/>
      <p:bldP spid="391" grpId="3" animBg="1"/>
      <p:bldP spid="119" grpId="0" animBg="1"/>
      <p:bldP spid="119" grpId="1" animBg="1"/>
      <p:bldP spid="119" grpId="2" animBg="1"/>
      <p:bldP spid="142" grpId="0" animBg="1"/>
      <p:bldP spid="142"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3511454" y="640161"/>
            <a:ext cx="855799" cy="855799"/>
            <a:chOff x="3581177" y="651758"/>
            <a:chExt cx="873187" cy="873187"/>
          </a:xfrm>
        </p:grpSpPr>
        <p:sp>
          <p:nvSpPr>
            <p:cNvPr id="49" name="Oval 48"/>
            <p:cNvSpPr/>
            <p:nvPr/>
          </p:nvSpPr>
          <p:spPr bwMode="auto">
            <a:xfrm>
              <a:off x="3581177" y="651758"/>
              <a:ext cx="873187" cy="873187"/>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rgbClr val="002060"/>
                </a:solidFill>
              </a:endParaRPr>
            </a:p>
          </p:txBody>
        </p:sp>
        <p:grpSp>
          <p:nvGrpSpPr>
            <p:cNvPr id="29" name="Group 28"/>
            <p:cNvGrpSpPr/>
            <p:nvPr/>
          </p:nvGrpSpPr>
          <p:grpSpPr>
            <a:xfrm>
              <a:off x="3832975" y="817018"/>
              <a:ext cx="381238" cy="542666"/>
              <a:chOff x="3835619" y="817245"/>
              <a:chExt cx="381238" cy="542666"/>
            </a:xfrm>
          </p:grpSpPr>
          <p:grpSp>
            <p:nvGrpSpPr>
              <p:cNvPr id="4" name="Group 3"/>
              <p:cNvGrpSpPr/>
              <p:nvPr/>
            </p:nvGrpSpPr>
            <p:grpSpPr>
              <a:xfrm>
                <a:off x="3835619" y="817245"/>
                <a:ext cx="359938" cy="542666"/>
                <a:chOff x="3856723" y="808673"/>
                <a:chExt cx="287576" cy="433568"/>
              </a:xfrm>
            </p:grpSpPr>
            <p:sp>
              <p:nvSpPr>
                <p:cNvPr id="3" name="Rectangle 2"/>
                <p:cNvSpPr/>
                <p:nvPr/>
              </p:nvSpPr>
              <p:spPr bwMode="auto">
                <a:xfrm>
                  <a:off x="3856723" y="808673"/>
                  <a:ext cx="137160" cy="13716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rgbClr val="002060"/>
                    </a:solidFill>
                  </a:endParaRPr>
                </a:p>
              </p:txBody>
            </p:sp>
            <p:sp>
              <p:nvSpPr>
                <p:cNvPr id="80" name="Rectangle 79"/>
                <p:cNvSpPr/>
                <p:nvPr/>
              </p:nvSpPr>
              <p:spPr bwMode="auto">
                <a:xfrm>
                  <a:off x="4007139" y="808673"/>
                  <a:ext cx="137160" cy="137160"/>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rgbClr val="002060"/>
                    </a:solidFill>
                  </a:endParaRPr>
                </a:p>
              </p:txBody>
            </p:sp>
            <p:sp>
              <p:nvSpPr>
                <p:cNvPr id="81" name="Rectangle 80"/>
                <p:cNvSpPr/>
                <p:nvPr/>
              </p:nvSpPr>
              <p:spPr bwMode="auto">
                <a:xfrm>
                  <a:off x="3856723" y="956877"/>
                  <a:ext cx="137160" cy="13716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rgbClr val="002060"/>
                    </a:solidFill>
                  </a:endParaRPr>
                </a:p>
              </p:txBody>
            </p:sp>
            <p:sp>
              <p:nvSpPr>
                <p:cNvPr id="82" name="Rectangle 81"/>
                <p:cNvSpPr/>
                <p:nvPr/>
              </p:nvSpPr>
              <p:spPr bwMode="auto">
                <a:xfrm>
                  <a:off x="4007139" y="956877"/>
                  <a:ext cx="137160" cy="13716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rgbClr val="002060"/>
                    </a:solidFill>
                  </a:endParaRPr>
                </a:p>
              </p:txBody>
            </p:sp>
            <p:sp>
              <p:nvSpPr>
                <p:cNvPr id="83" name="Rectangle 82"/>
                <p:cNvSpPr/>
                <p:nvPr/>
              </p:nvSpPr>
              <p:spPr bwMode="auto">
                <a:xfrm>
                  <a:off x="3856723" y="1105081"/>
                  <a:ext cx="287576" cy="13716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rgbClr val="002060"/>
                    </a:solidFill>
                  </a:endParaRPr>
                </a:p>
              </p:txBody>
            </p:sp>
          </p:grpSp>
          <p:cxnSp>
            <p:nvCxnSpPr>
              <p:cNvPr id="8" name="Straight Connector 7"/>
              <p:cNvCxnSpPr/>
              <p:nvPr/>
            </p:nvCxnSpPr>
            <p:spPr>
              <a:xfrm>
                <a:off x="4058915" y="882812"/>
                <a:ext cx="61349" cy="70445"/>
              </a:xfrm>
              <a:prstGeom prst="line">
                <a:avLst/>
              </a:prstGeom>
              <a:ln w="38100">
                <a:solidFill>
                  <a:srgbClr val="EFEF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4100876" y="836661"/>
                <a:ext cx="115981" cy="111738"/>
              </a:xfrm>
              <a:prstGeom prst="line">
                <a:avLst/>
              </a:prstGeom>
              <a:ln w="38100">
                <a:solidFill>
                  <a:srgbClr val="EFEFE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8" name="Group 27"/>
          <p:cNvGrpSpPr/>
          <p:nvPr/>
        </p:nvGrpSpPr>
        <p:grpSpPr>
          <a:xfrm>
            <a:off x="3511454" y="1777577"/>
            <a:ext cx="855799" cy="855799"/>
            <a:chOff x="3581177" y="1812284"/>
            <a:chExt cx="873187" cy="873187"/>
          </a:xfrm>
        </p:grpSpPr>
        <p:sp>
          <p:nvSpPr>
            <p:cNvPr id="66" name="Oval 65"/>
            <p:cNvSpPr/>
            <p:nvPr/>
          </p:nvSpPr>
          <p:spPr bwMode="auto">
            <a:xfrm>
              <a:off x="3581177" y="1812284"/>
              <a:ext cx="873187" cy="873187"/>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rgbClr val="002060"/>
                </a:solidFill>
              </a:endParaRPr>
            </a:p>
          </p:txBody>
        </p:sp>
        <p:sp>
          <p:nvSpPr>
            <p:cNvPr id="85" name="Freeform 84"/>
            <p:cNvSpPr>
              <a:spLocks noChangeAspect="1"/>
            </p:cNvSpPr>
            <p:nvPr/>
          </p:nvSpPr>
          <p:spPr bwMode="black">
            <a:xfrm>
              <a:off x="3696031" y="2071144"/>
              <a:ext cx="643478" cy="355466"/>
            </a:xfrm>
            <a:custGeom>
              <a:avLst/>
              <a:gdLst>
                <a:gd name="connsiteX0" fmla="*/ 293295 w 643478"/>
                <a:gd name="connsiteY0" fmla="*/ 0 h 355466"/>
                <a:gd name="connsiteX1" fmla="*/ 433621 w 643478"/>
                <a:gd name="connsiteY1" fmla="*/ 88550 h 355466"/>
                <a:gd name="connsiteX2" fmla="*/ 500624 w 643478"/>
                <a:gd name="connsiteY2" fmla="*/ 70840 h 355466"/>
                <a:gd name="connsiteX3" fmla="*/ 643478 w 643478"/>
                <a:gd name="connsiteY3" fmla="*/ 213786 h 355466"/>
                <a:gd name="connsiteX4" fmla="*/ 500624 w 643478"/>
                <a:gd name="connsiteY4" fmla="*/ 355466 h 355466"/>
                <a:gd name="connsiteX5" fmla="*/ 425185 w 643478"/>
                <a:gd name="connsiteY5" fmla="*/ 355466 h 355466"/>
                <a:gd name="connsiteX6" fmla="*/ 371953 w 643478"/>
                <a:gd name="connsiteY6" fmla="*/ 355466 h 355466"/>
                <a:gd name="connsiteX7" fmla="*/ 371953 w 643478"/>
                <a:gd name="connsiteY7" fmla="*/ 237133 h 355466"/>
                <a:gd name="connsiteX8" fmla="*/ 418119 w 643478"/>
                <a:gd name="connsiteY8" fmla="*/ 237133 h 355466"/>
                <a:gd name="connsiteX9" fmla="*/ 325786 w 643478"/>
                <a:gd name="connsiteY9" fmla="*/ 144800 h 355466"/>
                <a:gd name="connsiteX10" fmla="*/ 233453 w 643478"/>
                <a:gd name="connsiteY10" fmla="*/ 237133 h 355466"/>
                <a:gd name="connsiteX11" fmla="*/ 279620 w 643478"/>
                <a:gd name="connsiteY11" fmla="*/ 237133 h 355466"/>
                <a:gd name="connsiteX12" fmla="*/ 279620 w 643478"/>
                <a:gd name="connsiteY12" fmla="*/ 355466 h 355466"/>
                <a:gd name="connsiteX13" fmla="*/ 252860 w 643478"/>
                <a:gd name="connsiteY13" fmla="*/ 355466 h 355466"/>
                <a:gd name="connsiteX14" fmla="*/ 72060 w 643478"/>
                <a:gd name="connsiteY14" fmla="*/ 355466 h 355466"/>
                <a:gd name="connsiteX15" fmla="*/ 0 w 643478"/>
                <a:gd name="connsiteY15" fmla="*/ 282096 h 355466"/>
                <a:gd name="connsiteX16" fmla="*/ 54361 w 643478"/>
                <a:gd name="connsiteY16" fmla="*/ 212521 h 355466"/>
                <a:gd name="connsiteX17" fmla="*/ 139062 w 643478"/>
                <a:gd name="connsiteY17" fmla="*/ 146741 h 355466"/>
                <a:gd name="connsiteX18" fmla="*/ 293295 w 643478"/>
                <a:gd name="connsiteY18" fmla="*/ 0 h 35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3478" h="355466">
                  <a:moveTo>
                    <a:pt x="293295" y="0"/>
                  </a:moveTo>
                  <a:cubicBezTo>
                    <a:pt x="353976" y="0"/>
                    <a:pt x="408337" y="35420"/>
                    <a:pt x="433621" y="88550"/>
                  </a:cubicBezTo>
                  <a:cubicBezTo>
                    <a:pt x="453848" y="77165"/>
                    <a:pt x="476604" y="70840"/>
                    <a:pt x="500624" y="70840"/>
                  </a:cubicBezTo>
                  <a:cubicBezTo>
                    <a:pt x="579004" y="70840"/>
                    <a:pt x="643478" y="135356"/>
                    <a:pt x="643478" y="213786"/>
                  </a:cubicBezTo>
                  <a:cubicBezTo>
                    <a:pt x="643478" y="290951"/>
                    <a:pt x="579004" y="355466"/>
                    <a:pt x="500624" y="355466"/>
                  </a:cubicBezTo>
                  <a:cubicBezTo>
                    <a:pt x="473838" y="355466"/>
                    <a:pt x="448727" y="355466"/>
                    <a:pt x="425185" y="355466"/>
                  </a:cubicBezTo>
                  <a:lnTo>
                    <a:pt x="371953" y="355466"/>
                  </a:lnTo>
                  <a:lnTo>
                    <a:pt x="371953" y="237133"/>
                  </a:lnTo>
                  <a:lnTo>
                    <a:pt x="418119" y="237133"/>
                  </a:lnTo>
                  <a:lnTo>
                    <a:pt x="325786" y="144800"/>
                  </a:lnTo>
                  <a:lnTo>
                    <a:pt x="233453" y="237133"/>
                  </a:lnTo>
                  <a:lnTo>
                    <a:pt x="279620" y="237133"/>
                  </a:lnTo>
                  <a:lnTo>
                    <a:pt x="279620" y="355466"/>
                  </a:lnTo>
                  <a:lnTo>
                    <a:pt x="252860" y="355466"/>
                  </a:lnTo>
                  <a:cubicBezTo>
                    <a:pt x="72060" y="355466"/>
                    <a:pt x="72060" y="355466"/>
                    <a:pt x="72060" y="355466"/>
                  </a:cubicBezTo>
                  <a:cubicBezTo>
                    <a:pt x="32869" y="355466"/>
                    <a:pt x="0" y="322576"/>
                    <a:pt x="0" y="282096"/>
                  </a:cubicBezTo>
                  <a:cubicBezTo>
                    <a:pt x="0" y="247941"/>
                    <a:pt x="22756" y="220111"/>
                    <a:pt x="54361" y="212521"/>
                  </a:cubicBezTo>
                  <a:cubicBezTo>
                    <a:pt x="69531" y="177101"/>
                    <a:pt x="101136" y="151801"/>
                    <a:pt x="139062" y="146741"/>
                  </a:cubicBezTo>
                  <a:cubicBezTo>
                    <a:pt x="142855" y="65780"/>
                    <a:pt x="211122" y="0"/>
                    <a:pt x="293295" y="0"/>
                  </a:cubicBezTo>
                  <a:close/>
                </a:path>
              </a:pathLst>
            </a:custGeom>
            <a:solidFill>
              <a:schemeClr val="accent1"/>
            </a:solidFill>
            <a:ln>
              <a:noFill/>
            </a:ln>
            <a:extLst/>
          </p:spPr>
          <p:txBody>
            <a:bodyPr vert="horz" wrap="square" lIns="89619" tIns="44810" rIns="89619" bIns="44810" numCol="1" anchor="t" anchorCtr="0" compatLnSpc="1">
              <a:prstTxWarp prst="textNoShape">
                <a:avLst/>
              </a:prstTxWarp>
              <a:noAutofit/>
            </a:bodyPr>
            <a:lstStyle/>
            <a:p>
              <a:pPr defTabSz="913946"/>
              <a:endParaRPr lang="en-US">
                <a:solidFill>
                  <a:srgbClr val="002060"/>
                </a:solidFill>
              </a:endParaRPr>
            </a:p>
          </p:txBody>
        </p:sp>
      </p:grpSp>
      <p:grpSp>
        <p:nvGrpSpPr>
          <p:cNvPr id="33" name="Group 32"/>
          <p:cNvGrpSpPr/>
          <p:nvPr/>
        </p:nvGrpSpPr>
        <p:grpSpPr>
          <a:xfrm>
            <a:off x="3511454" y="2914993"/>
            <a:ext cx="855799" cy="855799"/>
            <a:chOff x="3581177" y="2972810"/>
            <a:chExt cx="873187" cy="873187"/>
          </a:xfrm>
        </p:grpSpPr>
        <p:sp>
          <p:nvSpPr>
            <p:cNvPr id="72" name="Oval 71"/>
            <p:cNvSpPr/>
            <p:nvPr/>
          </p:nvSpPr>
          <p:spPr bwMode="auto">
            <a:xfrm>
              <a:off x="3581177" y="2972810"/>
              <a:ext cx="873187" cy="873187"/>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rgbClr val="002060"/>
                </a:solidFill>
              </a:endParaRPr>
            </a:p>
          </p:txBody>
        </p:sp>
        <p:sp>
          <p:nvSpPr>
            <p:cNvPr id="87" name="Freeform 86"/>
            <p:cNvSpPr>
              <a:spLocks noEditPoints="1"/>
            </p:cNvSpPr>
            <p:nvPr/>
          </p:nvSpPr>
          <p:spPr bwMode="auto">
            <a:xfrm>
              <a:off x="3799547" y="3187807"/>
              <a:ext cx="436447" cy="443193"/>
            </a:xfrm>
            <a:custGeom>
              <a:avLst/>
              <a:gdLst>
                <a:gd name="T0" fmla="*/ 288 w 647"/>
                <a:gd name="T1" fmla="*/ 314 h 657"/>
                <a:gd name="T2" fmla="*/ 288 w 647"/>
                <a:gd name="T3" fmla="*/ 52 h 657"/>
                <a:gd name="T4" fmla="*/ 647 w 647"/>
                <a:gd name="T5" fmla="*/ 0 h 657"/>
                <a:gd name="T6" fmla="*/ 647 w 647"/>
                <a:gd name="T7" fmla="*/ 314 h 657"/>
                <a:gd name="T8" fmla="*/ 288 w 647"/>
                <a:gd name="T9" fmla="*/ 314 h 657"/>
                <a:gd name="T10" fmla="*/ 262 w 647"/>
                <a:gd name="T11" fmla="*/ 57 h 657"/>
                <a:gd name="T12" fmla="*/ 0 w 647"/>
                <a:gd name="T13" fmla="*/ 95 h 657"/>
                <a:gd name="T14" fmla="*/ 0 w 647"/>
                <a:gd name="T15" fmla="*/ 314 h 657"/>
                <a:gd name="T16" fmla="*/ 262 w 647"/>
                <a:gd name="T17" fmla="*/ 314 h 657"/>
                <a:gd name="T18" fmla="*/ 262 w 647"/>
                <a:gd name="T19" fmla="*/ 57 h 657"/>
                <a:gd name="T20" fmla="*/ 0 w 647"/>
                <a:gd name="T21" fmla="*/ 338 h 657"/>
                <a:gd name="T22" fmla="*/ 0 w 647"/>
                <a:gd name="T23" fmla="*/ 560 h 657"/>
                <a:gd name="T24" fmla="*/ 262 w 647"/>
                <a:gd name="T25" fmla="*/ 600 h 657"/>
                <a:gd name="T26" fmla="*/ 262 w 647"/>
                <a:gd name="T27" fmla="*/ 338 h 657"/>
                <a:gd name="T28" fmla="*/ 0 w 647"/>
                <a:gd name="T29" fmla="*/ 338 h 657"/>
                <a:gd name="T30" fmla="*/ 288 w 647"/>
                <a:gd name="T31" fmla="*/ 602 h 657"/>
                <a:gd name="T32" fmla="*/ 647 w 647"/>
                <a:gd name="T33" fmla="*/ 657 h 657"/>
                <a:gd name="T34" fmla="*/ 647 w 647"/>
                <a:gd name="T35" fmla="*/ 338 h 657"/>
                <a:gd name="T36" fmla="*/ 288 w 647"/>
                <a:gd name="T37" fmla="*/ 338 h 657"/>
                <a:gd name="T38" fmla="*/ 288 w 647"/>
                <a:gd name="T39" fmla="*/ 602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7" h="657">
                  <a:moveTo>
                    <a:pt x="288" y="314"/>
                  </a:moveTo>
                  <a:lnTo>
                    <a:pt x="288" y="52"/>
                  </a:lnTo>
                  <a:lnTo>
                    <a:pt x="647" y="0"/>
                  </a:lnTo>
                  <a:lnTo>
                    <a:pt x="647" y="314"/>
                  </a:lnTo>
                  <a:lnTo>
                    <a:pt x="288" y="314"/>
                  </a:lnTo>
                  <a:close/>
                  <a:moveTo>
                    <a:pt x="262" y="57"/>
                  </a:moveTo>
                  <a:lnTo>
                    <a:pt x="0" y="95"/>
                  </a:lnTo>
                  <a:lnTo>
                    <a:pt x="0" y="314"/>
                  </a:lnTo>
                  <a:lnTo>
                    <a:pt x="262" y="314"/>
                  </a:lnTo>
                  <a:lnTo>
                    <a:pt x="262" y="57"/>
                  </a:lnTo>
                  <a:close/>
                  <a:moveTo>
                    <a:pt x="0" y="338"/>
                  </a:moveTo>
                  <a:lnTo>
                    <a:pt x="0" y="560"/>
                  </a:lnTo>
                  <a:lnTo>
                    <a:pt x="262" y="600"/>
                  </a:lnTo>
                  <a:lnTo>
                    <a:pt x="262" y="338"/>
                  </a:lnTo>
                  <a:lnTo>
                    <a:pt x="0" y="338"/>
                  </a:lnTo>
                  <a:close/>
                  <a:moveTo>
                    <a:pt x="288" y="602"/>
                  </a:moveTo>
                  <a:lnTo>
                    <a:pt x="647" y="657"/>
                  </a:lnTo>
                  <a:lnTo>
                    <a:pt x="647" y="338"/>
                  </a:lnTo>
                  <a:lnTo>
                    <a:pt x="288" y="338"/>
                  </a:lnTo>
                  <a:lnTo>
                    <a:pt x="288" y="602"/>
                  </a:lnTo>
                  <a:close/>
                </a:path>
              </a:pathLst>
            </a:custGeom>
            <a:solidFill>
              <a:schemeClr val="accent1"/>
            </a:solidFill>
            <a:ln>
              <a:noFill/>
            </a:ln>
            <a:extLst/>
          </p:spPr>
          <p:txBody>
            <a:bodyPr vert="horz" wrap="square" lIns="89619" tIns="44810" rIns="89619" bIns="44810" numCol="1" anchor="t" anchorCtr="0" compatLnSpc="1">
              <a:prstTxWarp prst="textNoShape">
                <a:avLst/>
              </a:prstTxWarp>
            </a:bodyPr>
            <a:lstStyle/>
            <a:p>
              <a:pPr defTabSz="913946"/>
              <a:endParaRPr lang="en-US">
                <a:solidFill>
                  <a:srgbClr val="002060"/>
                </a:solidFill>
              </a:endParaRPr>
            </a:p>
          </p:txBody>
        </p:sp>
      </p:grpSp>
      <p:grpSp>
        <p:nvGrpSpPr>
          <p:cNvPr id="34" name="Group 33"/>
          <p:cNvGrpSpPr/>
          <p:nvPr/>
        </p:nvGrpSpPr>
        <p:grpSpPr>
          <a:xfrm>
            <a:off x="3511454" y="4052409"/>
            <a:ext cx="855799" cy="855799"/>
            <a:chOff x="3581177" y="4133336"/>
            <a:chExt cx="873187" cy="873187"/>
          </a:xfrm>
        </p:grpSpPr>
        <p:sp>
          <p:nvSpPr>
            <p:cNvPr id="69" name="Oval 68"/>
            <p:cNvSpPr/>
            <p:nvPr/>
          </p:nvSpPr>
          <p:spPr bwMode="auto">
            <a:xfrm>
              <a:off x="3581177" y="4133336"/>
              <a:ext cx="873187" cy="873187"/>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rgbClr val="002060"/>
                </a:solidFill>
              </a:endParaRPr>
            </a:p>
          </p:txBody>
        </p:sp>
        <p:sp>
          <p:nvSpPr>
            <p:cNvPr id="88" name="Freeform 122"/>
            <p:cNvSpPr>
              <a:spLocks noChangeAspect="1" noEditPoints="1"/>
            </p:cNvSpPr>
            <p:nvPr/>
          </p:nvSpPr>
          <p:spPr bwMode="black">
            <a:xfrm>
              <a:off x="3734532" y="4305893"/>
              <a:ext cx="566476" cy="528072"/>
            </a:xfrm>
            <a:custGeom>
              <a:avLst/>
              <a:gdLst>
                <a:gd name="T0" fmla="*/ 691 w 853"/>
                <a:gd name="T1" fmla="*/ 374 h 794"/>
                <a:gd name="T2" fmla="*/ 565 w 853"/>
                <a:gd name="T3" fmla="*/ 458 h 794"/>
                <a:gd name="T4" fmla="*/ 505 w 853"/>
                <a:gd name="T5" fmla="*/ 367 h 794"/>
                <a:gd name="T6" fmla="*/ 569 w 853"/>
                <a:gd name="T7" fmla="*/ 324 h 794"/>
                <a:gd name="T8" fmla="*/ 575 w 853"/>
                <a:gd name="T9" fmla="*/ 293 h 794"/>
                <a:gd name="T10" fmla="*/ 575 w 853"/>
                <a:gd name="T11" fmla="*/ 293 h 794"/>
                <a:gd name="T12" fmla="*/ 544 w 853"/>
                <a:gd name="T13" fmla="*/ 286 h 794"/>
                <a:gd name="T14" fmla="*/ 480 w 853"/>
                <a:gd name="T15" fmla="*/ 329 h 794"/>
                <a:gd name="T16" fmla="*/ 448 w 853"/>
                <a:gd name="T17" fmla="*/ 284 h 794"/>
                <a:gd name="T18" fmla="*/ 574 w 853"/>
                <a:gd name="T19" fmla="*/ 200 h 794"/>
                <a:gd name="T20" fmla="*/ 691 w 853"/>
                <a:gd name="T21" fmla="*/ 374 h 794"/>
                <a:gd name="T22" fmla="*/ 416 w 853"/>
                <a:gd name="T23" fmla="*/ 558 h 794"/>
                <a:gd name="T24" fmla="*/ 356 w 853"/>
                <a:gd name="T25" fmla="*/ 467 h 794"/>
                <a:gd name="T26" fmla="*/ 199 w 853"/>
                <a:gd name="T27" fmla="*/ 572 h 794"/>
                <a:gd name="T28" fmla="*/ 167 w 853"/>
                <a:gd name="T29" fmla="*/ 566 h 794"/>
                <a:gd name="T30" fmla="*/ 167 w 853"/>
                <a:gd name="T31" fmla="*/ 566 h 794"/>
                <a:gd name="T32" fmla="*/ 174 w 853"/>
                <a:gd name="T33" fmla="*/ 534 h 794"/>
                <a:gd name="T34" fmla="*/ 331 w 853"/>
                <a:gd name="T35" fmla="*/ 429 h 794"/>
                <a:gd name="T36" fmla="*/ 299 w 853"/>
                <a:gd name="T37" fmla="*/ 382 h 794"/>
                <a:gd name="T38" fmla="*/ 100 w 853"/>
                <a:gd name="T39" fmla="*/ 517 h 794"/>
                <a:gd name="T40" fmla="*/ 0 w 853"/>
                <a:gd name="T41" fmla="*/ 709 h 794"/>
                <a:gd name="T42" fmla="*/ 217 w 853"/>
                <a:gd name="T43" fmla="*/ 691 h 794"/>
                <a:gd name="T44" fmla="*/ 416 w 853"/>
                <a:gd name="T45" fmla="*/ 558 h 794"/>
                <a:gd name="T46" fmla="*/ 416 w 853"/>
                <a:gd name="T47" fmla="*/ 558 h 794"/>
                <a:gd name="T48" fmla="*/ 621 w 853"/>
                <a:gd name="T49" fmla="*/ 168 h 794"/>
                <a:gd name="T50" fmla="*/ 621 w 853"/>
                <a:gd name="T51" fmla="*/ 168 h 794"/>
                <a:gd name="T52" fmla="*/ 738 w 853"/>
                <a:gd name="T53" fmla="*/ 343 h 794"/>
                <a:gd name="T54" fmla="*/ 853 w 853"/>
                <a:gd name="T55" fmla="*/ 265 h 794"/>
                <a:gd name="T56" fmla="*/ 738 w 853"/>
                <a:gd name="T57" fmla="*/ 93 h 794"/>
                <a:gd name="T58" fmla="*/ 621 w 853"/>
                <a:gd name="T59" fmla="*/ 168 h 794"/>
                <a:gd name="T60" fmla="*/ 717 w 853"/>
                <a:gd name="T61" fmla="*/ 675 h 794"/>
                <a:gd name="T62" fmla="*/ 598 w 853"/>
                <a:gd name="T63" fmla="*/ 497 h 794"/>
                <a:gd name="T64" fmla="*/ 563 w 853"/>
                <a:gd name="T65" fmla="*/ 494 h 794"/>
                <a:gd name="T66" fmla="*/ 384 w 853"/>
                <a:gd name="T67" fmla="*/ 227 h 794"/>
                <a:gd name="T68" fmla="*/ 403 w 853"/>
                <a:gd name="T69" fmla="*/ 177 h 794"/>
                <a:gd name="T70" fmla="*/ 284 w 853"/>
                <a:gd name="T71" fmla="*/ 1 h 794"/>
                <a:gd name="T72" fmla="*/ 281 w 853"/>
                <a:gd name="T73" fmla="*/ 0 h 794"/>
                <a:gd name="T74" fmla="*/ 283 w 853"/>
                <a:gd name="T75" fmla="*/ 43 h 794"/>
                <a:gd name="T76" fmla="*/ 317 w 853"/>
                <a:gd name="T77" fmla="*/ 130 h 794"/>
                <a:gd name="T78" fmla="*/ 214 w 853"/>
                <a:gd name="T79" fmla="*/ 198 h 794"/>
                <a:gd name="T80" fmla="*/ 143 w 853"/>
                <a:gd name="T81" fmla="*/ 110 h 794"/>
                <a:gd name="T82" fmla="*/ 120 w 853"/>
                <a:gd name="T83" fmla="*/ 78 h 794"/>
                <a:gd name="T84" fmla="*/ 106 w 853"/>
                <a:gd name="T85" fmla="*/ 119 h 794"/>
                <a:gd name="T86" fmla="*/ 226 w 853"/>
                <a:gd name="T87" fmla="*/ 296 h 794"/>
                <a:gd name="T88" fmla="*/ 267 w 853"/>
                <a:gd name="T89" fmla="*/ 299 h 794"/>
                <a:gd name="T90" fmla="*/ 443 w 853"/>
                <a:gd name="T91" fmla="*/ 560 h 794"/>
                <a:gd name="T92" fmla="*/ 420 w 853"/>
                <a:gd name="T93" fmla="*/ 615 h 794"/>
                <a:gd name="T94" fmla="*/ 539 w 853"/>
                <a:gd name="T95" fmla="*/ 793 h 794"/>
                <a:gd name="T96" fmla="*/ 542 w 853"/>
                <a:gd name="T97" fmla="*/ 794 h 794"/>
                <a:gd name="T98" fmla="*/ 539 w 853"/>
                <a:gd name="T99" fmla="*/ 750 h 794"/>
                <a:gd name="T100" fmla="*/ 507 w 853"/>
                <a:gd name="T101" fmla="*/ 664 h 794"/>
                <a:gd name="T102" fmla="*/ 610 w 853"/>
                <a:gd name="T103" fmla="*/ 595 h 794"/>
                <a:gd name="T104" fmla="*/ 680 w 853"/>
                <a:gd name="T105" fmla="*/ 683 h 794"/>
                <a:gd name="T106" fmla="*/ 702 w 853"/>
                <a:gd name="T107" fmla="*/ 716 h 794"/>
                <a:gd name="T108" fmla="*/ 717 w 853"/>
                <a:gd name="T109" fmla="*/ 675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53" h="794">
                  <a:moveTo>
                    <a:pt x="691" y="374"/>
                  </a:moveTo>
                  <a:cubicBezTo>
                    <a:pt x="565" y="458"/>
                    <a:pt x="565" y="458"/>
                    <a:pt x="565" y="458"/>
                  </a:cubicBezTo>
                  <a:cubicBezTo>
                    <a:pt x="505" y="367"/>
                    <a:pt x="505" y="367"/>
                    <a:pt x="505" y="367"/>
                  </a:cubicBezTo>
                  <a:cubicBezTo>
                    <a:pt x="569" y="324"/>
                    <a:pt x="569" y="324"/>
                    <a:pt x="569" y="324"/>
                  </a:cubicBezTo>
                  <a:cubicBezTo>
                    <a:pt x="580" y="317"/>
                    <a:pt x="583" y="304"/>
                    <a:pt x="575" y="293"/>
                  </a:cubicBezTo>
                  <a:cubicBezTo>
                    <a:pt x="575" y="293"/>
                    <a:pt x="575" y="293"/>
                    <a:pt x="575" y="293"/>
                  </a:cubicBezTo>
                  <a:cubicBezTo>
                    <a:pt x="569" y="282"/>
                    <a:pt x="555" y="279"/>
                    <a:pt x="544" y="286"/>
                  </a:cubicBezTo>
                  <a:cubicBezTo>
                    <a:pt x="480" y="329"/>
                    <a:pt x="480" y="329"/>
                    <a:pt x="480" y="329"/>
                  </a:cubicBezTo>
                  <a:cubicBezTo>
                    <a:pt x="448" y="284"/>
                    <a:pt x="448" y="284"/>
                    <a:pt x="448" y="284"/>
                  </a:cubicBezTo>
                  <a:cubicBezTo>
                    <a:pt x="574" y="200"/>
                    <a:pt x="574" y="200"/>
                    <a:pt x="574" y="200"/>
                  </a:cubicBezTo>
                  <a:cubicBezTo>
                    <a:pt x="691" y="374"/>
                    <a:pt x="691" y="374"/>
                    <a:pt x="691" y="374"/>
                  </a:cubicBezTo>
                  <a:close/>
                  <a:moveTo>
                    <a:pt x="416" y="558"/>
                  </a:moveTo>
                  <a:cubicBezTo>
                    <a:pt x="356" y="467"/>
                    <a:pt x="356" y="467"/>
                    <a:pt x="356" y="467"/>
                  </a:cubicBezTo>
                  <a:cubicBezTo>
                    <a:pt x="199" y="572"/>
                    <a:pt x="199" y="572"/>
                    <a:pt x="199" y="572"/>
                  </a:cubicBezTo>
                  <a:cubicBezTo>
                    <a:pt x="189" y="579"/>
                    <a:pt x="175" y="577"/>
                    <a:pt x="167" y="566"/>
                  </a:cubicBezTo>
                  <a:cubicBezTo>
                    <a:pt x="167" y="566"/>
                    <a:pt x="167" y="566"/>
                    <a:pt x="167" y="566"/>
                  </a:cubicBezTo>
                  <a:cubicBezTo>
                    <a:pt x="161" y="555"/>
                    <a:pt x="164" y="542"/>
                    <a:pt x="174" y="534"/>
                  </a:cubicBezTo>
                  <a:cubicBezTo>
                    <a:pt x="331" y="429"/>
                    <a:pt x="331" y="429"/>
                    <a:pt x="331" y="429"/>
                  </a:cubicBezTo>
                  <a:cubicBezTo>
                    <a:pt x="299" y="382"/>
                    <a:pt x="299" y="382"/>
                    <a:pt x="299" y="382"/>
                  </a:cubicBezTo>
                  <a:cubicBezTo>
                    <a:pt x="100" y="517"/>
                    <a:pt x="100" y="517"/>
                    <a:pt x="100" y="517"/>
                  </a:cubicBezTo>
                  <a:cubicBezTo>
                    <a:pt x="0" y="709"/>
                    <a:pt x="0" y="709"/>
                    <a:pt x="0" y="709"/>
                  </a:cubicBezTo>
                  <a:cubicBezTo>
                    <a:pt x="217" y="691"/>
                    <a:pt x="217" y="691"/>
                    <a:pt x="217" y="691"/>
                  </a:cubicBezTo>
                  <a:cubicBezTo>
                    <a:pt x="416" y="558"/>
                    <a:pt x="416" y="558"/>
                    <a:pt x="416" y="558"/>
                  </a:cubicBezTo>
                  <a:cubicBezTo>
                    <a:pt x="416" y="558"/>
                    <a:pt x="416" y="558"/>
                    <a:pt x="416" y="558"/>
                  </a:cubicBezTo>
                  <a:close/>
                  <a:moveTo>
                    <a:pt x="621" y="168"/>
                  </a:moveTo>
                  <a:cubicBezTo>
                    <a:pt x="621" y="168"/>
                    <a:pt x="621" y="168"/>
                    <a:pt x="621" y="168"/>
                  </a:cubicBezTo>
                  <a:cubicBezTo>
                    <a:pt x="738" y="343"/>
                    <a:pt x="738" y="343"/>
                    <a:pt x="738" y="343"/>
                  </a:cubicBezTo>
                  <a:cubicBezTo>
                    <a:pt x="853" y="265"/>
                    <a:pt x="853" y="265"/>
                    <a:pt x="853" y="265"/>
                  </a:cubicBezTo>
                  <a:cubicBezTo>
                    <a:pt x="738" y="93"/>
                    <a:pt x="738" y="93"/>
                    <a:pt x="738" y="93"/>
                  </a:cubicBezTo>
                  <a:cubicBezTo>
                    <a:pt x="621" y="168"/>
                    <a:pt x="621" y="168"/>
                    <a:pt x="621" y="168"/>
                  </a:cubicBezTo>
                  <a:close/>
                  <a:moveTo>
                    <a:pt x="717" y="675"/>
                  </a:moveTo>
                  <a:cubicBezTo>
                    <a:pt x="733" y="592"/>
                    <a:pt x="680" y="513"/>
                    <a:pt x="598" y="497"/>
                  </a:cubicBezTo>
                  <a:cubicBezTo>
                    <a:pt x="586" y="495"/>
                    <a:pt x="575" y="494"/>
                    <a:pt x="563" y="494"/>
                  </a:cubicBezTo>
                  <a:cubicBezTo>
                    <a:pt x="563" y="494"/>
                    <a:pt x="563" y="494"/>
                    <a:pt x="384" y="227"/>
                  </a:cubicBezTo>
                  <a:cubicBezTo>
                    <a:pt x="393" y="212"/>
                    <a:pt x="399" y="196"/>
                    <a:pt x="403" y="177"/>
                  </a:cubicBezTo>
                  <a:cubicBezTo>
                    <a:pt x="419" y="96"/>
                    <a:pt x="366" y="16"/>
                    <a:pt x="284" y="1"/>
                  </a:cubicBezTo>
                  <a:cubicBezTo>
                    <a:pt x="282" y="1"/>
                    <a:pt x="281" y="0"/>
                    <a:pt x="281" y="0"/>
                  </a:cubicBezTo>
                  <a:cubicBezTo>
                    <a:pt x="281" y="0"/>
                    <a:pt x="281" y="0"/>
                    <a:pt x="283" y="43"/>
                  </a:cubicBezTo>
                  <a:cubicBezTo>
                    <a:pt x="309" y="62"/>
                    <a:pt x="323" y="96"/>
                    <a:pt x="317" y="130"/>
                  </a:cubicBezTo>
                  <a:cubicBezTo>
                    <a:pt x="307" y="177"/>
                    <a:pt x="262" y="208"/>
                    <a:pt x="214" y="198"/>
                  </a:cubicBezTo>
                  <a:cubicBezTo>
                    <a:pt x="171" y="190"/>
                    <a:pt x="142" y="153"/>
                    <a:pt x="143" y="110"/>
                  </a:cubicBezTo>
                  <a:cubicBezTo>
                    <a:pt x="143" y="110"/>
                    <a:pt x="143" y="110"/>
                    <a:pt x="120" y="78"/>
                  </a:cubicBezTo>
                  <a:cubicBezTo>
                    <a:pt x="114" y="91"/>
                    <a:pt x="109" y="104"/>
                    <a:pt x="106" y="119"/>
                  </a:cubicBezTo>
                  <a:cubicBezTo>
                    <a:pt x="91" y="201"/>
                    <a:pt x="144" y="281"/>
                    <a:pt x="226" y="296"/>
                  </a:cubicBezTo>
                  <a:cubicBezTo>
                    <a:pt x="240" y="299"/>
                    <a:pt x="254" y="300"/>
                    <a:pt x="267" y="299"/>
                  </a:cubicBezTo>
                  <a:cubicBezTo>
                    <a:pt x="267" y="299"/>
                    <a:pt x="267" y="299"/>
                    <a:pt x="443" y="560"/>
                  </a:cubicBezTo>
                  <a:cubicBezTo>
                    <a:pt x="432" y="576"/>
                    <a:pt x="424" y="595"/>
                    <a:pt x="420" y="615"/>
                  </a:cubicBezTo>
                  <a:cubicBezTo>
                    <a:pt x="404" y="697"/>
                    <a:pt x="457" y="777"/>
                    <a:pt x="539" y="793"/>
                  </a:cubicBezTo>
                  <a:cubicBezTo>
                    <a:pt x="540" y="793"/>
                    <a:pt x="541" y="794"/>
                    <a:pt x="542" y="794"/>
                  </a:cubicBezTo>
                  <a:cubicBezTo>
                    <a:pt x="542" y="794"/>
                    <a:pt x="542" y="794"/>
                    <a:pt x="539" y="750"/>
                  </a:cubicBezTo>
                  <a:cubicBezTo>
                    <a:pt x="513" y="731"/>
                    <a:pt x="500" y="698"/>
                    <a:pt x="507" y="664"/>
                  </a:cubicBezTo>
                  <a:cubicBezTo>
                    <a:pt x="515" y="616"/>
                    <a:pt x="562" y="585"/>
                    <a:pt x="610" y="595"/>
                  </a:cubicBezTo>
                  <a:cubicBezTo>
                    <a:pt x="652" y="603"/>
                    <a:pt x="681" y="642"/>
                    <a:pt x="680" y="683"/>
                  </a:cubicBezTo>
                  <a:cubicBezTo>
                    <a:pt x="680" y="683"/>
                    <a:pt x="680" y="683"/>
                    <a:pt x="702" y="716"/>
                  </a:cubicBezTo>
                  <a:cubicBezTo>
                    <a:pt x="708" y="703"/>
                    <a:pt x="714" y="689"/>
                    <a:pt x="717" y="675"/>
                  </a:cubicBezTo>
                  <a:close/>
                </a:path>
              </a:pathLst>
            </a:custGeom>
            <a:solidFill>
              <a:schemeClr val="accent1"/>
            </a:solidFill>
            <a:ln>
              <a:noFill/>
            </a:ln>
            <a:extLst/>
          </p:spPr>
          <p:txBody>
            <a:bodyPr vert="horz" wrap="square" lIns="89619" tIns="44810" rIns="89619" bIns="44810" numCol="1" anchor="t" anchorCtr="0" compatLnSpc="1">
              <a:prstTxWarp prst="textNoShape">
                <a:avLst/>
              </a:prstTxWarp>
            </a:bodyPr>
            <a:lstStyle/>
            <a:p>
              <a:pPr defTabSz="913946"/>
              <a:endParaRPr lang="en-US">
                <a:solidFill>
                  <a:srgbClr val="002060"/>
                </a:solidFill>
              </a:endParaRPr>
            </a:p>
          </p:txBody>
        </p:sp>
      </p:grpSp>
      <p:grpSp>
        <p:nvGrpSpPr>
          <p:cNvPr id="35" name="Group 34"/>
          <p:cNvGrpSpPr/>
          <p:nvPr/>
        </p:nvGrpSpPr>
        <p:grpSpPr>
          <a:xfrm>
            <a:off x="3511454" y="5189826"/>
            <a:ext cx="855799" cy="855799"/>
            <a:chOff x="3581177" y="5293863"/>
            <a:chExt cx="873187" cy="873187"/>
          </a:xfrm>
        </p:grpSpPr>
        <p:sp>
          <p:nvSpPr>
            <p:cNvPr id="38" name="Oval 37"/>
            <p:cNvSpPr/>
            <p:nvPr/>
          </p:nvSpPr>
          <p:spPr bwMode="auto">
            <a:xfrm>
              <a:off x="3581177" y="5293863"/>
              <a:ext cx="873187" cy="873187"/>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rgbClr val="002060"/>
                </a:solidFill>
              </a:endParaRPr>
            </a:p>
          </p:txBody>
        </p:sp>
        <p:sp>
          <p:nvSpPr>
            <p:cNvPr id="89" name="Freeform 15"/>
            <p:cNvSpPr>
              <a:spLocks noChangeAspect="1" noEditPoints="1"/>
            </p:cNvSpPr>
            <p:nvPr/>
          </p:nvSpPr>
          <p:spPr bwMode="black">
            <a:xfrm>
              <a:off x="3782180" y="5494595"/>
              <a:ext cx="471180" cy="471722"/>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1"/>
            </a:solidFill>
            <a:ln>
              <a:noFill/>
            </a:ln>
          </p:spPr>
          <p:txBody>
            <a:bodyPr vert="horz" wrap="square" lIns="80666" tIns="40334" rIns="80666" bIns="40334" numCol="1" anchor="t" anchorCtr="0" compatLnSpc="1">
              <a:prstTxWarp prst="textNoShape">
                <a:avLst/>
              </a:prstTxWarp>
            </a:bodyPr>
            <a:lstStyle/>
            <a:p>
              <a:pPr defTabSz="913946"/>
              <a:endParaRPr lang="en-US" sz="1568">
                <a:solidFill>
                  <a:srgbClr val="002060"/>
                </a:solidFill>
              </a:endParaRPr>
            </a:p>
          </p:txBody>
        </p:sp>
      </p:grpSp>
      <p:sp>
        <p:nvSpPr>
          <p:cNvPr id="74" name="Rectangle 73"/>
          <p:cNvSpPr/>
          <p:nvPr/>
        </p:nvSpPr>
        <p:spPr>
          <a:xfrm>
            <a:off x="4527666" y="871988"/>
            <a:ext cx="6092857" cy="361977"/>
          </a:xfrm>
          <a:prstGeom prst="rect">
            <a:avLst/>
          </a:prstGeom>
        </p:spPr>
        <p:txBody>
          <a:bodyPr>
            <a:spAutoFit/>
          </a:bodyPr>
          <a:lstStyle/>
          <a:p>
            <a:pPr defTabSz="913946">
              <a:lnSpc>
                <a:spcPct val="90000"/>
              </a:lnSpc>
              <a:spcAft>
                <a:spcPts val="588"/>
              </a:spcAft>
            </a:pPr>
            <a:r>
              <a:rPr lang="en-US" sz="1960" dirty="0">
                <a:solidFill>
                  <a:srgbClr val="002060"/>
                </a:solidFill>
              </a:rPr>
              <a:t>Works with all leading on-premises applications</a:t>
            </a:r>
          </a:p>
        </p:txBody>
      </p:sp>
      <p:sp>
        <p:nvSpPr>
          <p:cNvPr id="75" name="Rectangle 74"/>
          <p:cNvSpPr/>
          <p:nvPr/>
        </p:nvSpPr>
        <p:spPr>
          <a:xfrm>
            <a:off x="4527666" y="1942683"/>
            <a:ext cx="6725687" cy="363818"/>
          </a:xfrm>
          <a:prstGeom prst="rect">
            <a:avLst/>
          </a:prstGeom>
        </p:spPr>
        <p:txBody>
          <a:bodyPr wrap="none">
            <a:spAutoFit/>
          </a:bodyPr>
          <a:lstStyle/>
          <a:p>
            <a:pPr defTabSz="913946">
              <a:lnSpc>
                <a:spcPct val="90000"/>
              </a:lnSpc>
              <a:spcAft>
                <a:spcPts val="588"/>
              </a:spcAft>
            </a:pPr>
            <a:r>
              <a:rPr lang="en-US" sz="1960" dirty="0">
                <a:solidFill>
                  <a:srgbClr val="002060"/>
                </a:solidFill>
              </a:rPr>
              <a:t>Supports ADFS and SAML-based apps for federation to the cloud</a:t>
            </a:r>
          </a:p>
        </p:txBody>
      </p:sp>
      <p:sp>
        <p:nvSpPr>
          <p:cNvPr id="76" name="Rectangle 75"/>
          <p:cNvSpPr/>
          <p:nvPr/>
        </p:nvSpPr>
        <p:spPr>
          <a:xfrm>
            <a:off x="4527666" y="3113459"/>
            <a:ext cx="6906506" cy="363818"/>
          </a:xfrm>
          <a:prstGeom prst="rect">
            <a:avLst/>
          </a:prstGeom>
        </p:spPr>
        <p:txBody>
          <a:bodyPr wrap="none">
            <a:spAutoFit/>
          </a:bodyPr>
          <a:lstStyle/>
          <a:p>
            <a:pPr defTabSz="913946">
              <a:lnSpc>
                <a:spcPct val="90000"/>
              </a:lnSpc>
              <a:spcAft>
                <a:spcPts val="588"/>
              </a:spcAft>
            </a:pPr>
            <a:r>
              <a:rPr lang="en-US" sz="1960" dirty="0">
                <a:solidFill>
                  <a:srgbClr val="002060"/>
                </a:solidFill>
              </a:rPr>
              <a:t>Built into Microsoft Azure Active Directory for use with cloud apps</a:t>
            </a:r>
          </a:p>
        </p:txBody>
      </p:sp>
      <p:sp>
        <p:nvSpPr>
          <p:cNvPr id="77" name="Rectangle 76"/>
          <p:cNvSpPr/>
          <p:nvPr/>
        </p:nvSpPr>
        <p:spPr>
          <a:xfrm>
            <a:off x="4527666" y="4284236"/>
            <a:ext cx="6092857" cy="392143"/>
          </a:xfrm>
          <a:prstGeom prst="rect">
            <a:avLst/>
          </a:prstGeom>
        </p:spPr>
        <p:txBody>
          <a:bodyPr>
            <a:spAutoFit/>
          </a:bodyPr>
          <a:lstStyle/>
          <a:p>
            <a:pPr defTabSz="913946">
              <a:spcAft>
                <a:spcPts val="1764"/>
              </a:spcAft>
            </a:pPr>
            <a:r>
              <a:rPr lang="en-US" sz="1960" dirty="0">
                <a:solidFill>
                  <a:srgbClr val="002060"/>
                </a:solidFill>
              </a:rPr>
              <a:t>SDK for integration with custom apps and directories</a:t>
            </a:r>
          </a:p>
        </p:txBody>
      </p:sp>
      <p:sp>
        <p:nvSpPr>
          <p:cNvPr id="78" name="Rectangle 77"/>
          <p:cNvSpPr/>
          <p:nvPr/>
        </p:nvSpPr>
        <p:spPr>
          <a:xfrm>
            <a:off x="4527665" y="5270829"/>
            <a:ext cx="7094848" cy="693790"/>
          </a:xfrm>
          <a:prstGeom prst="rect">
            <a:avLst/>
          </a:prstGeom>
        </p:spPr>
        <p:txBody>
          <a:bodyPr wrap="square">
            <a:spAutoFit/>
          </a:bodyPr>
          <a:lstStyle/>
          <a:p>
            <a:pPr defTabSz="913946">
              <a:spcAft>
                <a:spcPts val="588"/>
              </a:spcAft>
            </a:pPr>
            <a:r>
              <a:rPr lang="en-US" sz="1960" dirty="0">
                <a:solidFill>
                  <a:srgbClr val="002060"/>
                </a:solidFill>
              </a:rPr>
              <a:t>Reliable, scalable service supports high-volume, </a:t>
            </a:r>
            <a:br>
              <a:rPr lang="en-US" sz="1960" dirty="0">
                <a:solidFill>
                  <a:srgbClr val="002060"/>
                </a:solidFill>
              </a:rPr>
            </a:br>
            <a:r>
              <a:rPr lang="en-US" sz="1960" dirty="0">
                <a:solidFill>
                  <a:srgbClr val="002060"/>
                </a:solidFill>
              </a:rPr>
              <a:t>mission-critical scenarios</a:t>
            </a:r>
          </a:p>
        </p:txBody>
      </p:sp>
      <p:sp>
        <p:nvSpPr>
          <p:cNvPr id="10" name="Rectangle 9"/>
          <p:cNvSpPr/>
          <p:nvPr/>
        </p:nvSpPr>
        <p:spPr bwMode="auto">
          <a:xfrm>
            <a:off x="261171" y="1381"/>
            <a:ext cx="2581031" cy="6489609"/>
          </a:xfrm>
          <a:prstGeom prst="rect">
            <a:avLst/>
          </a:prstGeom>
          <a:ln w="50800" cap="sq">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a:endParaRPr lang="en-US" sz="3136" dirty="0">
              <a:solidFill>
                <a:srgbClr val="002060"/>
              </a:solidFill>
              <a:latin typeface="Segoe UI Light"/>
            </a:endParaRPr>
          </a:p>
        </p:txBody>
      </p:sp>
      <p:sp>
        <p:nvSpPr>
          <p:cNvPr id="11" name="Rectangle 10"/>
          <p:cNvSpPr/>
          <p:nvPr/>
        </p:nvSpPr>
        <p:spPr>
          <a:xfrm>
            <a:off x="921525" y="3438527"/>
            <a:ext cx="1260322" cy="693790"/>
          </a:xfrm>
          <a:prstGeom prst="rect">
            <a:avLst/>
          </a:prstGeom>
        </p:spPr>
        <p:txBody>
          <a:bodyPr wrap="none">
            <a:spAutoFit/>
          </a:bodyPr>
          <a:lstStyle/>
          <a:p>
            <a:pPr algn="ctr" defTabSz="932103"/>
            <a:r>
              <a:rPr lang="en-US" sz="3920" dirty="0">
                <a:gradFill>
                  <a:gsLst>
                    <a:gs pos="0">
                      <a:srgbClr val="FFFFFF"/>
                    </a:gs>
                    <a:gs pos="100000">
                      <a:srgbClr val="FFFFFF"/>
                    </a:gs>
                  </a:gsLst>
                  <a:lin ang="5400000" scaled="0"/>
                </a:gradFill>
                <a:latin typeface="Segoe UI Light"/>
              </a:rPr>
              <a:t>Scale</a:t>
            </a:r>
          </a:p>
        </p:txBody>
      </p:sp>
      <p:grpSp>
        <p:nvGrpSpPr>
          <p:cNvPr id="12" name="Group 11"/>
          <p:cNvGrpSpPr/>
          <p:nvPr/>
        </p:nvGrpSpPr>
        <p:grpSpPr>
          <a:xfrm>
            <a:off x="521269" y="4187464"/>
            <a:ext cx="2060837" cy="2047471"/>
            <a:chOff x="6580800" y="2461261"/>
            <a:chExt cx="2652401" cy="2635198"/>
          </a:xfrm>
        </p:grpSpPr>
        <p:sp>
          <p:nvSpPr>
            <p:cNvPr id="13" name="Oval 12"/>
            <p:cNvSpPr/>
            <p:nvPr/>
          </p:nvSpPr>
          <p:spPr bwMode="auto">
            <a:xfrm>
              <a:off x="6580800" y="2461261"/>
              <a:ext cx="2652401" cy="2635198"/>
            </a:xfrm>
            <a:prstGeom prst="ellipse">
              <a:avLst/>
            </a:prstGeom>
            <a:solidFill>
              <a:srgbClr val="FFFFFF"/>
            </a:solidFill>
            <a:ln w="476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ln w="15875">
                  <a:noFill/>
                </a:ln>
                <a:solidFill>
                  <a:srgbClr val="002060"/>
                </a:solidFill>
              </a:endParaRPr>
            </a:p>
          </p:txBody>
        </p:sp>
        <p:grpSp>
          <p:nvGrpSpPr>
            <p:cNvPr id="14" name="Group 13"/>
            <p:cNvGrpSpPr/>
            <p:nvPr/>
          </p:nvGrpSpPr>
          <p:grpSpPr>
            <a:xfrm>
              <a:off x="7177132" y="3038917"/>
              <a:ext cx="1459737" cy="1479887"/>
              <a:chOff x="6976028" y="5372686"/>
              <a:chExt cx="1459737" cy="1479887"/>
            </a:xfrm>
          </p:grpSpPr>
          <p:sp>
            <p:nvSpPr>
              <p:cNvPr id="15" name="Freeform 426"/>
              <p:cNvSpPr>
                <a:spLocks/>
              </p:cNvSpPr>
              <p:nvPr/>
            </p:nvSpPr>
            <p:spPr bwMode="auto">
              <a:xfrm>
                <a:off x="6976028" y="5372686"/>
                <a:ext cx="671658" cy="68061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chemeClr val="tx2"/>
              </a:solidFill>
              <a:ln w="31750" cap="sq">
                <a:noFill/>
                <a:miter lim="800000"/>
                <a:headEnd/>
                <a:tailEnd/>
              </a:ln>
              <a:extLst/>
            </p:spPr>
            <p:txBody>
              <a:bodyPr vert="horz" wrap="square" lIns="89619" tIns="44810" rIns="89619" bIns="44810" numCol="1" anchor="t" anchorCtr="0" compatLnSpc="1">
                <a:prstTxWarp prst="textNoShape">
                  <a:avLst/>
                </a:prstTxWarp>
              </a:bodyPr>
              <a:lstStyle/>
              <a:p>
                <a:pPr defTabSz="913946"/>
                <a:endParaRPr lang="en-US">
                  <a:solidFill>
                    <a:srgbClr val="002060"/>
                  </a:solidFill>
                </a:endParaRPr>
              </a:p>
            </p:txBody>
          </p:sp>
          <p:sp>
            <p:nvSpPr>
              <p:cNvPr id="16" name="Freeform 427"/>
              <p:cNvSpPr>
                <a:spLocks/>
              </p:cNvSpPr>
              <p:nvPr/>
            </p:nvSpPr>
            <p:spPr bwMode="auto">
              <a:xfrm>
                <a:off x="7764107" y="5372686"/>
                <a:ext cx="671658" cy="68061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chemeClr val="tx2"/>
              </a:solidFill>
              <a:ln w="31750" cap="sq">
                <a:noFill/>
                <a:miter lim="800000"/>
                <a:headEnd/>
                <a:tailEnd/>
              </a:ln>
              <a:extLst/>
            </p:spPr>
            <p:txBody>
              <a:bodyPr vert="horz" wrap="square" lIns="89619" tIns="44810" rIns="89619" bIns="44810" numCol="1" anchor="t" anchorCtr="0" compatLnSpc="1">
                <a:prstTxWarp prst="textNoShape">
                  <a:avLst/>
                </a:prstTxWarp>
              </a:bodyPr>
              <a:lstStyle/>
              <a:p>
                <a:pPr defTabSz="913946"/>
                <a:endParaRPr lang="en-US">
                  <a:solidFill>
                    <a:srgbClr val="002060"/>
                  </a:solidFill>
                </a:endParaRPr>
              </a:p>
            </p:txBody>
          </p:sp>
          <p:sp>
            <p:nvSpPr>
              <p:cNvPr id="17" name="Freeform 428"/>
              <p:cNvSpPr>
                <a:spLocks/>
              </p:cNvSpPr>
              <p:nvPr/>
            </p:nvSpPr>
            <p:spPr bwMode="auto">
              <a:xfrm>
                <a:off x="6976028" y="6169720"/>
                <a:ext cx="671658" cy="682853"/>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chemeClr val="tx2"/>
              </a:solidFill>
              <a:ln w="31750" cap="sq">
                <a:noFill/>
                <a:miter lim="800000"/>
                <a:headEnd/>
                <a:tailEnd/>
              </a:ln>
              <a:extLst/>
            </p:spPr>
            <p:txBody>
              <a:bodyPr vert="horz" wrap="square" lIns="89619" tIns="44810" rIns="89619" bIns="44810" numCol="1" anchor="t" anchorCtr="0" compatLnSpc="1">
                <a:prstTxWarp prst="textNoShape">
                  <a:avLst/>
                </a:prstTxWarp>
              </a:bodyPr>
              <a:lstStyle/>
              <a:p>
                <a:pPr defTabSz="913946"/>
                <a:endParaRPr lang="en-US">
                  <a:solidFill>
                    <a:srgbClr val="002060"/>
                  </a:solidFill>
                </a:endParaRPr>
              </a:p>
            </p:txBody>
          </p:sp>
          <p:sp>
            <p:nvSpPr>
              <p:cNvPr id="18" name="Freeform 429"/>
              <p:cNvSpPr>
                <a:spLocks/>
              </p:cNvSpPr>
              <p:nvPr/>
            </p:nvSpPr>
            <p:spPr bwMode="auto">
              <a:xfrm>
                <a:off x="7764107" y="6169720"/>
                <a:ext cx="671658" cy="682853"/>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chemeClr val="tx2"/>
              </a:solidFill>
              <a:ln w="31750" cap="sq">
                <a:noFill/>
                <a:miter lim="800000"/>
                <a:headEnd/>
                <a:tailEnd/>
              </a:ln>
              <a:extLst/>
            </p:spPr>
            <p:txBody>
              <a:bodyPr vert="horz" wrap="square" lIns="89619" tIns="44810" rIns="89619" bIns="44810" numCol="1" anchor="t" anchorCtr="0" compatLnSpc="1">
                <a:prstTxWarp prst="textNoShape">
                  <a:avLst/>
                </a:prstTxWarp>
              </a:bodyPr>
              <a:lstStyle/>
              <a:p>
                <a:pPr defTabSz="913946"/>
                <a:endParaRPr lang="en-US">
                  <a:solidFill>
                    <a:srgbClr val="002060"/>
                  </a:solidFill>
                </a:endParaRPr>
              </a:p>
            </p:txBody>
          </p:sp>
        </p:grpSp>
      </p:grpSp>
      <p:sp>
        <p:nvSpPr>
          <p:cNvPr id="2" name="Rectangle 1"/>
          <p:cNvSpPr/>
          <p:nvPr/>
        </p:nvSpPr>
        <p:spPr bwMode="auto">
          <a:xfrm>
            <a:off x="1589" y="1380"/>
            <a:ext cx="269169" cy="685524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rgbClr val="002060"/>
              </a:solidFill>
            </a:endParaRPr>
          </a:p>
        </p:txBody>
      </p:sp>
      <p:sp>
        <p:nvSpPr>
          <p:cNvPr id="79" name="Rectangle 78"/>
          <p:cNvSpPr/>
          <p:nvPr/>
        </p:nvSpPr>
        <p:spPr bwMode="auto">
          <a:xfrm>
            <a:off x="1589" y="-207036"/>
            <a:ext cx="269169" cy="7063658"/>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rgbClr val="002060"/>
              </a:solidFill>
            </a:endParaRPr>
          </a:p>
        </p:txBody>
      </p:sp>
    </p:spTree>
    <p:extLst>
      <p:ext uri="{BB962C8B-B14F-4D97-AF65-F5344CB8AC3E}">
        <p14:creationId xmlns:p14="http://schemas.microsoft.com/office/powerpoint/2010/main" val="228049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53" presetClass="entr" presetSubtype="16" fill="hold" nodeType="after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p:cTn id="12" dur="250" fill="hold"/>
                                        <p:tgtEl>
                                          <p:spTgt spid="12"/>
                                        </p:tgtEl>
                                        <p:attrNameLst>
                                          <p:attrName>ppt_w</p:attrName>
                                        </p:attrNameLst>
                                      </p:cBhvr>
                                      <p:tavLst>
                                        <p:tav tm="0">
                                          <p:val>
                                            <p:fltVal val="0"/>
                                          </p:val>
                                        </p:tav>
                                        <p:tav tm="100000">
                                          <p:val>
                                            <p:strVal val="#ppt_w"/>
                                          </p:val>
                                        </p:tav>
                                      </p:tavLst>
                                    </p:anim>
                                    <p:anim calcmode="lin" valueType="num">
                                      <p:cBhvr>
                                        <p:cTn id="13" dur="250" fill="hold"/>
                                        <p:tgtEl>
                                          <p:spTgt spid="12"/>
                                        </p:tgtEl>
                                        <p:attrNameLst>
                                          <p:attrName>ppt_h</p:attrName>
                                        </p:attrNameLst>
                                      </p:cBhvr>
                                      <p:tavLst>
                                        <p:tav tm="0">
                                          <p:val>
                                            <p:fltVal val="0"/>
                                          </p:val>
                                        </p:tav>
                                        <p:tav tm="100000">
                                          <p:val>
                                            <p:strVal val="#ppt_h"/>
                                          </p:val>
                                        </p:tav>
                                      </p:tavLst>
                                    </p:anim>
                                    <p:animEffect transition="in" filter="fade">
                                      <p:cBhvr>
                                        <p:cTn id="14" dur="250"/>
                                        <p:tgtEl>
                                          <p:spTgt spid="12"/>
                                        </p:tgtEl>
                                      </p:cBhvr>
                                    </p:animEffect>
                                  </p:childTnLst>
                                </p:cTn>
                              </p:par>
                              <p:par>
                                <p:cTn id="15" presetID="6" presetClass="emph" presetSubtype="0" decel="100000" fill="hold" nodeType="withEffect">
                                  <p:stCondLst>
                                    <p:cond delay="200"/>
                                  </p:stCondLst>
                                  <p:childTnLst>
                                    <p:animScale>
                                      <p:cBhvr>
                                        <p:cTn id="16" dur="250" fill="hold"/>
                                        <p:tgtEl>
                                          <p:spTgt spid="12"/>
                                        </p:tgtEl>
                                      </p:cBhvr>
                                      <p:by x="110000" y="110000"/>
                                    </p:animScale>
                                  </p:childTnLst>
                                </p:cTn>
                              </p:par>
                              <p:par>
                                <p:cTn id="17" presetID="6" presetClass="emph" presetSubtype="0" decel="100000" fill="hold" nodeType="withEffect">
                                  <p:stCondLst>
                                    <p:cond delay="300"/>
                                  </p:stCondLst>
                                  <p:childTnLst>
                                    <p:animScale>
                                      <p:cBhvr>
                                        <p:cTn id="18" dur="250" fill="hold"/>
                                        <p:tgtEl>
                                          <p:spTgt spid="12"/>
                                        </p:tgtEl>
                                      </p:cBhvr>
                                      <p:by x="91000" y="91000"/>
                                    </p:animScale>
                                  </p:childTnLst>
                                </p:cTn>
                              </p:par>
                            </p:childTnLst>
                          </p:cTn>
                        </p:par>
                        <p:par>
                          <p:cTn id="19" fill="hold">
                            <p:stCondLst>
                              <p:cond delay="1050"/>
                            </p:stCondLst>
                            <p:childTnLst>
                              <p:par>
                                <p:cTn id="20" presetID="2" presetClass="entr" presetSubtype="8" decel="100000" fill="hold" nodeType="afterEffect">
                                  <p:stCondLst>
                                    <p:cond delay="0"/>
                                  </p:stCondLst>
                                  <p:childTnLst>
                                    <p:set>
                                      <p:cBhvr>
                                        <p:cTn id="21" dur="1" fill="hold">
                                          <p:stCondLst>
                                            <p:cond delay="0"/>
                                          </p:stCondLst>
                                        </p:cTn>
                                        <p:tgtEl>
                                          <p:spTgt spid="31"/>
                                        </p:tgtEl>
                                        <p:attrNameLst>
                                          <p:attrName>style.visibility</p:attrName>
                                        </p:attrNameLst>
                                      </p:cBhvr>
                                      <p:to>
                                        <p:strVal val="visible"/>
                                      </p:to>
                                    </p:set>
                                    <p:anim calcmode="lin" valueType="num">
                                      <p:cBhvr additive="base">
                                        <p:cTn id="22" dur="750" fill="hold"/>
                                        <p:tgtEl>
                                          <p:spTgt spid="31"/>
                                        </p:tgtEl>
                                        <p:attrNameLst>
                                          <p:attrName>ppt_x</p:attrName>
                                        </p:attrNameLst>
                                      </p:cBhvr>
                                      <p:tavLst>
                                        <p:tav tm="0">
                                          <p:val>
                                            <p:strVal val="0-#ppt_w/2"/>
                                          </p:val>
                                        </p:tav>
                                        <p:tav tm="100000">
                                          <p:val>
                                            <p:strVal val="#ppt_x"/>
                                          </p:val>
                                        </p:tav>
                                      </p:tavLst>
                                    </p:anim>
                                    <p:anim calcmode="lin" valueType="num">
                                      <p:cBhvr additive="base">
                                        <p:cTn id="23" dur="750" fill="hold"/>
                                        <p:tgtEl>
                                          <p:spTgt spid="31"/>
                                        </p:tgtEl>
                                        <p:attrNameLst>
                                          <p:attrName>ppt_y</p:attrName>
                                        </p:attrNameLst>
                                      </p:cBhvr>
                                      <p:tavLst>
                                        <p:tav tm="0">
                                          <p:val>
                                            <p:strVal val="#ppt_y"/>
                                          </p:val>
                                        </p:tav>
                                        <p:tav tm="100000">
                                          <p:val>
                                            <p:strVal val="#ppt_y"/>
                                          </p:val>
                                        </p:tav>
                                      </p:tavLst>
                                    </p:anim>
                                  </p:childTnLst>
                                </p:cTn>
                              </p:par>
                              <p:par>
                                <p:cTn id="24" presetID="10" presetClass="entr" presetSubtype="0" fill="hold" grpId="0" nodeType="withEffect">
                                  <p:stCondLst>
                                    <p:cond delay="50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500"/>
                                        <p:tgtEl>
                                          <p:spTgt spid="74"/>
                                        </p:tgtEl>
                                      </p:cBhvr>
                                    </p:animEffect>
                                  </p:childTnLst>
                                </p:cTn>
                              </p:par>
                              <p:par>
                                <p:cTn id="27" presetID="10" presetClass="entr" presetSubtype="0" fill="hold" grpId="0" nodeType="withEffect">
                                  <p:stCondLst>
                                    <p:cond delay="600"/>
                                  </p:stCondLst>
                                  <p:childTnLst>
                                    <p:set>
                                      <p:cBhvr>
                                        <p:cTn id="28" dur="1" fill="hold">
                                          <p:stCondLst>
                                            <p:cond delay="0"/>
                                          </p:stCondLst>
                                        </p:cTn>
                                        <p:tgtEl>
                                          <p:spTgt spid="75"/>
                                        </p:tgtEl>
                                        <p:attrNameLst>
                                          <p:attrName>style.visibility</p:attrName>
                                        </p:attrNameLst>
                                      </p:cBhvr>
                                      <p:to>
                                        <p:strVal val="visible"/>
                                      </p:to>
                                    </p:set>
                                    <p:animEffect transition="in" filter="fade">
                                      <p:cBhvr>
                                        <p:cTn id="29" dur="500"/>
                                        <p:tgtEl>
                                          <p:spTgt spid="75"/>
                                        </p:tgtEl>
                                      </p:cBhvr>
                                    </p:animEffect>
                                  </p:childTnLst>
                                </p:cTn>
                              </p:par>
                              <p:par>
                                <p:cTn id="30" presetID="10" presetClass="entr" presetSubtype="0" fill="hold" grpId="0" nodeType="withEffect">
                                  <p:stCondLst>
                                    <p:cond delay="700"/>
                                  </p:stCondLst>
                                  <p:childTnLst>
                                    <p:set>
                                      <p:cBhvr>
                                        <p:cTn id="31" dur="1" fill="hold">
                                          <p:stCondLst>
                                            <p:cond delay="0"/>
                                          </p:stCondLst>
                                        </p:cTn>
                                        <p:tgtEl>
                                          <p:spTgt spid="76"/>
                                        </p:tgtEl>
                                        <p:attrNameLst>
                                          <p:attrName>style.visibility</p:attrName>
                                        </p:attrNameLst>
                                      </p:cBhvr>
                                      <p:to>
                                        <p:strVal val="visible"/>
                                      </p:to>
                                    </p:set>
                                    <p:animEffect transition="in" filter="fade">
                                      <p:cBhvr>
                                        <p:cTn id="32" dur="500"/>
                                        <p:tgtEl>
                                          <p:spTgt spid="76"/>
                                        </p:tgtEl>
                                      </p:cBhvr>
                                    </p:animEffect>
                                  </p:childTnLst>
                                </p:cTn>
                              </p:par>
                              <p:par>
                                <p:cTn id="33" presetID="10" presetClass="entr" presetSubtype="0" fill="hold" grpId="0" nodeType="withEffect">
                                  <p:stCondLst>
                                    <p:cond delay="800"/>
                                  </p:stCondLst>
                                  <p:childTnLst>
                                    <p:set>
                                      <p:cBhvr>
                                        <p:cTn id="34" dur="1" fill="hold">
                                          <p:stCondLst>
                                            <p:cond delay="0"/>
                                          </p:stCondLst>
                                        </p:cTn>
                                        <p:tgtEl>
                                          <p:spTgt spid="77"/>
                                        </p:tgtEl>
                                        <p:attrNameLst>
                                          <p:attrName>style.visibility</p:attrName>
                                        </p:attrNameLst>
                                      </p:cBhvr>
                                      <p:to>
                                        <p:strVal val="visible"/>
                                      </p:to>
                                    </p:set>
                                    <p:animEffect transition="in" filter="fade">
                                      <p:cBhvr>
                                        <p:cTn id="35" dur="500"/>
                                        <p:tgtEl>
                                          <p:spTgt spid="77"/>
                                        </p:tgtEl>
                                      </p:cBhvr>
                                    </p:animEffect>
                                  </p:childTnLst>
                                </p:cTn>
                              </p:par>
                              <p:par>
                                <p:cTn id="36" presetID="10" presetClass="entr" presetSubtype="0" fill="hold" grpId="0" nodeType="withEffect">
                                  <p:stCondLst>
                                    <p:cond delay="900"/>
                                  </p:stCondLst>
                                  <p:childTnLst>
                                    <p:set>
                                      <p:cBhvr>
                                        <p:cTn id="37" dur="1" fill="hold">
                                          <p:stCondLst>
                                            <p:cond delay="0"/>
                                          </p:stCondLst>
                                        </p:cTn>
                                        <p:tgtEl>
                                          <p:spTgt spid="78"/>
                                        </p:tgtEl>
                                        <p:attrNameLst>
                                          <p:attrName>style.visibility</p:attrName>
                                        </p:attrNameLst>
                                      </p:cBhvr>
                                      <p:to>
                                        <p:strVal val="visible"/>
                                      </p:to>
                                    </p:set>
                                    <p:animEffect transition="in" filter="fade">
                                      <p:cBhvr>
                                        <p:cTn id="38" dur="500"/>
                                        <p:tgtEl>
                                          <p:spTgt spid="78"/>
                                        </p:tgtEl>
                                      </p:cBhvr>
                                    </p:animEffect>
                                  </p:childTnLst>
                                </p:cTn>
                              </p:par>
                              <p:par>
                                <p:cTn id="39" presetID="2" presetClass="entr" presetSubtype="8" decel="100000" fill="hold" nodeType="withEffect">
                                  <p:stCondLst>
                                    <p:cond delay="100"/>
                                  </p:stCondLst>
                                  <p:childTnLst>
                                    <p:set>
                                      <p:cBhvr>
                                        <p:cTn id="40" dur="1" fill="hold">
                                          <p:stCondLst>
                                            <p:cond delay="0"/>
                                          </p:stCondLst>
                                        </p:cTn>
                                        <p:tgtEl>
                                          <p:spTgt spid="28"/>
                                        </p:tgtEl>
                                        <p:attrNameLst>
                                          <p:attrName>style.visibility</p:attrName>
                                        </p:attrNameLst>
                                      </p:cBhvr>
                                      <p:to>
                                        <p:strVal val="visible"/>
                                      </p:to>
                                    </p:set>
                                    <p:anim calcmode="lin" valueType="num">
                                      <p:cBhvr additive="base">
                                        <p:cTn id="41" dur="750" fill="hold"/>
                                        <p:tgtEl>
                                          <p:spTgt spid="28"/>
                                        </p:tgtEl>
                                        <p:attrNameLst>
                                          <p:attrName>ppt_x</p:attrName>
                                        </p:attrNameLst>
                                      </p:cBhvr>
                                      <p:tavLst>
                                        <p:tav tm="0">
                                          <p:val>
                                            <p:strVal val="0-#ppt_w/2"/>
                                          </p:val>
                                        </p:tav>
                                        <p:tav tm="100000">
                                          <p:val>
                                            <p:strVal val="#ppt_x"/>
                                          </p:val>
                                        </p:tav>
                                      </p:tavLst>
                                    </p:anim>
                                    <p:anim calcmode="lin" valueType="num">
                                      <p:cBhvr additive="base">
                                        <p:cTn id="42" dur="750" fill="hold"/>
                                        <p:tgtEl>
                                          <p:spTgt spid="28"/>
                                        </p:tgtEl>
                                        <p:attrNameLst>
                                          <p:attrName>ppt_y</p:attrName>
                                        </p:attrNameLst>
                                      </p:cBhvr>
                                      <p:tavLst>
                                        <p:tav tm="0">
                                          <p:val>
                                            <p:strVal val="#ppt_y"/>
                                          </p:val>
                                        </p:tav>
                                        <p:tav tm="100000">
                                          <p:val>
                                            <p:strVal val="#ppt_y"/>
                                          </p:val>
                                        </p:tav>
                                      </p:tavLst>
                                    </p:anim>
                                  </p:childTnLst>
                                </p:cTn>
                              </p:par>
                              <p:par>
                                <p:cTn id="43" presetID="2" presetClass="entr" presetSubtype="8" decel="100000" fill="hold" nodeType="withEffect">
                                  <p:stCondLst>
                                    <p:cond delay="200"/>
                                  </p:stCondLst>
                                  <p:childTnLst>
                                    <p:set>
                                      <p:cBhvr>
                                        <p:cTn id="44" dur="1" fill="hold">
                                          <p:stCondLst>
                                            <p:cond delay="0"/>
                                          </p:stCondLst>
                                        </p:cTn>
                                        <p:tgtEl>
                                          <p:spTgt spid="33"/>
                                        </p:tgtEl>
                                        <p:attrNameLst>
                                          <p:attrName>style.visibility</p:attrName>
                                        </p:attrNameLst>
                                      </p:cBhvr>
                                      <p:to>
                                        <p:strVal val="visible"/>
                                      </p:to>
                                    </p:set>
                                    <p:anim calcmode="lin" valueType="num">
                                      <p:cBhvr additive="base">
                                        <p:cTn id="45" dur="750" fill="hold"/>
                                        <p:tgtEl>
                                          <p:spTgt spid="33"/>
                                        </p:tgtEl>
                                        <p:attrNameLst>
                                          <p:attrName>ppt_x</p:attrName>
                                        </p:attrNameLst>
                                      </p:cBhvr>
                                      <p:tavLst>
                                        <p:tav tm="0">
                                          <p:val>
                                            <p:strVal val="0-#ppt_w/2"/>
                                          </p:val>
                                        </p:tav>
                                        <p:tav tm="100000">
                                          <p:val>
                                            <p:strVal val="#ppt_x"/>
                                          </p:val>
                                        </p:tav>
                                      </p:tavLst>
                                    </p:anim>
                                    <p:anim calcmode="lin" valueType="num">
                                      <p:cBhvr additive="base">
                                        <p:cTn id="46" dur="750" fill="hold"/>
                                        <p:tgtEl>
                                          <p:spTgt spid="33"/>
                                        </p:tgtEl>
                                        <p:attrNameLst>
                                          <p:attrName>ppt_y</p:attrName>
                                        </p:attrNameLst>
                                      </p:cBhvr>
                                      <p:tavLst>
                                        <p:tav tm="0">
                                          <p:val>
                                            <p:strVal val="#ppt_y"/>
                                          </p:val>
                                        </p:tav>
                                        <p:tav tm="100000">
                                          <p:val>
                                            <p:strVal val="#ppt_y"/>
                                          </p:val>
                                        </p:tav>
                                      </p:tavLst>
                                    </p:anim>
                                  </p:childTnLst>
                                </p:cTn>
                              </p:par>
                              <p:par>
                                <p:cTn id="47" presetID="2" presetClass="entr" presetSubtype="8" decel="100000" fill="hold" nodeType="withEffect">
                                  <p:stCondLst>
                                    <p:cond delay="300"/>
                                  </p:stCondLst>
                                  <p:childTnLst>
                                    <p:set>
                                      <p:cBhvr>
                                        <p:cTn id="48" dur="1" fill="hold">
                                          <p:stCondLst>
                                            <p:cond delay="0"/>
                                          </p:stCondLst>
                                        </p:cTn>
                                        <p:tgtEl>
                                          <p:spTgt spid="34"/>
                                        </p:tgtEl>
                                        <p:attrNameLst>
                                          <p:attrName>style.visibility</p:attrName>
                                        </p:attrNameLst>
                                      </p:cBhvr>
                                      <p:to>
                                        <p:strVal val="visible"/>
                                      </p:to>
                                    </p:set>
                                    <p:anim calcmode="lin" valueType="num">
                                      <p:cBhvr additive="base">
                                        <p:cTn id="49" dur="750" fill="hold"/>
                                        <p:tgtEl>
                                          <p:spTgt spid="34"/>
                                        </p:tgtEl>
                                        <p:attrNameLst>
                                          <p:attrName>ppt_x</p:attrName>
                                        </p:attrNameLst>
                                      </p:cBhvr>
                                      <p:tavLst>
                                        <p:tav tm="0">
                                          <p:val>
                                            <p:strVal val="0-#ppt_w/2"/>
                                          </p:val>
                                        </p:tav>
                                        <p:tav tm="100000">
                                          <p:val>
                                            <p:strVal val="#ppt_x"/>
                                          </p:val>
                                        </p:tav>
                                      </p:tavLst>
                                    </p:anim>
                                    <p:anim calcmode="lin" valueType="num">
                                      <p:cBhvr additive="base">
                                        <p:cTn id="50" dur="750" fill="hold"/>
                                        <p:tgtEl>
                                          <p:spTgt spid="34"/>
                                        </p:tgtEl>
                                        <p:attrNameLst>
                                          <p:attrName>ppt_y</p:attrName>
                                        </p:attrNameLst>
                                      </p:cBhvr>
                                      <p:tavLst>
                                        <p:tav tm="0">
                                          <p:val>
                                            <p:strVal val="#ppt_y"/>
                                          </p:val>
                                        </p:tav>
                                        <p:tav tm="100000">
                                          <p:val>
                                            <p:strVal val="#ppt_y"/>
                                          </p:val>
                                        </p:tav>
                                      </p:tavLst>
                                    </p:anim>
                                  </p:childTnLst>
                                </p:cTn>
                              </p:par>
                              <p:par>
                                <p:cTn id="51" presetID="2" presetClass="entr" presetSubtype="8" decel="100000" fill="hold" nodeType="withEffect">
                                  <p:stCondLst>
                                    <p:cond delay="400"/>
                                  </p:stCondLst>
                                  <p:childTnLst>
                                    <p:set>
                                      <p:cBhvr>
                                        <p:cTn id="52" dur="1" fill="hold">
                                          <p:stCondLst>
                                            <p:cond delay="0"/>
                                          </p:stCondLst>
                                        </p:cTn>
                                        <p:tgtEl>
                                          <p:spTgt spid="35"/>
                                        </p:tgtEl>
                                        <p:attrNameLst>
                                          <p:attrName>style.visibility</p:attrName>
                                        </p:attrNameLst>
                                      </p:cBhvr>
                                      <p:to>
                                        <p:strVal val="visible"/>
                                      </p:to>
                                    </p:set>
                                    <p:anim calcmode="lin" valueType="num">
                                      <p:cBhvr additive="base">
                                        <p:cTn id="53" dur="750" fill="hold"/>
                                        <p:tgtEl>
                                          <p:spTgt spid="35"/>
                                        </p:tgtEl>
                                        <p:attrNameLst>
                                          <p:attrName>ppt_x</p:attrName>
                                        </p:attrNameLst>
                                      </p:cBhvr>
                                      <p:tavLst>
                                        <p:tav tm="0">
                                          <p:val>
                                            <p:strVal val="0-#ppt_w/2"/>
                                          </p:val>
                                        </p:tav>
                                        <p:tav tm="100000">
                                          <p:val>
                                            <p:strVal val="#ppt_x"/>
                                          </p:val>
                                        </p:tav>
                                      </p:tavLst>
                                    </p:anim>
                                    <p:anim calcmode="lin" valueType="num">
                                      <p:cBhvr additive="base">
                                        <p:cTn id="54" dur="750" fill="hold"/>
                                        <p:tgtEl>
                                          <p:spTgt spid="3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p:bldP spid="75" grpId="0"/>
      <p:bldP spid="76" grpId="0"/>
      <p:bldP spid="77" grpId="0"/>
      <p:bldP spid="78" grpId="0"/>
      <p:bldP spid="1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511454" y="640161"/>
            <a:ext cx="855799" cy="855799"/>
            <a:chOff x="3581177" y="651758"/>
            <a:chExt cx="873187" cy="873187"/>
          </a:xfrm>
        </p:grpSpPr>
        <p:sp>
          <p:nvSpPr>
            <p:cNvPr id="24" name="Oval 23"/>
            <p:cNvSpPr/>
            <p:nvPr/>
          </p:nvSpPr>
          <p:spPr bwMode="auto">
            <a:xfrm>
              <a:off x="3581177" y="651758"/>
              <a:ext cx="873187" cy="873187"/>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rgbClr val="002060"/>
                </a:solidFill>
              </a:endParaRPr>
            </a:p>
          </p:txBody>
        </p:sp>
        <p:sp>
          <p:nvSpPr>
            <p:cNvPr id="29" name="Freeform 9"/>
            <p:cNvSpPr>
              <a:spLocks/>
            </p:cNvSpPr>
            <p:nvPr/>
          </p:nvSpPr>
          <p:spPr bwMode="auto">
            <a:xfrm>
              <a:off x="3819331" y="827983"/>
              <a:ext cx="396879" cy="520736"/>
            </a:xfrm>
            <a:custGeom>
              <a:avLst/>
              <a:gdLst>
                <a:gd name="T0" fmla="*/ 2 w 1253"/>
                <a:gd name="T1" fmla="*/ 228 h 1648"/>
                <a:gd name="T2" fmla="*/ 627 w 1253"/>
                <a:gd name="T3" fmla="*/ 0 h 1648"/>
                <a:gd name="T4" fmla="*/ 1253 w 1253"/>
                <a:gd name="T5" fmla="*/ 227 h 1648"/>
                <a:gd name="T6" fmla="*/ 1253 w 1253"/>
                <a:gd name="T7" fmla="*/ 254 h 1648"/>
                <a:gd name="T8" fmla="*/ 1253 w 1253"/>
                <a:gd name="T9" fmla="*/ 1014 h 1648"/>
                <a:gd name="T10" fmla="*/ 1114 w 1253"/>
                <a:gd name="T11" fmla="*/ 1329 h 1648"/>
                <a:gd name="T12" fmla="*/ 844 w 1253"/>
                <a:gd name="T13" fmla="*/ 1518 h 1648"/>
                <a:gd name="T14" fmla="*/ 640 w 1253"/>
                <a:gd name="T15" fmla="*/ 1643 h 1648"/>
                <a:gd name="T16" fmla="*/ 617 w 1253"/>
                <a:gd name="T17" fmla="*/ 1645 h 1648"/>
                <a:gd name="T18" fmla="*/ 253 w 1253"/>
                <a:gd name="T19" fmla="*/ 1418 h 1648"/>
                <a:gd name="T20" fmla="*/ 81 w 1253"/>
                <a:gd name="T21" fmla="*/ 1264 h 1648"/>
                <a:gd name="T22" fmla="*/ 1 w 1253"/>
                <a:gd name="T23" fmla="*/ 1026 h 1648"/>
                <a:gd name="T24" fmla="*/ 1 w 1253"/>
                <a:gd name="T25" fmla="*/ 248 h 1648"/>
                <a:gd name="T26" fmla="*/ 2 w 1253"/>
                <a:gd name="T27" fmla="*/ 228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3" h="1648">
                  <a:moveTo>
                    <a:pt x="2" y="228"/>
                  </a:moveTo>
                  <a:cubicBezTo>
                    <a:pt x="244" y="244"/>
                    <a:pt x="450" y="164"/>
                    <a:pt x="627" y="0"/>
                  </a:cubicBezTo>
                  <a:cubicBezTo>
                    <a:pt x="804" y="164"/>
                    <a:pt x="1010" y="244"/>
                    <a:pt x="1253" y="227"/>
                  </a:cubicBezTo>
                  <a:cubicBezTo>
                    <a:pt x="1253" y="239"/>
                    <a:pt x="1253" y="246"/>
                    <a:pt x="1253" y="254"/>
                  </a:cubicBezTo>
                  <a:cubicBezTo>
                    <a:pt x="1253" y="507"/>
                    <a:pt x="1253" y="761"/>
                    <a:pt x="1253" y="1014"/>
                  </a:cubicBezTo>
                  <a:cubicBezTo>
                    <a:pt x="1253" y="1139"/>
                    <a:pt x="1206" y="1244"/>
                    <a:pt x="1114" y="1329"/>
                  </a:cubicBezTo>
                  <a:cubicBezTo>
                    <a:pt x="1032" y="1404"/>
                    <a:pt x="938" y="1461"/>
                    <a:pt x="844" y="1518"/>
                  </a:cubicBezTo>
                  <a:cubicBezTo>
                    <a:pt x="776" y="1560"/>
                    <a:pt x="708" y="1602"/>
                    <a:pt x="640" y="1643"/>
                  </a:cubicBezTo>
                  <a:cubicBezTo>
                    <a:pt x="634" y="1647"/>
                    <a:pt x="623" y="1648"/>
                    <a:pt x="617" y="1645"/>
                  </a:cubicBezTo>
                  <a:cubicBezTo>
                    <a:pt x="496" y="1570"/>
                    <a:pt x="373" y="1495"/>
                    <a:pt x="253" y="1418"/>
                  </a:cubicBezTo>
                  <a:cubicBezTo>
                    <a:pt x="188" y="1376"/>
                    <a:pt x="128" y="1326"/>
                    <a:pt x="81" y="1264"/>
                  </a:cubicBezTo>
                  <a:cubicBezTo>
                    <a:pt x="28" y="1193"/>
                    <a:pt x="2" y="1113"/>
                    <a:pt x="1" y="1026"/>
                  </a:cubicBezTo>
                  <a:cubicBezTo>
                    <a:pt x="0" y="766"/>
                    <a:pt x="1" y="507"/>
                    <a:pt x="1" y="248"/>
                  </a:cubicBezTo>
                  <a:cubicBezTo>
                    <a:pt x="1" y="243"/>
                    <a:pt x="2" y="237"/>
                    <a:pt x="2" y="228"/>
                  </a:cubicBezTo>
                  <a:close/>
                </a:path>
              </a:pathLst>
            </a:custGeom>
            <a:solidFill>
              <a:schemeClr val="accent1"/>
            </a:solidFill>
            <a:ln>
              <a:noFill/>
            </a:ln>
          </p:spPr>
          <p:txBody>
            <a:bodyPr vert="horz" wrap="square" lIns="89619" tIns="44810" rIns="89619" bIns="44810" numCol="1" anchor="t" anchorCtr="0" compatLnSpc="1">
              <a:prstTxWarp prst="textNoShape">
                <a:avLst/>
              </a:prstTxWarp>
            </a:bodyPr>
            <a:lstStyle/>
            <a:p>
              <a:pPr defTabSz="913946"/>
              <a:endParaRPr lang="en-US">
                <a:solidFill>
                  <a:srgbClr val="002060"/>
                </a:solidFill>
              </a:endParaRPr>
            </a:p>
          </p:txBody>
        </p:sp>
      </p:grpSp>
      <p:grpSp>
        <p:nvGrpSpPr>
          <p:cNvPr id="54" name="Group 53"/>
          <p:cNvGrpSpPr/>
          <p:nvPr/>
        </p:nvGrpSpPr>
        <p:grpSpPr>
          <a:xfrm>
            <a:off x="3511454" y="5189826"/>
            <a:ext cx="855799" cy="855799"/>
            <a:chOff x="3581177" y="5293863"/>
            <a:chExt cx="873187" cy="873187"/>
          </a:xfrm>
        </p:grpSpPr>
        <p:sp>
          <p:nvSpPr>
            <p:cNvPr id="48" name="Oval 47"/>
            <p:cNvSpPr/>
            <p:nvPr/>
          </p:nvSpPr>
          <p:spPr bwMode="auto">
            <a:xfrm>
              <a:off x="3581177" y="5293863"/>
              <a:ext cx="873187" cy="873187"/>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rgbClr val="002060"/>
                </a:solidFill>
              </a:endParaRPr>
            </a:p>
          </p:txBody>
        </p:sp>
        <p:sp>
          <p:nvSpPr>
            <p:cNvPr id="44" name="Freeform 21"/>
            <p:cNvSpPr>
              <a:spLocks noEditPoints="1"/>
            </p:cNvSpPr>
            <p:nvPr/>
          </p:nvSpPr>
          <p:spPr bwMode="auto">
            <a:xfrm>
              <a:off x="3818880" y="5487462"/>
              <a:ext cx="397781" cy="485989"/>
            </a:xfrm>
            <a:custGeom>
              <a:avLst/>
              <a:gdLst>
                <a:gd name="T0" fmla="*/ 914 w 1743"/>
                <a:gd name="T1" fmla="*/ 1364 h 2131"/>
                <a:gd name="T2" fmla="*/ 304 w 1743"/>
                <a:gd name="T3" fmla="*/ 1435 h 2131"/>
                <a:gd name="T4" fmla="*/ 304 w 1743"/>
                <a:gd name="T5" fmla="*/ 1364 h 2131"/>
                <a:gd name="T6" fmla="*/ 304 w 1743"/>
                <a:gd name="T7" fmla="*/ 895 h 2131"/>
                <a:gd name="T8" fmla="*/ 914 w 1743"/>
                <a:gd name="T9" fmla="*/ 959 h 2131"/>
                <a:gd name="T10" fmla="*/ 914 w 1743"/>
                <a:gd name="T11" fmla="*/ 895 h 2131"/>
                <a:gd name="T12" fmla="*/ 1523 w 1743"/>
                <a:gd name="T13" fmla="*/ 717 h 2131"/>
                <a:gd name="T14" fmla="*/ 1551 w 1743"/>
                <a:gd name="T15" fmla="*/ 639 h 2131"/>
                <a:gd name="T16" fmla="*/ 1473 w 1743"/>
                <a:gd name="T17" fmla="*/ 788 h 2131"/>
                <a:gd name="T18" fmla="*/ 829 w 1743"/>
                <a:gd name="T19" fmla="*/ 653 h 2131"/>
                <a:gd name="T20" fmla="*/ 304 w 1743"/>
                <a:gd name="T21" fmla="*/ 724 h 2131"/>
                <a:gd name="T22" fmla="*/ 829 w 1743"/>
                <a:gd name="T23" fmla="*/ 653 h 2131"/>
                <a:gd name="T24" fmla="*/ 304 w 1743"/>
                <a:gd name="T25" fmla="*/ 1669 h 2131"/>
                <a:gd name="T26" fmla="*/ 829 w 1743"/>
                <a:gd name="T27" fmla="*/ 1605 h 2131"/>
                <a:gd name="T28" fmla="*/ 304 w 1743"/>
                <a:gd name="T29" fmla="*/ 1669 h 2131"/>
                <a:gd name="T30" fmla="*/ 1473 w 1743"/>
                <a:gd name="T31" fmla="*/ 2038 h 2131"/>
                <a:gd name="T32" fmla="*/ 78 w 1743"/>
                <a:gd name="T33" fmla="*/ 256 h 2131"/>
                <a:gd name="T34" fmla="*/ 312 w 1743"/>
                <a:gd name="T35" fmla="*/ 156 h 2131"/>
                <a:gd name="T36" fmla="*/ 0 w 1743"/>
                <a:gd name="T37" fmla="*/ 2131 h 2131"/>
                <a:gd name="T38" fmla="*/ 1551 w 1743"/>
                <a:gd name="T39" fmla="*/ 1115 h 2131"/>
                <a:gd name="T40" fmla="*/ 1473 w 1743"/>
                <a:gd name="T41" fmla="*/ 2038 h 2131"/>
                <a:gd name="T42" fmla="*/ 829 w 1743"/>
                <a:gd name="T43" fmla="*/ 1129 h 2131"/>
                <a:gd name="T44" fmla="*/ 304 w 1743"/>
                <a:gd name="T45" fmla="*/ 1200 h 2131"/>
                <a:gd name="T46" fmla="*/ 829 w 1743"/>
                <a:gd name="T47" fmla="*/ 1129 h 2131"/>
                <a:gd name="T48" fmla="*/ 290 w 1743"/>
                <a:gd name="T49" fmla="*/ 256 h 2131"/>
                <a:gd name="T50" fmla="*/ 545 w 1743"/>
                <a:gd name="T51" fmla="*/ 142 h 2131"/>
                <a:gd name="T52" fmla="*/ 630 w 1743"/>
                <a:gd name="T53" fmla="*/ 142 h 2131"/>
                <a:gd name="T54" fmla="*/ 921 w 1743"/>
                <a:gd name="T55" fmla="*/ 142 h 2131"/>
                <a:gd name="T56" fmla="*/ 1006 w 1743"/>
                <a:gd name="T57" fmla="*/ 142 h 2131"/>
                <a:gd name="T58" fmla="*/ 1261 w 1743"/>
                <a:gd name="T59" fmla="*/ 256 h 2131"/>
                <a:gd name="T60" fmla="*/ 283 w 1743"/>
                <a:gd name="T61" fmla="*/ 305 h 2131"/>
                <a:gd name="T62" fmla="*/ 701 w 1743"/>
                <a:gd name="T63" fmla="*/ 142 h 2131"/>
                <a:gd name="T64" fmla="*/ 850 w 1743"/>
                <a:gd name="T65" fmla="*/ 142 h 2131"/>
                <a:gd name="T66" fmla="*/ 701 w 1743"/>
                <a:gd name="T67" fmla="*/ 142 h 2131"/>
                <a:gd name="T68" fmla="*/ 205 w 1743"/>
                <a:gd name="T69" fmla="*/ 1910 h 2131"/>
                <a:gd name="T70" fmla="*/ 1346 w 1743"/>
                <a:gd name="T71" fmla="*/ 419 h 2131"/>
                <a:gd name="T72" fmla="*/ 1417 w 1743"/>
                <a:gd name="T73" fmla="*/ 405 h 2131"/>
                <a:gd name="T74" fmla="*/ 134 w 1743"/>
                <a:gd name="T75" fmla="*/ 348 h 2131"/>
                <a:gd name="T76" fmla="*/ 1417 w 1743"/>
                <a:gd name="T77" fmla="*/ 1974 h 2131"/>
                <a:gd name="T78" fmla="*/ 1346 w 1743"/>
                <a:gd name="T79" fmla="*/ 1413 h 2131"/>
                <a:gd name="T80" fmla="*/ 1346 w 1743"/>
                <a:gd name="T81" fmla="*/ 1910 h 2131"/>
                <a:gd name="T82" fmla="*/ 1346 w 1743"/>
                <a:gd name="T83" fmla="*/ 945 h 2131"/>
                <a:gd name="T84" fmla="*/ 1417 w 1743"/>
                <a:gd name="T85" fmla="*/ 881 h 2131"/>
                <a:gd name="T86" fmla="*/ 1417 w 1743"/>
                <a:gd name="T87" fmla="*/ 845 h 2131"/>
                <a:gd name="T88" fmla="*/ 1551 w 1743"/>
                <a:gd name="T89" fmla="*/ 249 h 2131"/>
                <a:gd name="T90" fmla="*/ 1240 w 1743"/>
                <a:gd name="T91" fmla="*/ 156 h 2131"/>
                <a:gd name="T92" fmla="*/ 1473 w 1743"/>
                <a:gd name="T93" fmla="*/ 256 h 2131"/>
                <a:gd name="T94" fmla="*/ 1523 w 1743"/>
                <a:gd name="T95" fmla="*/ 249 h 2131"/>
                <a:gd name="T96" fmla="*/ 1743 w 1743"/>
                <a:gd name="T97" fmla="*/ 291 h 2131"/>
                <a:gd name="T98" fmla="*/ 1098 w 1743"/>
                <a:gd name="T99" fmla="*/ 952 h 2131"/>
                <a:gd name="T100" fmla="*/ 1105 w 1743"/>
                <a:gd name="T101" fmla="*/ 653 h 2131"/>
                <a:gd name="T102" fmla="*/ 1544 w 1743"/>
                <a:gd name="T103" fmla="*/ 291 h 2131"/>
                <a:gd name="T104" fmla="*/ 1743 w 1743"/>
                <a:gd name="T105" fmla="*/ 291 h 2131"/>
                <a:gd name="T106" fmla="*/ 1289 w 1743"/>
                <a:gd name="T107" fmla="*/ 1427 h 2131"/>
                <a:gd name="T108" fmla="*/ 914 w 1743"/>
                <a:gd name="T109" fmla="*/ 1129 h 2131"/>
                <a:gd name="T110" fmla="*/ 1197 w 1743"/>
                <a:gd name="T111" fmla="*/ 1278 h 2131"/>
                <a:gd name="T112" fmla="*/ 1743 w 1743"/>
                <a:gd name="T113" fmla="*/ 760 h 2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43" h="2131">
                  <a:moveTo>
                    <a:pt x="304" y="1364"/>
                  </a:moveTo>
                  <a:cubicBezTo>
                    <a:pt x="914" y="1364"/>
                    <a:pt x="914" y="1364"/>
                    <a:pt x="914" y="1364"/>
                  </a:cubicBezTo>
                  <a:cubicBezTo>
                    <a:pt x="914" y="1435"/>
                    <a:pt x="914" y="1435"/>
                    <a:pt x="914" y="1435"/>
                  </a:cubicBezTo>
                  <a:cubicBezTo>
                    <a:pt x="304" y="1435"/>
                    <a:pt x="304" y="1435"/>
                    <a:pt x="304" y="1435"/>
                  </a:cubicBezTo>
                  <a:cubicBezTo>
                    <a:pt x="304" y="1364"/>
                    <a:pt x="304" y="1364"/>
                    <a:pt x="304" y="1364"/>
                  </a:cubicBezTo>
                  <a:cubicBezTo>
                    <a:pt x="304" y="1364"/>
                    <a:pt x="304" y="1364"/>
                    <a:pt x="304" y="1364"/>
                  </a:cubicBezTo>
                  <a:close/>
                  <a:moveTo>
                    <a:pt x="914" y="895"/>
                  </a:moveTo>
                  <a:cubicBezTo>
                    <a:pt x="304" y="895"/>
                    <a:pt x="304" y="895"/>
                    <a:pt x="304" y="895"/>
                  </a:cubicBezTo>
                  <a:cubicBezTo>
                    <a:pt x="304" y="959"/>
                    <a:pt x="304" y="959"/>
                    <a:pt x="304" y="959"/>
                  </a:cubicBezTo>
                  <a:cubicBezTo>
                    <a:pt x="914" y="959"/>
                    <a:pt x="914" y="959"/>
                    <a:pt x="914" y="959"/>
                  </a:cubicBezTo>
                  <a:cubicBezTo>
                    <a:pt x="914" y="895"/>
                    <a:pt x="914" y="895"/>
                    <a:pt x="914" y="895"/>
                  </a:cubicBezTo>
                  <a:cubicBezTo>
                    <a:pt x="914" y="895"/>
                    <a:pt x="914" y="895"/>
                    <a:pt x="914" y="895"/>
                  </a:cubicBezTo>
                  <a:close/>
                  <a:moveTo>
                    <a:pt x="1473" y="788"/>
                  </a:moveTo>
                  <a:cubicBezTo>
                    <a:pt x="1523" y="717"/>
                    <a:pt x="1523" y="717"/>
                    <a:pt x="1523" y="717"/>
                  </a:cubicBezTo>
                  <a:cubicBezTo>
                    <a:pt x="1551" y="717"/>
                    <a:pt x="1551" y="717"/>
                    <a:pt x="1551" y="717"/>
                  </a:cubicBezTo>
                  <a:cubicBezTo>
                    <a:pt x="1551" y="639"/>
                    <a:pt x="1551" y="639"/>
                    <a:pt x="1551" y="639"/>
                  </a:cubicBezTo>
                  <a:cubicBezTo>
                    <a:pt x="1473" y="753"/>
                    <a:pt x="1473" y="753"/>
                    <a:pt x="1473" y="753"/>
                  </a:cubicBezTo>
                  <a:cubicBezTo>
                    <a:pt x="1473" y="788"/>
                    <a:pt x="1473" y="788"/>
                    <a:pt x="1473" y="788"/>
                  </a:cubicBezTo>
                  <a:cubicBezTo>
                    <a:pt x="1473" y="788"/>
                    <a:pt x="1473" y="788"/>
                    <a:pt x="1473" y="788"/>
                  </a:cubicBezTo>
                  <a:close/>
                  <a:moveTo>
                    <a:pt x="829" y="653"/>
                  </a:moveTo>
                  <a:cubicBezTo>
                    <a:pt x="304" y="653"/>
                    <a:pt x="304" y="653"/>
                    <a:pt x="304" y="653"/>
                  </a:cubicBezTo>
                  <a:cubicBezTo>
                    <a:pt x="304" y="724"/>
                    <a:pt x="304" y="724"/>
                    <a:pt x="304" y="724"/>
                  </a:cubicBezTo>
                  <a:cubicBezTo>
                    <a:pt x="829" y="724"/>
                    <a:pt x="829" y="724"/>
                    <a:pt x="829" y="724"/>
                  </a:cubicBezTo>
                  <a:cubicBezTo>
                    <a:pt x="829" y="653"/>
                    <a:pt x="829" y="653"/>
                    <a:pt x="829" y="653"/>
                  </a:cubicBezTo>
                  <a:cubicBezTo>
                    <a:pt x="829" y="653"/>
                    <a:pt x="829" y="653"/>
                    <a:pt x="829" y="653"/>
                  </a:cubicBezTo>
                  <a:close/>
                  <a:moveTo>
                    <a:pt x="304" y="1669"/>
                  </a:moveTo>
                  <a:cubicBezTo>
                    <a:pt x="829" y="1669"/>
                    <a:pt x="829" y="1669"/>
                    <a:pt x="829" y="1669"/>
                  </a:cubicBezTo>
                  <a:cubicBezTo>
                    <a:pt x="829" y="1605"/>
                    <a:pt x="829" y="1605"/>
                    <a:pt x="829" y="1605"/>
                  </a:cubicBezTo>
                  <a:cubicBezTo>
                    <a:pt x="304" y="1605"/>
                    <a:pt x="304" y="1605"/>
                    <a:pt x="304" y="1605"/>
                  </a:cubicBezTo>
                  <a:cubicBezTo>
                    <a:pt x="304" y="1669"/>
                    <a:pt x="304" y="1669"/>
                    <a:pt x="304" y="1669"/>
                  </a:cubicBezTo>
                  <a:cubicBezTo>
                    <a:pt x="304" y="1669"/>
                    <a:pt x="304" y="1669"/>
                    <a:pt x="304" y="1669"/>
                  </a:cubicBezTo>
                  <a:close/>
                  <a:moveTo>
                    <a:pt x="1473" y="2038"/>
                  </a:moveTo>
                  <a:cubicBezTo>
                    <a:pt x="78" y="2038"/>
                    <a:pt x="78" y="2038"/>
                    <a:pt x="78" y="2038"/>
                  </a:cubicBezTo>
                  <a:cubicBezTo>
                    <a:pt x="78" y="256"/>
                    <a:pt x="78" y="256"/>
                    <a:pt x="78" y="256"/>
                  </a:cubicBezTo>
                  <a:cubicBezTo>
                    <a:pt x="248" y="256"/>
                    <a:pt x="248" y="256"/>
                    <a:pt x="248" y="256"/>
                  </a:cubicBezTo>
                  <a:cubicBezTo>
                    <a:pt x="262" y="220"/>
                    <a:pt x="283" y="185"/>
                    <a:pt x="312" y="156"/>
                  </a:cubicBezTo>
                  <a:cubicBezTo>
                    <a:pt x="0" y="156"/>
                    <a:pt x="0" y="156"/>
                    <a:pt x="0" y="156"/>
                  </a:cubicBezTo>
                  <a:cubicBezTo>
                    <a:pt x="0" y="2131"/>
                    <a:pt x="0" y="2131"/>
                    <a:pt x="0" y="2131"/>
                  </a:cubicBezTo>
                  <a:cubicBezTo>
                    <a:pt x="1551" y="2131"/>
                    <a:pt x="1551" y="2131"/>
                    <a:pt x="1551" y="2131"/>
                  </a:cubicBezTo>
                  <a:cubicBezTo>
                    <a:pt x="1551" y="1115"/>
                    <a:pt x="1551" y="1115"/>
                    <a:pt x="1551" y="1115"/>
                  </a:cubicBezTo>
                  <a:cubicBezTo>
                    <a:pt x="1473" y="1229"/>
                    <a:pt x="1473" y="1229"/>
                    <a:pt x="1473" y="1229"/>
                  </a:cubicBezTo>
                  <a:cubicBezTo>
                    <a:pt x="1473" y="2038"/>
                    <a:pt x="1473" y="2038"/>
                    <a:pt x="1473" y="2038"/>
                  </a:cubicBezTo>
                  <a:cubicBezTo>
                    <a:pt x="1473" y="2038"/>
                    <a:pt x="1473" y="2038"/>
                    <a:pt x="1473" y="2038"/>
                  </a:cubicBezTo>
                  <a:close/>
                  <a:moveTo>
                    <a:pt x="829" y="1129"/>
                  </a:moveTo>
                  <a:cubicBezTo>
                    <a:pt x="304" y="1129"/>
                    <a:pt x="304" y="1129"/>
                    <a:pt x="304" y="1129"/>
                  </a:cubicBezTo>
                  <a:cubicBezTo>
                    <a:pt x="304" y="1200"/>
                    <a:pt x="304" y="1200"/>
                    <a:pt x="304" y="1200"/>
                  </a:cubicBezTo>
                  <a:cubicBezTo>
                    <a:pt x="829" y="1200"/>
                    <a:pt x="829" y="1200"/>
                    <a:pt x="829" y="1200"/>
                  </a:cubicBezTo>
                  <a:cubicBezTo>
                    <a:pt x="829" y="1129"/>
                    <a:pt x="829" y="1129"/>
                    <a:pt x="829" y="1129"/>
                  </a:cubicBezTo>
                  <a:cubicBezTo>
                    <a:pt x="829" y="1129"/>
                    <a:pt x="829" y="1129"/>
                    <a:pt x="829" y="1129"/>
                  </a:cubicBezTo>
                  <a:close/>
                  <a:moveTo>
                    <a:pt x="290" y="256"/>
                  </a:moveTo>
                  <a:cubicBezTo>
                    <a:pt x="304" y="206"/>
                    <a:pt x="354" y="178"/>
                    <a:pt x="404" y="156"/>
                  </a:cubicBezTo>
                  <a:cubicBezTo>
                    <a:pt x="446" y="149"/>
                    <a:pt x="503" y="142"/>
                    <a:pt x="545" y="142"/>
                  </a:cubicBezTo>
                  <a:cubicBezTo>
                    <a:pt x="567" y="142"/>
                    <a:pt x="588" y="142"/>
                    <a:pt x="609" y="142"/>
                  </a:cubicBezTo>
                  <a:cubicBezTo>
                    <a:pt x="616" y="142"/>
                    <a:pt x="623" y="142"/>
                    <a:pt x="630" y="142"/>
                  </a:cubicBezTo>
                  <a:cubicBezTo>
                    <a:pt x="630" y="64"/>
                    <a:pt x="694" y="0"/>
                    <a:pt x="779" y="0"/>
                  </a:cubicBezTo>
                  <a:cubicBezTo>
                    <a:pt x="857" y="0"/>
                    <a:pt x="921" y="64"/>
                    <a:pt x="921" y="142"/>
                  </a:cubicBezTo>
                  <a:cubicBezTo>
                    <a:pt x="928" y="142"/>
                    <a:pt x="935" y="142"/>
                    <a:pt x="942" y="142"/>
                  </a:cubicBezTo>
                  <a:cubicBezTo>
                    <a:pt x="963" y="142"/>
                    <a:pt x="985" y="142"/>
                    <a:pt x="1006" y="142"/>
                  </a:cubicBezTo>
                  <a:cubicBezTo>
                    <a:pt x="1055" y="142"/>
                    <a:pt x="1105" y="149"/>
                    <a:pt x="1147" y="156"/>
                  </a:cubicBezTo>
                  <a:cubicBezTo>
                    <a:pt x="1204" y="178"/>
                    <a:pt x="1247" y="206"/>
                    <a:pt x="1261" y="256"/>
                  </a:cubicBezTo>
                  <a:cubicBezTo>
                    <a:pt x="1268" y="270"/>
                    <a:pt x="1268" y="291"/>
                    <a:pt x="1268" y="305"/>
                  </a:cubicBezTo>
                  <a:cubicBezTo>
                    <a:pt x="1027" y="305"/>
                    <a:pt x="524" y="305"/>
                    <a:pt x="283" y="305"/>
                  </a:cubicBezTo>
                  <a:cubicBezTo>
                    <a:pt x="283" y="291"/>
                    <a:pt x="290" y="270"/>
                    <a:pt x="290" y="256"/>
                  </a:cubicBezTo>
                  <a:close/>
                  <a:moveTo>
                    <a:pt x="701" y="142"/>
                  </a:moveTo>
                  <a:cubicBezTo>
                    <a:pt x="730" y="142"/>
                    <a:pt x="751" y="142"/>
                    <a:pt x="779" y="142"/>
                  </a:cubicBezTo>
                  <a:cubicBezTo>
                    <a:pt x="800" y="142"/>
                    <a:pt x="822" y="142"/>
                    <a:pt x="850" y="142"/>
                  </a:cubicBezTo>
                  <a:cubicBezTo>
                    <a:pt x="843" y="107"/>
                    <a:pt x="815" y="78"/>
                    <a:pt x="779" y="78"/>
                  </a:cubicBezTo>
                  <a:cubicBezTo>
                    <a:pt x="737" y="78"/>
                    <a:pt x="708" y="107"/>
                    <a:pt x="701" y="142"/>
                  </a:cubicBezTo>
                  <a:close/>
                  <a:moveTo>
                    <a:pt x="1346" y="1910"/>
                  </a:moveTo>
                  <a:cubicBezTo>
                    <a:pt x="205" y="1910"/>
                    <a:pt x="205" y="1910"/>
                    <a:pt x="205" y="1910"/>
                  </a:cubicBezTo>
                  <a:cubicBezTo>
                    <a:pt x="205" y="419"/>
                    <a:pt x="205" y="419"/>
                    <a:pt x="205" y="419"/>
                  </a:cubicBezTo>
                  <a:cubicBezTo>
                    <a:pt x="1346" y="419"/>
                    <a:pt x="1346" y="419"/>
                    <a:pt x="1346" y="419"/>
                  </a:cubicBezTo>
                  <a:cubicBezTo>
                    <a:pt x="1346" y="504"/>
                    <a:pt x="1346" y="504"/>
                    <a:pt x="1346" y="504"/>
                  </a:cubicBezTo>
                  <a:cubicBezTo>
                    <a:pt x="1417" y="405"/>
                    <a:pt x="1417" y="405"/>
                    <a:pt x="1417" y="405"/>
                  </a:cubicBezTo>
                  <a:cubicBezTo>
                    <a:pt x="1417" y="348"/>
                    <a:pt x="1417" y="348"/>
                    <a:pt x="1417" y="348"/>
                  </a:cubicBezTo>
                  <a:cubicBezTo>
                    <a:pt x="134" y="348"/>
                    <a:pt x="134" y="348"/>
                    <a:pt x="134" y="348"/>
                  </a:cubicBezTo>
                  <a:cubicBezTo>
                    <a:pt x="134" y="1974"/>
                    <a:pt x="134" y="1974"/>
                    <a:pt x="134" y="1974"/>
                  </a:cubicBezTo>
                  <a:cubicBezTo>
                    <a:pt x="1417" y="1974"/>
                    <a:pt x="1417" y="1974"/>
                    <a:pt x="1417" y="1974"/>
                  </a:cubicBezTo>
                  <a:cubicBezTo>
                    <a:pt x="1417" y="1314"/>
                    <a:pt x="1417" y="1314"/>
                    <a:pt x="1417" y="1314"/>
                  </a:cubicBezTo>
                  <a:cubicBezTo>
                    <a:pt x="1346" y="1413"/>
                    <a:pt x="1346" y="1413"/>
                    <a:pt x="1346" y="1413"/>
                  </a:cubicBezTo>
                  <a:cubicBezTo>
                    <a:pt x="1346" y="1910"/>
                    <a:pt x="1346" y="1910"/>
                    <a:pt x="1346" y="1910"/>
                  </a:cubicBezTo>
                  <a:cubicBezTo>
                    <a:pt x="1346" y="1910"/>
                    <a:pt x="1346" y="1910"/>
                    <a:pt x="1346" y="1910"/>
                  </a:cubicBezTo>
                  <a:close/>
                  <a:moveTo>
                    <a:pt x="1417" y="845"/>
                  </a:moveTo>
                  <a:cubicBezTo>
                    <a:pt x="1346" y="945"/>
                    <a:pt x="1346" y="945"/>
                    <a:pt x="1346" y="945"/>
                  </a:cubicBezTo>
                  <a:cubicBezTo>
                    <a:pt x="1346" y="980"/>
                    <a:pt x="1346" y="980"/>
                    <a:pt x="1346" y="980"/>
                  </a:cubicBezTo>
                  <a:cubicBezTo>
                    <a:pt x="1417" y="881"/>
                    <a:pt x="1417" y="881"/>
                    <a:pt x="1417" y="881"/>
                  </a:cubicBezTo>
                  <a:cubicBezTo>
                    <a:pt x="1417" y="845"/>
                    <a:pt x="1417" y="845"/>
                    <a:pt x="1417" y="845"/>
                  </a:cubicBezTo>
                  <a:cubicBezTo>
                    <a:pt x="1417" y="845"/>
                    <a:pt x="1417" y="845"/>
                    <a:pt x="1417" y="845"/>
                  </a:cubicBezTo>
                  <a:close/>
                  <a:moveTo>
                    <a:pt x="1523" y="249"/>
                  </a:moveTo>
                  <a:cubicBezTo>
                    <a:pt x="1551" y="249"/>
                    <a:pt x="1551" y="249"/>
                    <a:pt x="1551" y="249"/>
                  </a:cubicBezTo>
                  <a:cubicBezTo>
                    <a:pt x="1551" y="156"/>
                    <a:pt x="1551" y="156"/>
                    <a:pt x="1551" y="156"/>
                  </a:cubicBezTo>
                  <a:cubicBezTo>
                    <a:pt x="1240" y="156"/>
                    <a:pt x="1240" y="156"/>
                    <a:pt x="1240" y="156"/>
                  </a:cubicBezTo>
                  <a:cubicBezTo>
                    <a:pt x="1268" y="185"/>
                    <a:pt x="1289" y="213"/>
                    <a:pt x="1303" y="256"/>
                  </a:cubicBezTo>
                  <a:cubicBezTo>
                    <a:pt x="1473" y="256"/>
                    <a:pt x="1473" y="256"/>
                    <a:pt x="1473" y="256"/>
                  </a:cubicBezTo>
                  <a:cubicBezTo>
                    <a:pt x="1473" y="312"/>
                    <a:pt x="1473" y="312"/>
                    <a:pt x="1473" y="312"/>
                  </a:cubicBezTo>
                  <a:cubicBezTo>
                    <a:pt x="1523" y="249"/>
                    <a:pt x="1523" y="249"/>
                    <a:pt x="1523" y="249"/>
                  </a:cubicBezTo>
                  <a:cubicBezTo>
                    <a:pt x="1523" y="249"/>
                    <a:pt x="1523" y="249"/>
                    <a:pt x="1523" y="249"/>
                  </a:cubicBezTo>
                  <a:close/>
                  <a:moveTo>
                    <a:pt x="1743" y="291"/>
                  </a:moveTo>
                  <a:cubicBezTo>
                    <a:pt x="1289" y="952"/>
                    <a:pt x="1289" y="952"/>
                    <a:pt x="1289" y="952"/>
                  </a:cubicBezTo>
                  <a:cubicBezTo>
                    <a:pt x="1098" y="952"/>
                    <a:pt x="1098" y="952"/>
                    <a:pt x="1098" y="952"/>
                  </a:cubicBezTo>
                  <a:cubicBezTo>
                    <a:pt x="914" y="653"/>
                    <a:pt x="914" y="653"/>
                    <a:pt x="914" y="653"/>
                  </a:cubicBezTo>
                  <a:cubicBezTo>
                    <a:pt x="1105" y="653"/>
                    <a:pt x="1105" y="653"/>
                    <a:pt x="1105" y="653"/>
                  </a:cubicBezTo>
                  <a:cubicBezTo>
                    <a:pt x="1197" y="803"/>
                    <a:pt x="1197" y="803"/>
                    <a:pt x="1197" y="803"/>
                  </a:cubicBezTo>
                  <a:cubicBezTo>
                    <a:pt x="1544" y="291"/>
                    <a:pt x="1544" y="291"/>
                    <a:pt x="1544" y="291"/>
                  </a:cubicBezTo>
                  <a:cubicBezTo>
                    <a:pt x="1743" y="291"/>
                    <a:pt x="1743" y="291"/>
                    <a:pt x="1743" y="291"/>
                  </a:cubicBezTo>
                  <a:cubicBezTo>
                    <a:pt x="1743" y="291"/>
                    <a:pt x="1743" y="291"/>
                    <a:pt x="1743" y="291"/>
                  </a:cubicBezTo>
                  <a:close/>
                  <a:moveTo>
                    <a:pt x="1743" y="760"/>
                  </a:moveTo>
                  <a:cubicBezTo>
                    <a:pt x="1289" y="1427"/>
                    <a:pt x="1289" y="1427"/>
                    <a:pt x="1289" y="1427"/>
                  </a:cubicBezTo>
                  <a:cubicBezTo>
                    <a:pt x="1098" y="1427"/>
                    <a:pt x="1098" y="1427"/>
                    <a:pt x="1098" y="1427"/>
                  </a:cubicBezTo>
                  <a:cubicBezTo>
                    <a:pt x="914" y="1129"/>
                    <a:pt x="914" y="1129"/>
                    <a:pt x="914" y="1129"/>
                  </a:cubicBezTo>
                  <a:cubicBezTo>
                    <a:pt x="1105" y="1129"/>
                    <a:pt x="1105" y="1129"/>
                    <a:pt x="1105" y="1129"/>
                  </a:cubicBezTo>
                  <a:cubicBezTo>
                    <a:pt x="1197" y="1278"/>
                    <a:pt x="1197" y="1278"/>
                    <a:pt x="1197" y="1278"/>
                  </a:cubicBezTo>
                  <a:cubicBezTo>
                    <a:pt x="1544" y="760"/>
                    <a:pt x="1544" y="760"/>
                    <a:pt x="1544" y="760"/>
                  </a:cubicBezTo>
                  <a:cubicBezTo>
                    <a:pt x="1743" y="760"/>
                    <a:pt x="1743" y="760"/>
                    <a:pt x="1743" y="760"/>
                  </a:cubicBezTo>
                  <a:cubicBezTo>
                    <a:pt x="1743" y="760"/>
                    <a:pt x="1743" y="760"/>
                    <a:pt x="1743" y="760"/>
                  </a:cubicBezTo>
                  <a:close/>
                </a:path>
              </a:pathLst>
            </a:custGeom>
            <a:solidFill>
              <a:schemeClr val="accent1"/>
            </a:solidFill>
            <a:ln>
              <a:noFill/>
            </a:ln>
          </p:spPr>
          <p:txBody>
            <a:bodyPr vert="horz" wrap="square" lIns="89619" tIns="44810" rIns="89619" bIns="44810" numCol="1" anchor="t" anchorCtr="0" compatLnSpc="1">
              <a:prstTxWarp prst="textNoShape">
                <a:avLst/>
              </a:prstTxWarp>
            </a:bodyPr>
            <a:lstStyle/>
            <a:p>
              <a:pPr defTabSz="913946"/>
              <a:endParaRPr lang="en-US">
                <a:solidFill>
                  <a:srgbClr val="002060"/>
                </a:solidFill>
              </a:endParaRPr>
            </a:p>
          </p:txBody>
        </p:sp>
      </p:grpSp>
      <p:grpSp>
        <p:nvGrpSpPr>
          <p:cNvPr id="51" name="Group 50"/>
          <p:cNvGrpSpPr/>
          <p:nvPr/>
        </p:nvGrpSpPr>
        <p:grpSpPr>
          <a:xfrm>
            <a:off x="3511454" y="1777577"/>
            <a:ext cx="855799" cy="855799"/>
            <a:chOff x="3581177" y="1812284"/>
            <a:chExt cx="873187" cy="873187"/>
          </a:xfrm>
        </p:grpSpPr>
        <p:sp>
          <p:nvSpPr>
            <p:cNvPr id="45" name="Oval 44"/>
            <p:cNvSpPr/>
            <p:nvPr/>
          </p:nvSpPr>
          <p:spPr bwMode="auto">
            <a:xfrm>
              <a:off x="3581177" y="1812284"/>
              <a:ext cx="873187" cy="873187"/>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rgbClr val="002060"/>
                </a:solidFill>
              </a:endParaRPr>
            </a:p>
          </p:txBody>
        </p:sp>
        <p:sp>
          <p:nvSpPr>
            <p:cNvPr id="38" name="Freeform 13"/>
            <p:cNvSpPr>
              <a:spLocks noEditPoints="1"/>
            </p:cNvSpPr>
            <p:nvPr/>
          </p:nvSpPr>
          <p:spPr bwMode="auto">
            <a:xfrm>
              <a:off x="3766539" y="1998434"/>
              <a:ext cx="502462" cy="500887"/>
            </a:xfrm>
            <a:custGeom>
              <a:avLst/>
              <a:gdLst>
                <a:gd name="T0" fmla="*/ 1900 w 1970"/>
                <a:gd name="T1" fmla="*/ 851 h 1965"/>
                <a:gd name="T2" fmla="*/ 1900 w 1970"/>
                <a:gd name="T3" fmla="*/ 1108 h 1965"/>
                <a:gd name="T4" fmla="*/ 1117 w 1970"/>
                <a:gd name="T5" fmla="*/ 1894 h 1965"/>
                <a:gd name="T6" fmla="*/ 859 w 1970"/>
                <a:gd name="T7" fmla="*/ 1894 h 1965"/>
                <a:gd name="T8" fmla="*/ 71 w 1970"/>
                <a:gd name="T9" fmla="*/ 1108 h 1965"/>
                <a:gd name="T10" fmla="*/ 71 w 1970"/>
                <a:gd name="T11" fmla="*/ 851 h 1965"/>
                <a:gd name="T12" fmla="*/ 859 w 1970"/>
                <a:gd name="T13" fmla="*/ 70 h 1965"/>
                <a:gd name="T14" fmla="*/ 1117 w 1970"/>
                <a:gd name="T15" fmla="*/ 70 h 1965"/>
                <a:gd name="T16" fmla="*/ 1900 w 1970"/>
                <a:gd name="T17" fmla="*/ 851 h 1965"/>
                <a:gd name="T18" fmla="*/ 1900 w 1970"/>
                <a:gd name="T19" fmla="*/ 851 h 1965"/>
                <a:gd name="T20" fmla="*/ 1041 w 1970"/>
                <a:gd name="T21" fmla="*/ 947 h 1965"/>
                <a:gd name="T22" fmla="*/ 1086 w 1970"/>
                <a:gd name="T23" fmla="*/ 781 h 1965"/>
                <a:gd name="T24" fmla="*/ 1122 w 1970"/>
                <a:gd name="T25" fmla="*/ 559 h 1965"/>
                <a:gd name="T26" fmla="*/ 1086 w 1970"/>
                <a:gd name="T27" fmla="*/ 463 h 1965"/>
                <a:gd name="T28" fmla="*/ 990 w 1970"/>
                <a:gd name="T29" fmla="*/ 428 h 1965"/>
                <a:gd name="T30" fmla="*/ 899 w 1970"/>
                <a:gd name="T31" fmla="*/ 463 h 1965"/>
                <a:gd name="T32" fmla="*/ 864 w 1970"/>
                <a:gd name="T33" fmla="*/ 559 h 1965"/>
                <a:gd name="T34" fmla="*/ 899 w 1970"/>
                <a:gd name="T35" fmla="*/ 781 h 1965"/>
                <a:gd name="T36" fmla="*/ 940 w 1970"/>
                <a:gd name="T37" fmla="*/ 947 h 1965"/>
                <a:gd name="T38" fmla="*/ 975 w 1970"/>
                <a:gd name="T39" fmla="*/ 1164 h 1965"/>
                <a:gd name="T40" fmla="*/ 1011 w 1970"/>
                <a:gd name="T41" fmla="*/ 1164 h 1965"/>
                <a:gd name="T42" fmla="*/ 1041 w 1970"/>
                <a:gd name="T43" fmla="*/ 947 h 1965"/>
                <a:gd name="T44" fmla="*/ 904 w 1970"/>
                <a:gd name="T45" fmla="*/ 1315 h 1965"/>
                <a:gd name="T46" fmla="*/ 869 w 1970"/>
                <a:gd name="T47" fmla="*/ 1405 h 1965"/>
                <a:gd name="T48" fmla="*/ 904 w 1970"/>
                <a:gd name="T49" fmla="*/ 1496 h 1965"/>
                <a:gd name="T50" fmla="*/ 995 w 1970"/>
                <a:gd name="T51" fmla="*/ 1531 h 1965"/>
                <a:gd name="T52" fmla="*/ 1086 w 1970"/>
                <a:gd name="T53" fmla="*/ 1496 h 1965"/>
                <a:gd name="T54" fmla="*/ 1122 w 1970"/>
                <a:gd name="T55" fmla="*/ 1405 h 1965"/>
                <a:gd name="T56" fmla="*/ 1086 w 1970"/>
                <a:gd name="T57" fmla="*/ 1315 h 1965"/>
                <a:gd name="T58" fmla="*/ 995 w 1970"/>
                <a:gd name="T59" fmla="*/ 1280 h 1965"/>
                <a:gd name="T60" fmla="*/ 904 w 1970"/>
                <a:gd name="T61" fmla="*/ 1315 h 1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70" h="1965">
                  <a:moveTo>
                    <a:pt x="1900" y="851"/>
                  </a:moveTo>
                  <a:cubicBezTo>
                    <a:pt x="1970" y="922"/>
                    <a:pt x="1970" y="1038"/>
                    <a:pt x="1900" y="1108"/>
                  </a:cubicBezTo>
                  <a:cubicBezTo>
                    <a:pt x="1117" y="1894"/>
                    <a:pt x="1117" y="1894"/>
                    <a:pt x="1117" y="1894"/>
                  </a:cubicBezTo>
                  <a:cubicBezTo>
                    <a:pt x="1046" y="1965"/>
                    <a:pt x="930" y="1965"/>
                    <a:pt x="859" y="1894"/>
                  </a:cubicBezTo>
                  <a:cubicBezTo>
                    <a:pt x="71" y="1108"/>
                    <a:pt x="71" y="1108"/>
                    <a:pt x="71" y="1108"/>
                  </a:cubicBezTo>
                  <a:cubicBezTo>
                    <a:pt x="0" y="1038"/>
                    <a:pt x="0" y="922"/>
                    <a:pt x="71" y="851"/>
                  </a:cubicBezTo>
                  <a:cubicBezTo>
                    <a:pt x="859" y="70"/>
                    <a:pt x="859" y="70"/>
                    <a:pt x="859" y="70"/>
                  </a:cubicBezTo>
                  <a:cubicBezTo>
                    <a:pt x="930" y="0"/>
                    <a:pt x="1046" y="0"/>
                    <a:pt x="1117" y="70"/>
                  </a:cubicBezTo>
                  <a:cubicBezTo>
                    <a:pt x="1900" y="851"/>
                    <a:pt x="1900" y="851"/>
                    <a:pt x="1900" y="851"/>
                  </a:cubicBezTo>
                  <a:cubicBezTo>
                    <a:pt x="1900" y="851"/>
                    <a:pt x="1900" y="851"/>
                    <a:pt x="1900" y="851"/>
                  </a:cubicBezTo>
                  <a:close/>
                  <a:moveTo>
                    <a:pt x="1041" y="947"/>
                  </a:moveTo>
                  <a:cubicBezTo>
                    <a:pt x="1086" y="781"/>
                    <a:pt x="1086" y="781"/>
                    <a:pt x="1086" y="781"/>
                  </a:cubicBezTo>
                  <a:cubicBezTo>
                    <a:pt x="1112" y="670"/>
                    <a:pt x="1122" y="599"/>
                    <a:pt x="1122" y="559"/>
                  </a:cubicBezTo>
                  <a:cubicBezTo>
                    <a:pt x="1122" y="519"/>
                    <a:pt x="1112" y="489"/>
                    <a:pt x="1086" y="463"/>
                  </a:cubicBezTo>
                  <a:cubicBezTo>
                    <a:pt x="1061" y="438"/>
                    <a:pt x="1031" y="428"/>
                    <a:pt x="990" y="428"/>
                  </a:cubicBezTo>
                  <a:cubicBezTo>
                    <a:pt x="955" y="428"/>
                    <a:pt x="920" y="438"/>
                    <a:pt x="899" y="463"/>
                  </a:cubicBezTo>
                  <a:cubicBezTo>
                    <a:pt x="874" y="489"/>
                    <a:pt x="864" y="519"/>
                    <a:pt x="864" y="559"/>
                  </a:cubicBezTo>
                  <a:cubicBezTo>
                    <a:pt x="864" y="604"/>
                    <a:pt x="874" y="680"/>
                    <a:pt x="899" y="781"/>
                  </a:cubicBezTo>
                  <a:cubicBezTo>
                    <a:pt x="940" y="947"/>
                    <a:pt x="940" y="947"/>
                    <a:pt x="940" y="947"/>
                  </a:cubicBezTo>
                  <a:cubicBezTo>
                    <a:pt x="960" y="1033"/>
                    <a:pt x="970" y="1103"/>
                    <a:pt x="975" y="1164"/>
                  </a:cubicBezTo>
                  <a:cubicBezTo>
                    <a:pt x="1011" y="1164"/>
                    <a:pt x="1011" y="1164"/>
                    <a:pt x="1011" y="1164"/>
                  </a:cubicBezTo>
                  <a:cubicBezTo>
                    <a:pt x="1016" y="1083"/>
                    <a:pt x="1026" y="1007"/>
                    <a:pt x="1041" y="947"/>
                  </a:cubicBezTo>
                  <a:close/>
                  <a:moveTo>
                    <a:pt x="904" y="1315"/>
                  </a:moveTo>
                  <a:cubicBezTo>
                    <a:pt x="879" y="1340"/>
                    <a:pt x="869" y="1370"/>
                    <a:pt x="869" y="1405"/>
                  </a:cubicBezTo>
                  <a:cubicBezTo>
                    <a:pt x="869" y="1441"/>
                    <a:pt x="879" y="1471"/>
                    <a:pt x="904" y="1496"/>
                  </a:cubicBezTo>
                  <a:cubicBezTo>
                    <a:pt x="930" y="1521"/>
                    <a:pt x="960" y="1531"/>
                    <a:pt x="995" y="1531"/>
                  </a:cubicBezTo>
                  <a:cubicBezTo>
                    <a:pt x="1031" y="1531"/>
                    <a:pt x="1061" y="1521"/>
                    <a:pt x="1086" y="1496"/>
                  </a:cubicBezTo>
                  <a:cubicBezTo>
                    <a:pt x="1107" y="1471"/>
                    <a:pt x="1122" y="1441"/>
                    <a:pt x="1122" y="1405"/>
                  </a:cubicBezTo>
                  <a:cubicBezTo>
                    <a:pt x="1122" y="1370"/>
                    <a:pt x="1107" y="1340"/>
                    <a:pt x="1086" y="1315"/>
                  </a:cubicBezTo>
                  <a:cubicBezTo>
                    <a:pt x="1061" y="1290"/>
                    <a:pt x="1031" y="1280"/>
                    <a:pt x="995" y="1280"/>
                  </a:cubicBezTo>
                  <a:cubicBezTo>
                    <a:pt x="960" y="1280"/>
                    <a:pt x="930" y="1290"/>
                    <a:pt x="904" y="1315"/>
                  </a:cubicBezTo>
                  <a:close/>
                </a:path>
              </a:pathLst>
            </a:custGeom>
            <a:solidFill>
              <a:schemeClr val="accent1"/>
            </a:solidFill>
            <a:ln>
              <a:noFill/>
            </a:ln>
          </p:spPr>
          <p:txBody>
            <a:bodyPr vert="horz" wrap="square" lIns="89619" tIns="44810" rIns="89619" bIns="44810" numCol="1" anchor="t" anchorCtr="0" compatLnSpc="1">
              <a:prstTxWarp prst="textNoShape">
                <a:avLst/>
              </a:prstTxWarp>
            </a:bodyPr>
            <a:lstStyle/>
            <a:p>
              <a:pPr defTabSz="913946"/>
              <a:endParaRPr lang="en-US">
                <a:solidFill>
                  <a:srgbClr val="002060"/>
                </a:solidFill>
              </a:endParaRPr>
            </a:p>
          </p:txBody>
        </p:sp>
      </p:grpSp>
      <p:grpSp>
        <p:nvGrpSpPr>
          <p:cNvPr id="53" name="Group 52"/>
          <p:cNvGrpSpPr/>
          <p:nvPr/>
        </p:nvGrpSpPr>
        <p:grpSpPr>
          <a:xfrm>
            <a:off x="3511454" y="4052409"/>
            <a:ext cx="855799" cy="855799"/>
            <a:chOff x="3581177" y="4133336"/>
            <a:chExt cx="873187" cy="873187"/>
          </a:xfrm>
        </p:grpSpPr>
        <p:sp>
          <p:nvSpPr>
            <p:cNvPr id="47" name="Oval 46"/>
            <p:cNvSpPr/>
            <p:nvPr/>
          </p:nvSpPr>
          <p:spPr bwMode="auto">
            <a:xfrm>
              <a:off x="3581177" y="4133336"/>
              <a:ext cx="873187" cy="873187"/>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rgbClr val="002060"/>
                </a:solidFill>
              </a:endParaRPr>
            </a:p>
          </p:txBody>
        </p:sp>
        <p:sp>
          <p:nvSpPr>
            <p:cNvPr id="35" name="Freeform 9"/>
            <p:cNvSpPr>
              <a:spLocks noEditPoints="1"/>
            </p:cNvSpPr>
            <p:nvPr/>
          </p:nvSpPr>
          <p:spPr bwMode="auto">
            <a:xfrm>
              <a:off x="3818471" y="4315136"/>
              <a:ext cx="398598" cy="509587"/>
            </a:xfrm>
            <a:custGeom>
              <a:avLst/>
              <a:gdLst>
                <a:gd name="T0" fmla="*/ 330 w 826"/>
                <a:gd name="T1" fmla="*/ 0 h 1056"/>
                <a:gd name="T2" fmla="*/ 123 w 826"/>
                <a:gd name="T3" fmla="*/ 177 h 1056"/>
                <a:gd name="T4" fmla="*/ 123 w 826"/>
                <a:gd name="T5" fmla="*/ 259 h 1056"/>
                <a:gd name="T6" fmla="*/ 0 w 826"/>
                <a:gd name="T7" fmla="*/ 363 h 1056"/>
                <a:gd name="T8" fmla="*/ 0 w 826"/>
                <a:gd name="T9" fmla="*/ 1056 h 1056"/>
                <a:gd name="T10" fmla="*/ 703 w 826"/>
                <a:gd name="T11" fmla="*/ 1056 h 1056"/>
                <a:gd name="T12" fmla="*/ 703 w 826"/>
                <a:gd name="T13" fmla="*/ 871 h 1056"/>
                <a:gd name="T14" fmla="*/ 826 w 826"/>
                <a:gd name="T15" fmla="*/ 871 h 1056"/>
                <a:gd name="T16" fmla="*/ 826 w 826"/>
                <a:gd name="T17" fmla="*/ 0 h 1056"/>
                <a:gd name="T18" fmla="*/ 330 w 826"/>
                <a:gd name="T19" fmla="*/ 0 h 1056"/>
                <a:gd name="T20" fmla="*/ 330 w 826"/>
                <a:gd name="T21" fmla="*/ 0 h 1056"/>
                <a:gd name="T22" fmla="*/ 330 w 826"/>
                <a:gd name="T23" fmla="*/ 0 h 1056"/>
                <a:gd name="T24" fmla="*/ 628 w 826"/>
                <a:gd name="T25" fmla="*/ 994 h 1056"/>
                <a:gd name="T26" fmla="*/ 74 w 826"/>
                <a:gd name="T27" fmla="*/ 994 h 1056"/>
                <a:gd name="T28" fmla="*/ 74 w 826"/>
                <a:gd name="T29" fmla="*/ 431 h 1056"/>
                <a:gd name="T30" fmla="*/ 123 w 826"/>
                <a:gd name="T31" fmla="*/ 431 h 1056"/>
                <a:gd name="T32" fmla="*/ 123 w 826"/>
                <a:gd name="T33" fmla="*/ 871 h 1056"/>
                <a:gd name="T34" fmla="*/ 628 w 826"/>
                <a:gd name="T35" fmla="*/ 871 h 1056"/>
                <a:gd name="T36" fmla="*/ 628 w 826"/>
                <a:gd name="T37" fmla="*/ 994 h 1056"/>
                <a:gd name="T38" fmla="*/ 628 w 826"/>
                <a:gd name="T39" fmla="*/ 994 h 1056"/>
                <a:gd name="T40" fmla="*/ 628 w 826"/>
                <a:gd name="T41" fmla="*/ 994 h 1056"/>
                <a:gd name="T42" fmla="*/ 751 w 826"/>
                <a:gd name="T43" fmla="*/ 809 h 1056"/>
                <a:gd name="T44" fmla="*/ 197 w 826"/>
                <a:gd name="T45" fmla="*/ 809 h 1056"/>
                <a:gd name="T46" fmla="*/ 197 w 826"/>
                <a:gd name="T47" fmla="*/ 245 h 1056"/>
                <a:gd name="T48" fmla="*/ 410 w 826"/>
                <a:gd name="T49" fmla="*/ 245 h 1056"/>
                <a:gd name="T50" fmla="*/ 410 w 826"/>
                <a:gd name="T51" fmla="*/ 64 h 1056"/>
                <a:gd name="T52" fmla="*/ 751 w 826"/>
                <a:gd name="T53" fmla="*/ 64 h 1056"/>
                <a:gd name="T54" fmla="*/ 751 w 826"/>
                <a:gd name="T55" fmla="*/ 809 h 1056"/>
                <a:gd name="T56" fmla="*/ 751 w 826"/>
                <a:gd name="T57" fmla="*/ 809 h 1056"/>
                <a:gd name="T58" fmla="*/ 751 w 826"/>
                <a:gd name="T59" fmla="*/ 80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26" h="1056">
                  <a:moveTo>
                    <a:pt x="330" y="0"/>
                  </a:moveTo>
                  <a:lnTo>
                    <a:pt x="123" y="177"/>
                  </a:lnTo>
                  <a:lnTo>
                    <a:pt x="123" y="259"/>
                  </a:lnTo>
                  <a:lnTo>
                    <a:pt x="0" y="363"/>
                  </a:lnTo>
                  <a:lnTo>
                    <a:pt x="0" y="1056"/>
                  </a:lnTo>
                  <a:lnTo>
                    <a:pt x="703" y="1056"/>
                  </a:lnTo>
                  <a:lnTo>
                    <a:pt x="703" y="871"/>
                  </a:lnTo>
                  <a:lnTo>
                    <a:pt x="826" y="871"/>
                  </a:lnTo>
                  <a:lnTo>
                    <a:pt x="826" y="0"/>
                  </a:lnTo>
                  <a:lnTo>
                    <a:pt x="330" y="0"/>
                  </a:lnTo>
                  <a:lnTo>
                    <a:pt x="330" y="0"/>
                  </a:lnTo>
                  <a:lnTo>
                    <a:pt x="330" y="0"/>
                  </a:lnTo>
                  <a:close/>
                  <a:moveTo>
                    <a:pt x="628" y="994"/>
                  </a:moveTo>
                  <a:lnTo>
                    <a:pt x="74" y="994"/>
                  </a:lnTo>
                  <a:lnTo>
                    <a:pt x="74" y="431"/>
                  </a:lnTo>
                  <a:lnTo>
                    <a:pt x="123" y="431"/>
                  </a:lnTo>
                  <a:lnTo>
                    <a:pt x="123" y="871"/>
                  </a:lnTo>
                  <a:lnTo>
                    <a:pt x="628" y="871"/>
                  </a:lnTo>
                  <a:lnTo>
                    <a:pt x="628" y="994"/>
                  </a:lnTo>
                  <a:lnTo>
                    <a:pt x="628" y="994"/>
                  </a:lnTo>
                  <a:lnTo>
                    <a:pt x="628" y="994"/>
                  </a:lnTo>
                  <a:close/>
                  <a:moveTo>
                    <a:pt x="751" y="809"/>
                  </a:moveTo>
                  <a:lnTo>
                    <a:pt x="197" y="809"/>
                  </a:lnTo>
                  <a:lnTo>
                    <a:pt x="197" y="245"/>
                  </a:lnTo>
                  <a:lnTo>
                    <a:pt x="410" y="245"/>
                  </a:lnTo>
                  <a:lnTo>
                    <a:pt x="410" y="64"/>
                  </a:lnTo>
                  <a:lnTo>
                    <a:pt x="751" y="64"/>
                  </a:lnTo>
                  <a:lnTo>
                    <a:pt x="751" y="809"/>
                  </a:lnTo>
                  <a:lnTo>
                    <a:pt x="751" y="809"/>
                  </a:lnTo>
                  <a:lnTo>
                    <a:pt x="751" y="809"/>
                  </a:lnTo>
                  <a:close/>
                </a:path>
              </a:pathLst>
            </a:custGeom>
            <a:solidFill>
              <a:schemeClr val="accent1"/>
            </a:solidFill>
            <a:ln>
              <a:noFill/>
            </a:ln>
          </p:spPr>
          <p:txBody>
            <a:bodyPr vert="horz" wrap="square" lIns="89619" tIns="44810" rIns="89619" bIns="44810" numCol="1" anchor="t" anchorCtr="0" compatLnSpc="1">
              <a:prstTxWarp prst="textNoShape">
                <a:avLst/>
              </a:prstTxWarp>
            </a:bodyPr>
            <a:lstStyle/>
            <a:p>
              <a:pPr defTabSz="913946"/>
              <a:endParaRPr lang="en-US">
                <a:solidFill>
                  <a:srgbClr val="002060"/>
                </a:solidFill>
              </a:endParaRPr>
            </a:p>
          </p:txBody>
        </p:sp>
      </p:grpSp>
      <p:grpSp>
        <p:nvGrpSpPr>
          <p:cNvPr id="52" name="Group 51"/>
          <p:cNvGrpSpPr/>
          <p:nvPr/>
        </p:nvGrpSpPr>
        <p:grpSpPr>
          <a:xfrm>
            <a:off x="3511454" y="2914993"/>
            <a:ext cx="855799" cy="855799"/>
            <a:chOff x="3581177" y="2972810"/>
            <a:chExt cx="873187" cy="873187"/>
          </a:xfrm>
        </p:grpSpPr>
        <p:sp>
          <p:nvSpPr>
            <p:cNvPr id="46" name="Oval 45"/>
            <p:cNvSpPr/>
            <p:nvPr/>
          </p:nvSpPr>
          <p:spPr bwMode="auto">
            <a:xfrm>
              <a:off x="3581177" y="2972810"/>
              <a:ext cx="873187" cy="873187"/>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solidFill>
                  <a:srgbClr val="002060"/>
                </a:solidFill>
              </a:endParaRPr>
            </a:p>
          </p:txBody>
        </p:sp>
        <p:sp>
          <p:nvSpPr>
            <p:cNvPr id="32" name="Freeform 5"/>
            <p:cNvSpPr>
              <a:spLocks noEditPoints="1"/>
            </p:cNvSpPr>
            <p:nvPr/>
          </p:nvSpPr>
          <p:spPr bwMode="auto">
            <a:xfrm>
              <a:off x="3856723" y="3168897"/>
              <a:ext cx="372894" cy="531812"/>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accent1"/>
            </a:solidFill>
            <a:ln>
              <a:noFill/>
            </a:ln>
          </p:spPr>
          <p:txBody>
            <a:bodyPr vert="horz" wrap="square" lIns="89619" tIns="44810" rIns="89619" bIns="44810" numCol="1" anchor="t" anchorCtr="0" compatLnSpc="1">
              <a:prstTxWarp prst="textNoShape">
                <a:avLst/>
              </a:prstTxWarp>
            </a:bodyPr>
            <a:lstStyle/>
            <a:p>
              <a:pPr defTabSz="913946"/>
              <a:endParaRPr lang="en-US">
                <a:solidFill>
                  <a:srgbClr val="002060"/>
                </a:solidFill>
              </a:endParaRPr>
            </a:p>
          </p:txBody>
        </p:sp>
      </p:grpSp>
      <p:sp>
        <p:nvSpPr>
          <p:cNvPr id="10" name="Rectangle 9"/>
          <p:cNvSpPr/>
          <p:nvPr/>
        </p:nvSpPr>
        <p:spPr bwMode="auto">
          <a:xfrm>
            <a:off x="261171" y="1381"/>
            <a:ext cx="2581031" cy="6489609"/>
          </a:xfrm>
          <a:prstGeom prst="rect">
            <a:avLst/>
          </a:prstGeom>
          <a:ln w="50800" cap="sq">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a:endParaRPr lang="en-US" sz="3136" dirty="0">
              <a:gradFill>
                <a:gsLst>
                  <a:gs pos="0">
                    <a:srgbClr val="FFFFFF"/>
                  </a:gs>
                  <a:gs pos="100000">
                    <a:srgbClr val="FFFFFF"/>
                  </a:gs>
                </a:gsLst>
                <a:lin ang="5400000" scaled="0"/>
              </a:gradFill>
              <a:latin typeface="Segoe UI Light"/>
            </a:endParaRPr>
          </a:p>
        </p:txBody>
      </p:sp>
      <p:sp>
        <p:nvSpPr>
          <p:cNvPr id="11" name="Rectangle 10"/>
          <p:cNvSpPr/>
          <p:nvPr/>
        </p:nvSpPr>
        <p:spPr>
          <a:xfrm>
            <a:off x="639518" y="3438527"/>
            <a:ext cx="1824340" cy="693790"/>
          </a:xfrm>
          <a:prstGeom prst="rect">
            <a:avLst/>
          </a:prstGeom>
        </p:spPr>
        <p:txBody>
          <a:bodyPr wrap="none">
            <a:spAutoFit/>
          </a:bodyPr>
          <a:lstStyle/>
          <a:p>
            <a:pPr algn="ctr" defTabSz="932103"/>
            <a:r>
              <a:rPr lang="en-US" sz="3920" dirty="0">
                <a:gradFill>
                  <a:gsLst>
                    <a:gs pos="0">
                      <a:srgbClr val="FFFFFF"/>
                    </a:gs>
                    <a:gs pos="100000">
                      <a:srgbClr val="FFFFFF"/>
                    </a:gs>
                  </a:gsLst>
                  <a:lin ang="5400000" scaled="0"/>
                </a:gradFill>
                <a:latin typeface="Segoe UI Light"/>
              </a:rPr>
              <a:t>Security</a:t>
            </a:r>
          </a:p>
        </p:txBody>
      </p:sp>
      <p:sp useBgFill="1">
        <p:nvSpPr>
          <p:cNvPr id="19" name="Rectangle 18"/>
          <p:cNvSpPr/>
          <p:nvPr/>
        </p:nvSpPr>
        <p:spPr bwMode="auto">
          <a:xfrm>
            <a:off x="1589" y="1380"/>
            <a:ext cx="269169" cy="685524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gradFill>
                <a:gsLst>
                  <a:gs pos="1250">
                    <a:srgbClr val="EFEFEF"/>
                  </a:gs>
                  <a:gs pos="10417">
                    <a:srgbClr val="EFEFEF"/>
                  </a:gs>
                </a:gsLst>
                <a:lin ang="5400000" scaled="0"/>
              </a:gradFill>
            </a:endParaRPr>
          </a:p>
        </p:txBody>
      </p:sp>
      <p:grpSp>
        <p:nvGrpSpPr>
          <p:cNvPr id="2" name="Group 1"/>
          <p:cNvGrpSpPr/>
          <p:nvPr/>
        </p:nvGrpSpPr>
        <p:grpSpPr>
          <a:xfrm>
            <a:off x="521269" y="4187464"/>
            <a:ext cx="2060837" cy="2047471"/>
            <a:chOff x="530238" y="4271135"/>
            <a:chExt cx="2102709" cy="2089071"/>
          </a:xfrm>
        </p:grpSpPr>
        <p:sp>
          <p:nvSpPr>
            <p:cNvPr id="28" name="Oval 27"/>
            <p:cNvSpPr/>
            <p:nvPr/>
          </p:nvSpPr>
          <p:spPr bwMode="auto">
            <a:xfrm>
              <a:off x="530238" y="4271135"/>
              <a:ext cx="2102709" cy="2089071"/>
            </a:xfrm>
            <a:prstGeom prst="ellipse">
              <a:avLst/>
            </a:prstGeom>
            <a:solidFill>
              <a:srgbClr val="FFFFFF"/>
            </a:solidFill>
            <a:ln w="476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ln w="15875">
                  <a:noFill/>
                </a:ln>
                <a:gradFill>
                  <a:gsLst>
                    <a:gs pos="1250">
                      <a:srgbClr val="EFEFEF"/>
                    </a:gs>
                    <a:gs pos="10417">
                      <a:srgbClr val="EFEFEF"/>
                    </a:gs>
                  </a:gsLst>
                  <a:lin ang="5400000" scaled="0"/>
                </a:gradFill>
              </a:endParaRPr>
            </a:p>
          </p:txBody>
        </p:sp>
        <p:sp>
          <p:nvSpPr>
            <p:cNvPr id="9" name="Freeform 26"/>
            <p:cNvSpPr>
              <a:spLocks noEditPoints="1"/>
            </p:cNvSpPr>
            <p:nvPr/>
          </p:nvSpPr>
          <p:spPr bwMode="auto">
            <a:xfrm>
              <a:off x="1189584" y="4742394"/>
              <a:ext cx="784064" cy="1161345"/>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a:gradFill>
                  <a:gsLst>
                    <a:gs pos="1250">
                      <a:srgbClr val="EFEFEF"/>
                    </a:gs>
                    <a:gs pos="10417">
                      <a:srgbClr val="EFEFEF"/>
                    </a:gs>
                  </a:gsLst>
                  <a:lin ang="5400000" scaled="0"/>
                </a:gradFill>
              </a:endParaRPr>
            </a:p>
          </p:txBody>
        </p:sp>
      </p:grpSp>
      <p:sp>
        <p:nvSpPr>
          <p:cNvPr id="7" name="Rectangle 6"/>
          <p:cNvSpPr/>
          <p:nvPr/>
        </p:nvSpPr>
        <p:spPr>
          <a:xfrm>
            <a:off x="4527666" y="871988"/>
            <a:ext cx="6092857" cy="392143"/>
          </a:xfrm>
          <a:prstGeom prst="rect">
            <a:avLst/>
          </a:prstGeom>
        </p:spPr>
        <p:txBody>
          <a:bodyPr>
            <a:spAutoFit/>
          </a:bodyPr>
          <a:lstStyle/>
          <a:p>
            <a:pPr defTabSz="913946">
              <a:spcAft>
                <a:spcPts val="588"/>
              </a:spcAft>
            </a:pPr>
            <a:r>
              <a:rPr lang="en-US" sz="1960" dirty="0">
                <a:solidFill>
                  <a:srgbClr val="002060"/>
                </a:solidFill>
              </a:rPr>
              <a:t>Strong multi-factor authentication</a:t>
            </a:r>
          </a:p>
        </p:txBody>
      </p:sp>
      <p:sp>
        <p:nvSpPr>
          <p:cNvPr id="20" name="Rectangle 19"/>
          <p:cNvSpPr/>
          <p:nvPr/>
        </p:nvSpPr>
        <p:spPr>
          <a:xfrm>
            <a:off x="4527666" y="2009403"/>
            <a:ext cx="2396875" cy="393954"/>
          </a:xfrm>
          <a:prstGeom prst="rect">
            <a:avLst/>
          </a:prstGeom>
        </p:spPr>
        <p:txBody>
          <a:bodyPr wrap="none">
            <a:spAutoFit/>
          </a:bodyPr>
          <a:lstStyle/>
          <a:p>
            <a:pPr defTabSz="913946">
              <a:spcAft>
                <a:spcPts val="588"/>
              </a:spcAft>
            </a:pPr>
            <a:r>
              <a:rPr lang="en-US" sz="1960" dirty="0">
                <a:solidFill>
                  <a:srgbClr val="002060"/>
                </a:solidFill>
              </a:rPr>
              <a:t>Real-Time Fraud Alert</a:t>
            </a:r>
          </a:p>
        </p:txBody>
      </p:sp>
      <p:sp>
        <p:nvSpPr>
          <p:cNvPr id="21" name="Rectangle 20"/>
          <p:cNvSpPr/>
          <p:nvPr/>
        </p:nvSpPr>
        <p:spPr>
          <a:xfrm>
            <a:off x="4527666" y="3146819"/>
            <a:ext cx="1323311" cy="393954"/>
          </a:xfrm>
          <a:prstGeom prst="rect">
            <a:avLst/>
          </a:prstGeom>
        </p:spPr>
        <p:txBody>
          <a:bodyPr wrap="none">
            <a:spAutoFit/>
          </a:bodyPr>
          <a:lstStyle/>
          <a:p>
            <a:pPr defTabSz="913946">
              <a:spcAft>
                <a:spcPts val="588"/>
              </a:spcAft>
            </a:pPr>
            <a:r>
              <a:rPr lang="en-US" sz="1960" dirty="0">
                <a:solidFill>
                  <a:srgbClr val="002060"/>
                </a:solidFill>
              </a:rPr>
              <a:t>PIN option </a:t>
            </a:r>
          </a:p>
        </p:txBody>
      </p:sp>
      <p:sp>
        <p:nvSpPr>
          <p:cNvPr id="22" name="Rectangle 21"/>
          <p:cNvSpPr/>
          <p:nvPr/>
        </p:nvSpPr>
        <p:spPr>
          <a:xfrm>
            <a:off x="4527666" y="4284236"/>
            <a:ext cx="6092857" cy="392143"/>
          </a:xfrm>
          <a:prstGeom prst="rect">
            <a:avLst/>
          </a:prstGeom>
        </p:spPr>
        <p:txBody>
          <a:bodyPr>
            <a:spAutoFit/>
          </a:bodyPr>
          <a:lstStyle/>
          <a:p>
            <a:pPr defTabSz="913946">
              <a:spcAft>
                <a:spcPts val="588"/>
              </a:spcAft>
            </a:pPr>
            <a:r>
              <a:rPr lang="en-US" sz="1960" dirty="0">
                <a:solidFill>
                  <a:srgbClr val="002060"/>
                </a:solidFill>
              </a:rPr>
              <a:t>Reporting and logging for</a:t>
            </a:r>
            <a:r>
              <a:rPr lang="en-US" sz="1960" i="1" dirty="0">
                <a:solidFill>
                  <a:srgbClr val="002060"/>
                </a:solidFill>
              </a:rPr>
              <a:t> </a:t>
            </a:r>
            <a:r>
              <a:rPr lang="en-US" sz="1960" dirty="0">
                <a:solidFill>
                  <a:srgbClr val="002060"/>
                </a:solidFill>
              </a:rPr>
              <a:t>auditing </a:t>
            </a:r>
          </a:p>
        </p:txBody>
      </p:sp>
      <p:sp>
        <p:nvSpPr>
          <p:cNvPr id="23" name="Rectangle 22"/>
          <p:cNvSpPr/>
          <p:nvPr/>
        </p:nvSpPr>
        <p:spPr>
          <a:xfrm>
            <a:off x="4527665" y="5270829"/>
            <a:ext cx="7094848" cy="693790"/>
          </a:xfrm>
          <a:prstGeom prst="rect">
            <a:avLst/>
          </a:prstGeom>
        </p:spPr>
        <p:txBody>
          <a:bodyPr wrap="square">
            <a:spAutoFit/>
          </a:bodyPr>
          <a:lstStyle/>
          <a:p>
            <a:pPr defTabSz="913946">
              <a:spcAft>
                <a:spcPts val="588"/>
              </a:spcAft>
            </a:pPr>
            <a:r>
              <a:rPr lang="en-US" sz="1960" dirty="0">
                <a:solidFill>
                  <a:srgbClr val="002060"/>
                </a:solidFill>
              </a:rPr>
              <a:t>Enables compliance with NIST 800-63 Level 3, HIPAA, </a:t>
            </a:r>
            <a:br>
              <a:rPr lang="en-US" sz="1960" dirty="0">
                <a:solidFill>
                  <a:srgbClr val="002060"/>
                </a:solidFill>
              </a:rPr>
            </a:br>
            <a:r>
              <a:rPr lang="en-US" sz="1960" dirty="0">
                <a:solidFill>
                  <a:srgbClr val="002060"/>
                </a:solidFill>
              </a:rPr>
              <a:t>PCI DSS, and other regulatory requirements</a:t>
            </a:r>
          </a:p>
        </p:txBody>
      </p:sp>
    </p:spTree>
    <p:extLst>
      <p:ext uri="{BB962C8B-B14F-4D97-AF65-F5344CB8AC3E}">
        <p14:creationId xmlns:p14="http://schemas.microsoft.com/office/powerpoint/2010/main" val="1756499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53" presetClass="entr" presetSubtype="16" fill="hold" nodeType="after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p:cTn id="12" dur="250" fill="hold"/>
                                        <p:tgtEl>
                                          <p:spTgt spid="2"/>
                                        </p:tgtEl>
                                        <p:attrNameLst>
                                          <p:attrName>ppt_w</p:attrName>
                                        </p:attrNameLst>
                                      </p:cBhvr>
                                      <p:tavLst>
                                        <p:tav tm="0">
                                          <p:val>
                                            <p:fltVal val="0"/>
                                          </p:val>
                                        </p:tav>
                                        <p:tav tm="100000">
                                          <p:val>
                                            <p:strVal val="#ppt_w"/>
                                          </p:val>
                                        </p:tav>
                                      </p:tavLst>
                                    </p:anim>
                                    <p:anim calcmode="lin" valueType="num">
                                      <p:cBhvr>
                                        <p:cTn id="13" dur="250" fill="hold"/>
                                        <p:tgtEl>
                                          <p:spTgt spid="2"/>
                                        </p:tgtEl>
                                        <p:attrNameLst>
                                          <p:attrName>ppt_h</p:attrName>
                                        </p:attrNameLst>
                                      </p:cBhvr>
                                      <p:tavLst>
                                        <p:tav tm="0">
                                          <p:val>
                                            <p:fltVal val="0"/>
                                          </p:val>
                                        </p:tav>
                                        <p:tav tm="100000">
                                          <p:val>
                                            <p:strVal val="#ppt_h"/>
                                          </p:val>
                                        </p:tav>
                                      </p:tavLst>
                                    </p:anim>
                                    <p:animEffect transition="in" filter="fade">
                                      <p:cBhvr>
                                        <p:cTn id="14" dur="250"/>
                                        <p:tgtEl>
                                          <p:spTgt spid="2"/>
                                        </p:tgtEl>
                                      </p:cBhvr>
                                    </p:animEffect>
                                  </p:childTnLst>
                                </p:cTn>
                              </p:par>
                              <p:par>
                                <p:cTn id="15" presetID="6" presetClass="emph" presetSubtype="0" decel="100000" fill="hold" nodeType="withEffect">
                                  <p:stCondLst>
                                    <p:cond delay="200"/>
                                  </p:stCondLst>
                                  <p:childTnLst>
                                    <p:animScale>
                                      <p:cBhvr>
                                        <p:cTn id="16" dur="250" fill="hold"/>
                                        <p:tgtEl>
                                          <p:spTgt spid="2"/>
                                        </p:tgtEl>
                                      </p:cBhvr>
                                      <p:by x="110000" y="110000"/>
                                    </p:animScale>
                                  </p:childTnLst>
                                </p:cTn>
                              </p:par>
                              <p:par>
                                <p:cTn id="17" presetID="6" presetClass="emph" presetSubtype="0" decel="100000" fill="hold" nodeType="withEffect">
                                  <p:stCondLst>
                                    <p:cond delay="300"/>
                                  </p:stCondLst>
                                  <p:childTnLst>
                                    <p:animScale>
                                      <p:cBhvr>
                                        <p:cTn id="18" dur="250" fill="hold"/>
                                        <p:tgtEl>
                                          <p:spTgt spid="2"/>
                                        </p:tgtEl>
                                      </p:cBhvr>
                                      <p:by x="91000" y="91000"/>
                                    </p:animScale>
                                  </p:childTnLst>
                                </p:cTn>
                              </p:par>
                            </p:childTnLst>
                          </p:cTn>
                        </p:par>
                        <p:par>
                          <p:cTn id="19" fill="hold">
                            <p:stCondLst>
                              <p:cond delay="1050"/>
                            </p:stCondLst>
                            <p:childTnLst>
                              <p:par>
                                <p:cTn id="20" presetID="2" presetClass="entr" presetSubtype="8" decel="10000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 calcmode="lin" valueType="num">
                                      <p:cBhvr additive="base">
                                        <p:cTn id="22" dur="750" fill="hold"/>
                                        <p:tgtEl>
                                          <p:spTgt spid="3"/>
                                        </p:tgtEl>
                                        <p:attrNameLst>
                                          <p:attrName>ppt_x</p:attrName>
                                        </p:attrNameLst>
                                      </p:cBhvr>
                                      <p:tavLst>
                                        <p:tav tm="0">
                                          <p:val>
                                            <p:strVal val="0-#ppt_w/2"/>
                                          </p:val>
                                        </p:tav>
                                        <p:tav tm="100000">
                                          <p:val>
                                            <p:strVal val="#ppt_x"/>
                                          </p:val>
                                        </p:tav>
                                      </p:tavLst>
                                    </p:anim>
                                    <p:anim calcmode="lin" valueType="num">
                                      <p:cBhvr additive="base">
                                        <p:cTn id="23" dur="750" fill="hold"/>
                                        <p:tgtEl>
                                          <p:spTgt spid="3"/>
                                        </p:tgtEl>
                                        <p:attrNameLst>
                                          <p:attrName>ppt_y</p:attrName>
                                        </p:attrNameLst>
                                      </p:cBhvr>
                                      <p:tavLst>
                                        <p:tav tm="0">
                                          <p:val>
                                            <p:strVal val="#ppt_y"/>
                                          </p:val>
                                        </p:tav>
                                        <p:tav tm="100000">
                                          <p:val>
                                            <p:strVal val="#ppt_y"/>
                                          </p:val>
                                        </p:tav>
                                      </p:tavLst>
                                    </p:anim>
                                  </p:childTnLst>
                                </p:cTn>
                              </p:par>
                              <p:par>
                                <p:cTn id="24" presetID="10" presetClass="entr" presetSubtype="0" fill="hold" grpId="0" nodeType="withEffect">
                                  <p:stCondLst>
                                    <p:cond delay="50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par>
                                <p:cTn id="27" presetID="2" presetClass="entr" presetSubtype="8" decel="100000" fill="hold" nodeType="withEffect">
                                  <p:stCondLst>
                                    <p:cond delay="100"/>
                                  </p:stCondLst>
                                  <p:childTnLst>
                                    <p:set>
                                      <p:cBhvr>
                                        <p:cTn id="28" dur="1" fill="hold">
                                          <p:stCondLst>
                                            <p:cond delay="0"/>
                                          </p:stCondLst>
                                        </p:cTn>
                                        <p:tgtEl>
                                          <p:spTgt spid="51"/>
                                        </p:tgtEl>
                                        <p:attrNameLst>
                                          <p:attrName>style.visibility</p:attrName>
                                        </p:attrNameLst>
                                      </p:cBhvr>
                                      <p:to>
                                        <p:strVal val="visible"/>
                                      </p:to>
                                    </p:set>
                                    <p:anim calcmode="lin" valueType="num">
                                      <p:cBhvr additive="base">
                                        <p:cTn id="29" dur="750" fill="hold"/>
                                        <p:tgtEl>
                                          <p:spTgt spid="51"/>
                                        </p:tgtEl>
                                        <p:attrNameLst>
                                          <p:attrName>ppt_x</p:attrName>
                                        </p:attrNameLst>
                                      </p:cBhvr>
                                      <p:tavLst>
                                        <p:tav tm="0">
                                          <p:val>
                                            <p:strVal val="0-#ppt_w/2"/>
                                          </p:val>
                                        </p:tav>
                                        <p:tav tm="100000">
                                          <p:val>
                                            <p:strVal val="#ppt_x"/>
                                          </p:val>
                                        </p:tav>
                                      </p:tavLst>
                                    </p:anim>
                                    <p:anim calcmode="lin" valueType="num">
                                      <p:cBhvr additive="base">
                                        <p:cTn id="30" dur="750" fill="hold"/>
                                        <p:tgtEl>
                                          <p:spTgt spid="51"/>
                                        </p:tgtEl>
                                        <p:attrNameLst>
                                          <p:attrName>ppt_y</p:attrName>
                                        </p:attrNameLst>
                                      </p:cBhvr>
                                      <p:tavLst>
                                        <p:tav tm="0">
                                          <p:val>
                                            <p:strVal val="#ppt_y"/>
                                          </p:val>
                                        </p:tav>
                                        <p:tav tm="100000">
                                          <p:val>
                                            <p:strVal val="#ppt_y"/>
                                          </p:val>
                                        </p:tav>
                                      </p:tavLst>
                                    </p:anim>
                                  </p:childTnLst>
                                </p:cTn>
                              </p:par>
                              <p:par>
                                <p:cTn id="31" presetID="10" presetClass="entr" presetSubtype="0" fill="hold" grpId="0" nodeType="withEffect">
                                  <p:stCondLst>
                                    <p:cond delay="50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par>
                                <p:cTn id="34" presetID="2" presetClass="entr" presetSubtype="8" decel="100000" fill="hold" nodeType="withEffect">
                                  <p:stCondLst>
                                    <p:cond delay="200"/>
                                  </p:stCondLst>
                                  <p:childTnLst>
                                    <p:set>
                                      <p:cBhvr>
                                        <p:cTn id="35" dur="1" fill="hold">
                                          <p:stCondLst>
                                            <p:cond delay="0"/>
                                          </p:stCondLst>
                                        </p:cTn>
                                        <p:tgtEl>
                                          <p:spTgt spid="52"/>
                                        </p:tgtEl>
                                        <p:attrNameLst>
                                          <p:attrName>style.visibility</p:attrName>
                                        </p:attrNameLst>
                                      </p:cBhvr>
                                      <p:to>
                                        <p:strVal val="visible"/>
                                      </p:to>
                                    </p:set>
                                    <p:anim calcmode="lin" valueType="num">
                                      <p:cBhvr additive="base">
                                        <p:cTn id="36" dur="750" fill="hold"/>
                                        <p:tgtEl>
                                          <p:spTgt spid="52"/>
                                        </p:tgtEl>
                                        <p:attrNameLst>
                                          <p:attrName>ppt_x</p:attrName>
                                        </p:attrNameLst>
                                      </p:cBhvr>
                                      <p:tavLst>
                                        <p:tav tm="0">
                                          <p:val>
                                            <p:strVal val="0-#ppt_w/2"/>
                                          </p:val>
                                        </p:tav>
                                        <p:tav tm="100000">
                                          <p:val>
                                            <p:strVal val="#ppt_x"/>
                                          </p:val>
                                        </p:tav>
                                      </p:tavLst>
                                    </p:anim>
                                    <p:anim calcmode="lin" valueType="num">
                                      <p:cBhvr additive="base">
                                        <p:cTn id="37" dur="750" fill="hold"/>
                                        <p:tgtEl>
                                          <p:spTgt spid="52"/>
                                        </p:tgtEl>
                                        <p:attrNameLst>
                                          <p:attrName>ppt_y</p:attrName>
                                        </p:attrNameLst>
                                      </p:cBhvr>
                                      <p:tavLst>
                                        <p:tav tm="0">
                                          <p:val>
                                            <p:strVal val="#ppt_y"/>
                                          </p:val>
                                        </p:tav>
                                        <p:tav tm="100000">
                                          <p:val>
                                            <p:strVal val="#ppt_y"/>
                                          </p:val>
                                        </p:tav>
                                      </p:tavLst>
                                    </p:anim>
                                  </p:childTnLst>
                                </p:cTn>
                              </p:par>
                              <p:par>
                                <p:cTn id="38" presetID="10" presetClass="entr" presetSubtype="0" fill="hold" grpId="0" nodeType="withEffect">
                                  <p:stCondLst>
                                    <p:cond delay="50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2" presetClass="entr" presetSubtype="8" decel="100000" fill="hold" nodeType="withEffect">
                                  <p:stCondLst>
                                    <p:cond delay="300"/>
                                  </p:stCondLst>
                                  <p:childTnLst>
                                    <p:set>
                                      <p:cBhvr>
                                        <p:cTn id="42" dur="1" fill="hold">
                                          <p:stCondLst>
                                            <p:cond delay="0"/>
                                          </p:stCondLst>
                                        </p:cTn>
                                        <p:tgtEl>
                                          <p:spTgt spid="53"/>
                                        </p:tgtEl>
                                        <p:attrNameLst>
                                          <p:attrName>style.visibility</p:attrName>
                                        </p:attrNameLst>
                                      </p:cBhvr>
                                      <p:to>
                                        <p:strVal val="visible"/>
                                      </p:to>
                                    </p:set>
                                    <p:anim calcmode="lin" valueType="num">
                                      <p:cBhvr additive="base">
                                        <p:cTn id="43" dur="750" fill="hold"/>
                                        <p:tgtEl>
                                          <p:spTgt spid="53"/>
                                        </p:tgtEl>
                                        <p:attrNameLst>
                                          <p:attrName>ppt_x</p:attrName>
                                        </p:attrNameLst>
                                      </p:cBhvr>
                                      <p:tavLst>
                                        <p:tav tm="0">
                                          <p:val>
                                            <p:strVal val="0-#ppt_w/2"/>
                                          </p:val>
                                        </p:tav>
                                        <p:tav tm="100000">
                                          <p:val>
                                            <p:strVal val="#ppt_x"/>
                                          </p:val>
                                        </p:tav>
                                      </p:tavLst>
                                    </p:anim>
                                    <p:anim calcmode="lin" valueType="num">
                                      <p:cBhvr additive="base">
                                        <p:cTn id="44" dur="750" fill="hold"/>
                                        <p:tgtEl>
                                          <p:spTgt spid="53"/>
                                        </p:tgtEl>
                                        <p:attrNameLst>
                                          <p:attrName>ppt_y</p:attrName>
                                        </p:attrNameLst>
                                      </p:cBhvr>
                                      <p:tavLst>
                                        <p:tav tm="0">
                                          <p:val>
                                            <p:strVal val="#ppt_y"/>
                                          </p:val>
                                        </p:tav>
                                        <p:tav tm="100000">
                                          <p:val>
                                            <p:strVal val="#ppt_y"/>
                                          </p:val>
                                        </p:tav>
                                      </p:tavLst>
                                    </p:anim>
                                  </p:childTnLst>
                                </p:cTn>
                              </p:par>
                              <p:par>
                                <p:cTn id="45" presetID="10" presetClass="entr" presetSubtype="0" fill="hold" grpId="0" nodeType="withEffect">
                                  <p:stCondLst>
                                    <p:cond delay="75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500"/>
                                        <p:tgtEl>
                                          <p:spTgt spid="22"/>
                                        </p:tgtEl>
                                      </p:cBhvr>
                                    </p:animEffect>
                                  </p:childTnLst>
                                </p:cTn>
                              </p:par>
                              <p:par>
                                <p:cTn id="48" presetID="2" presetClass="entr" presetSubtype="8" decel="100000" fill="hold" nodeType="withEffect">
                                  <p:stCondLst>
                                    <p:cond delay="400"/>
                                  </p:stCondLst>
                                  <p:childTnLst>
                                    <p:set>
                                      <p:cBhvr>
                                        <p:cTn id="49" dur="1" fill="hold">
                                          <p:stCondLst>
                                            <p:cond delay="0"/>
                                          </p:stCondLst>
                                        </p:cTn>
                                        <p:tgtEl>
                                          <p:spTgt spid="54"/>
                                        </p:tgtEl>
                                        <p:attrNameLst>
                                          <p:attrName>style.visibility</p:attrName>
                                        </p:attrNameLst>
                                      </p:cBhvr>
                                      <p:to>
                                        <p:strVal val="visible"/>
                                      </p:to>
                                    </p:set>
                                    <p:anim calcmode="lin" valueType="num">
                                      <p:cBhvr additive="base">
                                        <p:cTn id="50" dur="750" fill="hold"/>
                                        <p:tgtEl>
                                          <p:spTgt spid="54"/>
                                        </p:tgtEl>
                                        <p:attrNameLst>
                                          <p:attrName>ppt_x</p:attrName>
                                        </p:attrNameLst>
                                      </p:cBhvr>
                                      <p:tavLst>
                                        <p:tav tm="0">
                                          <p:val>
                                            <p:strVal val="0-#ppt_w/2"/>
                                          </p:val>
                                        </p:tav>
                                        <p:tav tm="100000">
                                          <p:val>
                                            <p:strVal val="#ppt_x"/>
                                          </p:val>
                                        </p:tav>
                                      </p:tavLst>
                                    </p:anim>
                                    <p:anim calcmode="lin" valueType="num">
                                      <p:cBhvr additive="base">
                                        <p:cTn id="51" dur="750" fill="hold"/>
                                        <p:tgtEl>
                                          <p:spTgt spid="54"/>
                                        </p:tgtEl>
                                        <p:attrNameLst>
                                          <p:attrName>ppt_y</p:attrName>
                                        </p:attrNameLst>
                                      </p:cBhvr>
                                      <p:tavLst>
                                        <p:tav tm="0">
                                          <p:val>
                                            <p:strVal val="#ppt_y"/>
                                          </p:val>
                                        </p:tav>
                                        <p:tav tm="100000">
                                          <p:val>
                                            <p:strVal val="#ppt_y"/>
                                          </p:val>
                                        </p:tav>
                                      </p:tavLst>
                                    </p:anim>
                                  </p:childTnLst>
                                </p:cTn>
                              </p:par>
                              <p:par>
                                <p:cTn id="52" presetID="10" presetClass="entr" presetSubtype="0" fill="hold" grpId="0" nodeType="withEffect">
                                  <p:stCondLst>
                                    <p:cond delay="750"/>
                                  </p:stCondLst>
                                  <p:childTnLst>
                                    <p:set>
                                      <p:cBhvr>
                                        <p:cTn id="53" dur="1" fill="hold">
                                          <p:stCondLst>
                                            <p:cond delay="0"/>
                                          </p:stCondLst>
                                        </p:cTn>
                                        <p:tgtEl>
                                          <p:spTgt spid="23"/>
                                        </p:tgtEl>
                                        <p:attrNameLst>
                                          <p:attrName>style.visibility</p:attrName>
                                        </p:attrNameLst>
                                      </p:cBhvr>
                                      <p:to>
                                        <p:strVal val="visible"/>
                                      </p:to>
                                    </p:set>
                                    <p:animEffect transition="in" filter="fade">
                                      <p:cBhvr>
                                        <p:cTn id="5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7" grpId="0"/>
      <p:bldP spid="20" grpId="0"/>
      <p:bldP spid="21" grpId="0"/>
      <p:bldP spid="22" grpId="0"/>
      <p:bldP spid="2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19" dirty="0">
                <a:gradFill>
                  <a:gsLst>
                    <a:gs pos="6195">
                      <a:schemeClr val="bg2"/>
                    </a:gs>
                    <a:gs pos="100000">
                      <a:schemeClr val="bg2"/>
                    </a:gs>
                  </a:gsLst>
                  <a:lin ang="5400000" scaled="0"/>
                </a:gradFill>
              </a:rPr>
              <a:t>How It Works</a:t>
            </a:r>
          </a:p>
        </p:txBody>
      </p:sp>
      <p:grpSp>
        <p:nvGrpSpPr>
          <p:cNvPr id="8" name="Group 7"/>
          <p:cNvGrpSpPr/>
          <p:nvPr/>
        </p:nvGrpSpPr>
        <p:grpSpPr>
          <a:xfrm>
            <a:off x="271584" y="1868186"/>
            <a:ext cx="3808273" cy="3808273"/>
            <a:chOff x="274638" y="1904509"/>
            <a:chExt cx="3886200" cy="3886200"/>
          </a:xfrm>
        </p:grpSpPr>
        <p:sp>
          <p:nvSpPr>
            <p:cNvPr id="4" name="Rectangle 3"/>
            <p:cNvSpPr/>
            <p:nvPr/>
          </p:nvSpPr>
          <p:spPr bwMode="auto">
            <a:xfrm>
              <a:off x="274638" y="1904509"/>
              <a:ext cx="3886200" cy="3886200"/>
            </a:xfrm>
            <a:prstGeom prst="rect">
              <a:avLst/>
            </a:prstGeom>
            <a:noFill/>
            <a:ln w="38100" cap="sq">
              <a:solidFill>
                <a:schemeClr val="bg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12" tIns="143371" rIns="179212" bIns="143371" numCol="1" rtlCol="0" anchor="t" anchorCtr="0" compatLnSpc="1">
              <a:prstTxWarp prst="textNoShape">
                <a:avLst/>
              </a:prstTxWarp>
            </a:bodyPr>
            <a:lstStyle/>
            <a:p>
              <a:pPr defTabSz="931924" fontAlgn="base">
                <a:spcBef>
                  <a:spcPct val="0"/>
                </a:spcBef>
                <a:spcAft>
                  <a:spcPct val="0"/>
                </a:spcAft>
              </a:pPr>
              <a:r>
                <a:rPr lang="en-US" sz="3919" dirty="0">
                  <a:gradFill>
                    <a:gsLst>
                      <a:gs pos="0">
                        <a:srgbClr val="008272"/>
                      </a:gs>
                      <a:gs pos="100000">
                        <a:srgbClr val="008272"/>
                      </a:gs>
                    </a:gsLst>
                    <a:lin ang="5400000" scaled="0"/>
                  </a:gradFill>
                  <a:latin typeface="Segoe UI Light"/>
                </a:rPr>
                <a:t>Mobile apps</a:t>
              </a:r>
            </a:p>
          </p:txBody>
        </p:sp>
        <p:sp>
          <p:nvSpPr>
            <p:cNvPr id="36" name="Freeform 19"/>
            <p:cNvSpPr>
              <a:spLocks noEditPoints="1"/>
            </p:cNvSpPr>
            <p:nvPr/>
          </p:nvSpPr>
          <p:spPr bwMode="auto">
            <a:xfrm>
              <a:off x="1654572" y="3408218"/>
              <a:ext cx="1126332" cy="2155948"/>
            </a:xfrm>
            <a:custGeom>
              <a:avLst/>
              <a:gdLst>
                <a:gd name="T0" fmla="*/ 1104 w 1184"/>
                <a:gd name="T1" fmla="*/ 0 h 2267"/>
                <a:gd name="T2" fmla="*/ 74 w 1184"/>
                <a:gd name="T3" fmla="*/ 0 h 2267"/>
                <a:gd name="T4" fmla="*/ 0 w 1184"/>
                <a:gd name="T5" fmla="*/ 79 h 2267"/>
                <a:gd name="T6" fmla="*/ 0 w 1184"/>
                <a:gd name="T7" fmla="*/ 2193 h 2267"/>
                <a:gd name="T8" fmla="*/ 74 w 1184"/>
                <a:gd name="T9" fmla="*/ 2267 h 2267"/>
                <a:gd name="T10" fmla="*/ 1104 w 1184"/>
                <a:gd name="T11" fmla="*/ 2267 h 2267"/>
                <a:gd name="T12" fmla="*/ 1184 w 1184"/>
                <a:gd name="T13" fmla="*/ 2193 h 2267"/>
                <a:gd name="T14" fmla="*/ 1184 w 1184"/>
                <a:gd name="T15" fmla="*/ 79 h 2267"/>
                <a:gd name="T16" fmla="*/ 1104 w 1184"/>
                <a:gd name="T17" fmla="*/ 0 h 2267"/>
                <a:gd name="T18" fmla="*/ 580 w 1184"/>
                <a:gd name="T19" fmla="*/ 2163 h 2267"/>
                <a:gd name="T20" fmla="*/ 531 w 1184"/>
                <a:gd name="T21" fmla="*/ 2157 h 2267"/>
                <a:gd name="T22" fmla="*/ 531 w 1184"/>
                <a:gd name="T23" fmla="*/ 2114 h 2267"/>
                <a:gd name="T24" fmla="*/ 580 w 1184"/>
                <a:gd name="T25" fmla="*/ 2114 h 2267"/>
                <a:gd name="T26" fmla="*/ 580 w 1184"/>
                <a:gd name="T27" fmla="*/ 2163 h 2267"/>
                <a:gd name="T28" fmla="*/ 580 w 1184"/>
                <a:gd name="T29" fmla="*/ 2163 h 2267"/>
                <a:gd name="T30" fmla="*/ 580 w 1184"/>
                <a:gd name="T31" fmla="*/ 2108 h 2267"/>
                <a:gd name="T32" fmla="*/ 531 w 1184"/>
                <a:gd name="T33" fmla="*/ 2108 h 2267"/>
                <a:gd name="T34" fmla="*/ 531 w 1184"/>
                <a:gd name="T35" fmla="*/ 2065 h 2267"/>
                <a:gd name="T36" fmla="*/ 580 w 1184"/>
                <a:gd name="T37" fmla="*/ 2059 h 2267"/>
                <a:gd name="T38" fmla="*/ 580 w 1184"/>
                <a:gd name="T39" fmla="*/ 2108 h 2267"/>
                <a:gd name="T40" fmla="*/ 580 w 1184"/>
                <a:gd name="T41" fmla="*/ 2108 h 2267"/>
                <a:gd name="T42" fmla="*/ 654 w 1184"/>
                <a:gd name="T43" fmla="*/ 2175 h 2267"/>
                <a:gd name="T44" fmla="*/ 586 w 1184"/>
                <a:gd name="T45" fmla="*/ 2163 h 2267"/>
                <a:gd name="T46" fmla="*/ 586 w 1184"/>
                <a:gd name="T47" fmla="*/ 2114 h 2267"/>
                <a:gd name="T48" fmla="*/ 654 w 1184"/>
                <a:gd name="T49" fmla="*/ 2114 h 2267"/>
                <a:gd name="T50" fmla="*/ 654 w 1184"/>
                <a:gd name="T51" fmla="*/ 2175 h 2267"/>
                <a:gd name="T52" fmla="*/ 654 w 1184"/>
                <a:gd name="T53" fmla="*/ 2175 h 2267"/>
                <a:gd name="T54" fmla="*/ 654 w 1184"/>
                <a:gd name="T55" fmla="*/ 2108 h 2267"/>
                <a:gd name="T56" fmla="*/ 586 w 1184"/>
                <a:gd name="T57" fmla="*/ 2108 h 2267"/>
                <a:gd name="T58" fmla="*/ 586 w 1184"/>
                <a:gd name="T59" fmla="*/ 2059 h 2267"/>
                <a:gd name="T60" fmla="*/ 654 w 1184"/>
                <a:gd name="T61" fmla="*/ 2046 h 2267"/>
                <a:gd name="T62" fmla="*/ 654 w 1184"/>
                <a:gd name="T63" fmla="*/ 2108 h 2267"/>
                <a:gd name="T64" fmla="*/ 654 w 1184"/>
                <a:gd name="T65" fmla="*/ 2108 h 2267"/>
                <a:gd name="T66" fmla="*/ 1080 w 1184"/>
                <a:gd name="T67" fmla="*/ 1961 h 2267"/>
                <a:gd name="T68" fmla="*/ 111 w 1184"/>
                <a:gd name="T69" fmla="*/ 1961 h 2267"/>
                <a:gd name="T70" fmla="*/ 111 w 1184"/>
                <a:gd name="T71" fmla="*/ 184 h 2267"/>
                <a:gd name="T72" fmla="*/ 1080 w 1184"/>
                <a:gd name="T73" fmla="*/ 184 h 2267"/>
                <a:gd name="T74" fmla="*/ 1080 w 1184"/>
                <a:gd name="T75" fmla="*/ 1961 h 2267"/>
                <a:gd name="T76" fmla="*/ 1080 w 1184"/>
                <a:gd name="T77" fmla="*/ 1961 h 2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4" h="2267">
                  <a:moveTo>
                    <a:pt x="1104" y="0"/>
                  </a:moveTo>
                  <a:cubicBezTo>
                    <a:pt x="74" y="0"/>
                    <a:pt x="74" y="0"/>
                    <a:pt x="74" y="0"/>
                  </a:cubicBezTo>
                  <a:cubicBezTo>
                    <a:pt x="31" y="0"/>
                    <a:pt x="0" y="36"/>
                    <a:pt x="0" y="79"/>
                  </a:cubicBezTo>
                  <a:cubicBezTo>
                    <a:pt x="0" y="2193"/>
                    <a:pt x="0" y="2193"/>
                    <a:pt x="0" y="2193"/>
                  </a:cubicBezTo>
                  <a:cubicBezTo>
                    <a:pt x="0" y="2230"/>
                    <a:pt x="31" y="2267"/>
                    <a:pt x="74" y="2267"/>
                  </a:cubicBezTo>
                  <a:cubicBezTo>
                    <a:pt x="1104" y="2267"/>
                    <a:pt x="1104" y="2267"/>
                    <a:pt x="1104" y="2267"/>
                  </a:cubicBezTo>
                  <a:cubicBezTo>
                    <a:pt x="1153" y="2267"/>
                    <a:pt x="1184" y="2230"/>
                    <a:pt x="1184" y="2193"/>
                  </a:cubicBezTo>
                  <a:cubicBezTo>
                    <a:pt x="1184" y="79"/>
                    <a:pt x="1184" y="79"/>
                    <a:pt x="1184" y="79"/>
                  </a:cubicBezTo>
                  <a:cubicBezTo>
                    <a:pt x="1184" y="36"/>
                    <a:pt x="1153" y="0"/>
                    <a:pt x="1104" y="0"/>
                  </a:cubicBezTo>
                  <a:close/>
                  <a:moveTo>
                    <a:pt x="580" y="2163"/>
                  </a:moveTo>
                  <a:cubicBezTo>
                    <a:pt x="531" y="2157"/>
                    <a:pt x="531" y="2157"/>
                    <a:pt x="531" y="2157"/>
                  </a:cubicBezTo>
                  <a:cubicBezTo>
                    <a:pt x="531" y="2114"/>
                    <a:pt x="531" y="2114"/>
                    <a:pt x="531" y="2114"/>
                  </a:cubicBezTo>
                  <a:cubicBezTo>
                    <a:pt x="580" y="2114"/>
                    <a:pt x="580" y="2114"/>
                    <a:pt x="580" y="2114"/>
                  </a:cubicBezTo>
                  <a:cubicBezTo>
                    <a:pt x="580" y="2163"/>
                    <a:pt x="580" y="2163"/>
                    <a:pt x="580" y="2163"/>
                  </a:cubicBezTo>
                  <a:cubicBezTo>
                    <a:pt x="580" y="2163"/>
                    <a:pt x="580" y="2163"/>
                    <a:pt x="580" y="2163"/>
                  </a:cubicBezTo>
                  <a:close/>
                  <a:moveTo>
                    <a:pt x="580" y="2108"/>
                  </a:moveTo>
                  <a:cubicBezTo>
                    <a:pt x="531" y="2108"/>
                    <a:pt x="531" y="2108"/>
                    <a:pt x="531" y="2108"/>
                  </a:cubicBezTo>
                  <a:cubicBezTo>
                    <a:pt x="531" y="2065"/>
                    <a:pt x="531" y="2065"/>
                    <a:pt x="531" y="2065"/>
                  </a:cubicBezTo>
                  <a:cubicBezTo>
                    <a:pt x="580" y="2059"/>
                    <a:pt x="580" y="2059"/>
                    <a:pt x="580" y="2059"/>
                  </a:cubicBezTo>
                  <a:cubicBezTo>
                    <a:pt x="580" y="2108"/>
                    <a:pt x="580" y="2108"/>
                    <a:pt x="580" y="2108"/>
                  </a:cubicBezTo>
                  <a:cubicBezTo>
                    <a:pt x="580" y="2108"/>
                    <a:pt x="580" y="2108"/>
                    <a:pt x="580" y="2108"/>
                  </a:cubicBezTo>
                  <a:close/>
                  <a:moveTo>
                    <a:pt x="654" y="2175"/>
                  </a:moveTo>
                  <a:cubicBezTo>
                    <a:pt x="586" y="2163"/>
                    <a:pt x="586" y="2163"/>
                    <a:pt x="586" y="2163"/>
                  </a:cubicBezTo>
                  <a:cubicBezTo>
                    <a:pt x="586" y="2114"/>
                    <a:pt x="586" y="2114"/>
                    <a:pt x="586" y="2114"/>
                  </a:cubicBezTo>
                  <a:cubicBezTo>
                    <a:pt x="654" y="2114"/>
                    <a:pt x="654" y="2114"/>
                    <a:pt x="654" y="2114"/>
                  </a:cubicBezTo>
                  <a:cubicBezTo>
                    <a:pt x="654" y="2175"/>
                    <a:pt x="654" y="2175"/>
                    <a:pt x="654" y="2175"/>
                  </a:cubicBezTo>
                  <a:cubicBezTo>
                    <a:pt x="654" y="2175"/>
                    <a:pt x="654" y="2175"/>
                    <a:pt x="654" y="2175"/>
                  </a:cubicBezTo>
                  <a:close/>
                  <a:moveTo>
                    <a:pt x="654" y="2108"/>
                  </a:moveTo>
                  <a:cubicBezTo>
                    <a:pt x="586" y="2108"/>
                    <a:pt x="586" y="2108"/>
                    <a:pt x="586" y="2108"/>
                  </a:cubicBezTo>
                  <a:cubicBezTo>
                    <a:pt x="586" y="2059"/>
                    <a:pt x="586" y="2059"/>
                    <a:pt x="586" y="2059"/>
                  </a:cubicBezTo>
                  <a:cubicBezTo>
                    <a:pt x="654" y="2046"/>
                    <a:pt x="654" y="2046"/>
                    <a:pt x="654" y="2046"/>
                  </a:cubicBezTo>
                  <a:cubicBezTo>
                    <a:pt x="654" y="2108"/>
                    <a:pt x="654" y="2108"/>
                    <a:pt x="654" y="2108"/>
                  </a:cubicBezTo>
                  <a:cubicBezTo>
                    <a:pt x="654" y="2108"/>
                    <a:pt x="654" y="2108"/>
                    <a:pt x="654" y="2108"/>
                  </a:cubicBezTo>
                  <a:close/>
                  <a:moveTo>
                    <a:pt x="1080" y="1961"/>
                  </a:moveTo>
                  <a:cubicBezTo>
                    <a:pt x="111" y="1961"/>
                    <a:pt x="111" y="1961"/>
                    <a:pt x="111" y="1961"/>
                  </a:cubicBezTo>
                  <a:cubicBezTo>
                    <a:pt x="111" y="355"/>
                    <a:pt x="111" y="184"/>
                    <a:pt x="111" y="184"/>
                  </a:cubicBezTo>
                  <a:cubicBezTo>
                    <a:pt x="1080" y="184"/>
                    <a:pt x="1080" y="184"/>
                    <a:pt x="1080" y="184"/>
                  </a:cubicBezTo>
                  <a:cubicBezTo>
                    <a:pt x="1080" y="1961"/>
                    <a:pt x="1080" y="1961"/>
                    <a:pt x="1080" y="1961"/>
                  </a:cubicBezTo>
                  <a:cubicBezTo>
                    <a:pt x="1080" y="1961"/>
                    <a:pt x="1080" y="1961"/>
                    <a:pt x="1080" y="1961"/>
                  </a:cubicBezTo>
                  <a:close/>
                </a:path>
              </a:pathLst>
            </a:custGeom>
            <a:solidFill>
              <a:schemeClr val="bg1">
                <a:lumMod val="40000"/>
                <a:lumOff val="60000"/>
              </a:schemeClr>
            </a:solidFill>
            <a:ln>
              <a:noFill/>
            </a:ln>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grpSp>
      <p:grpSp>
        <p:nvGrpSpPr>
          <p:cNvPr id="15" name="Group 14"/>
          <p:cNvGrpSpPr/>
          <p:nvPr/>
        </p:nvGrpSpPr>
        <p:grpSpPr>
          <a:xfrm>
            <a:off x="4210533" y="1868186"/>
            <a:ext cx="3808273" cy="3808273"/>
            <a:chOff x="4294188" y="1904509"/>
            <a:chExt cx="3886200" cy="3886200"/>
          </a:xfrm>
        </p:grpSpPr>
        <p:sp>
          <p:nvSpPr>
            <p:cNvPr id="5" name="Rectangle 4"/>
            <p:cNvSpPr/>
            <p:nvPr/>
          </p:nvSpPr>
          <p:spPr bwMode="auto">
            <a:xfrm>
              <a:off x="4294188" y="1904509"/>
              <a:ext cx="3886200" cy="3886200"/>
            </a:xfrm>
            <a:prstGeom prst="rect">
              <a:avLst/>
            </a:prstGeom>
            <a:solidFill>
              <a:schemeClr val="tx1"/>
            </a:solidFill>
            <a:ln w="38100" cap="sq">
              <a:solidFill>
                <a:schemeClr val="bg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12" tIns="143371" rIns="179212" bIns="143371" numCol="1" rtlCol="0" anchor="t" anchorCtr="0" compatLnSpc="1">
              <a:prstTxWarp prst="textNoShape">
                <a:avLst/>
              </a:prstTxWarp>
            </a:bodyPr>
            <a:lstStyle/>
            <a:p>
              <a:pPr defTabSz="931924" fontAlgn="base">
                <a:spcBef>
                  <a:spcPct val="0"/>
                </a:spcBef>
                <a:spcAft>
                  <a:spcPct val="0"/>
                </a:spcAft>
              </a:pPr>
              <a:r>
                <a:rPr lang="en-US" sz="3919" dirty="0">
                  <a:gradFill>
                    <a:gsLst>
                      <a:gs pos="0">
                        <a:srgbClr val="008272"/>
                      </a:gs>
                      <a:gs pos="100000">
                        <a:srgbClr val="008272"/>
                      </a:gs>
                    </a:gsLst>
                    <a:lin ang="5400000" scaled="0"/>
                  </a:gradFill>
                  <a:latin typeface="Segoe UI Light"/>
                </a:rPr>
                <a:t>Phone calls</a:t>
              </a:r>
            </a:p>
          </p:txBody>
        </p:sp>
        <p:sp>
          <p:nvSpPr>
            <p:cNvPr id="37" name="Freeform 19"/>
            <p:cNvSpPr>
              <a:spLocks noEditPoints="1"/>
            </p:cNvSpPr>
            <p:nvPr/>
          </p:nvSpPr>
          <p:spPr bwMode="auto">
            <a:xfrm>
              <a:off x="5674866" y="3411064"/>
              <a:ext cx="1124845" cy="2153102"/>
            </a:xfrm>
            <a:custGeom>
              <a:avLst/>
              <a:gdLst>
                <a:gd name="T0" fmla="*/ 1104 w 1184"/>
                <a:gd name="T1" fmla="*/ 0 h 2267"/>
                <a:gd name="T2" fmla="*/ 74 w 1184"/>
                <a:gd name="T3" fmla="*/ 0 h 2267"/>
                <a:gd name="T4" fmla="*/ 0 w 1184"/>
                <a:gd name="T5" fmla="*/ 79 h 2267"/>
                <a:gd name="T6" fmla="*/ 0 w 1184"/>
                <a:gd name="T7" fmla="*/ 2193 h 2267"/>
                <a:gd name="T8" fmla="*/ 74 w 1184"/>
                <a:gd name="T9" fmla="*/ 2267 h 2267"/>
                <a:gd name="T10" fmla="*/ 1104 w 1184"/>
                <a:gd name="T11" fmla="*/ 2267 h 2267"/>
                <a:gd name="T12" fmla="*/ 1184 w 1184"/>
                <a:gd name="T13" fmla="*/ 2193 h 2267"/>
                <a:gd name="T14" fmla="*/ 1184 w 1184"/>
                <a:gd name="T15" fmla="*/ 79 h 2267"/>
                <a:gd name="T16" fmla="*/ 1104 w 1184"/>
                <a:gd name="T17" fmla="*/ 0 h 2267"/>
                <a:gd name="T18" fmla="*/ 580 w 1184"/>
                <a:gd name="T19" fmla="*/ 2163 h 2267"/>
                <a:gd name="T20" fmla="*/ 531 w 1184"/>
                <a:gd name="T21" fmla="*/ 2157 h 2267"/>
                <a:gd name="T22" fmla="*/ 531 w 1184"/>
                <a:gd name="T23" fmla="*/ 2114 h 2267"/>
                <a:gd name="T24" fmla="*/ 580 w 1184"/>
                <a:gd name="T25" fmla="*/ 2114 h 2267"/>
                <a:gd name="T26" fmla="*/ 580 w 1184"/>
                <a:gd name="T27" fmla="*/ 2163 h 2267"/>
                <a:gd name="T28" fmla="*/ 580 w 1184"/>
                <a:gd name="T29" fmla="*/ 2163 h 2267"/>
                <a:gd name="T30" fmla="*/ 580 w 1184"/>
                <a:gd name="T31" fmla="*/ 2108 h 2267"/>
                <a:gd name="T32" fmla="*/ 531 w 1184"/>
                <a:gd name="T33" fmla="*/ 2108 h 2267"/>
                <a:gd name="T34" fmla="*/ 531 w 1184"/>
                <a:gd name="T35" fmla="*/ 2065 h 2267"/>
                <a:gd name="T36" fmla="*/ 580 w 1184"/>
                <a:gd name="T37" fmla="*/ 2059 h 2267"/>
                <a:gd name="T38" fmla="*/ 580 w 1184"/>
                <a:gd name="T39" fmla="*/ 2108 h 2267"/>
                <a:gd name="T40" fmla="*/ 580 w 1184"/>
                <a:gd name="T41" fmla="*/ 2108 h 2267"/>
                <a:gd name="T42" fmla="*/ 654 w 1184"/>
                <a:gd name="T43" fmla="*/ 2175 h 2267"/>
                <a:gd name="T44" fmla="*/ 586 w 1184"/>
                <a:gd name="T45" fmla="*/ 2163 h 2267"/>
                <a:gd name="T46" fmla="*/ 586 w 1184"/>
                <a:gd name="T47" fmla="*/ 2114 h 2267"/>
                <a:gd name="T48" fmla="*/ 654 w 1184"/>
                <a:gd name="T49" fmla="*/ 2114 h 2267"/>
                <a:gd name="T50" fmla="*/ 654 w 1184"/>
                <a:gd name="T51" fmla="*/ 2175 h 2267"/>
                <a:gd name="T52" fmla="*/ 654 w 1184"/>
                <a:gd name="T53" fmla="*/ 2175 h 2267"/>
                <a:gd name="T54" fmla="*/ 654 w 1184"/>
                <a:gd name="T55" fmla="*/ 2108 h 2267"/>
                <a:gd name="T56" fmla="*/ 586 w 1184"/>
                <a:gd name="T57" fmla="*/ 2108 h 2267"/>
                <a:gd name="T58" fmla="*/ 586 w 1184"/>
                <a:gd name="T59" fmla="*/ 2059 h 2267"/>
                <a:gd name="T60" fmla="*/ 654 w 1184"/>
                <a:gd name="T61" fmla="*/ 2046 h 2267"/>
                <a:gd name="T62" fmla="*/ 654 w 1184"/>
                <a:gd name="T63" fmla="*/ 2108 h 2267"/>
                <a:gd name="T64" fmla="*/ 654 w 1184"/>
                <a:gd name="T65" fmla="*/ 2108 h 2267"/>
                <a:gd name="T66" fmla="*/ 1080 w 1184"/>
                <a:gd name="T67" fmla="*/ 1961 h 2267"/>
                <a:gd name="T68" fmla="*/ 111 w 1184"/>
                <a:gd name="T69" fmla="*/ 1961 h 2267"/>
                <a:gd name="T70" fmla="*/ 111 w 1184"/>
                <a:gd name="T71" fmla="*/ 184 h 2267"/>
                <a:gd name="T72" fmla="*/ 1080 w 1184"/>
                <a:gd name="T73" fmla="*/ 184 h 2267"/>
                <a:gd name="T74" fmla="*/ 1080 w 1184"/>
                <a:gd name="T75" fmla="*/ 1961 h 2267"/>
                <a:gd name="T76" fmla="*/ 1080 w 1184"/>
                <a:gd name="T77" fmla="*/ 1961 h 2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4" h="2267">
                  <a:moveTo>
                    <a:pt x="1104" y="0"/>
                  </a:moveTo>
                  <a:cubicBezTo>
                    <a:pt x="74" y="0"/>
                    <a:pt x="74" y="0"/>
                    <a:pt x="74" y="0"/>
                  </a:cubicBezTo>
                  <a:cubicBezTo>
                    <a:pt x="31" y="0"/>
                    <a:pt x="0" y="36"/>
                    <a:pt x="0" y="79"/>
                  </a:cubicBezTo>
                  <a:cubicBezTo>
                    <a:pt x="0" y="2193"/>
                    <a:pt x="0" y="2193"/>
                    <a:pt x="0" y="2193"/>
                  </a:cubicBezTo>
                  <a:cubicBezTo>
                    <a:pt x="0" y="2230"/>
                    <a:pt x="31" y="2267"/>
                    <a:pt x="74" y="2267"/>
                  </a:cubicBezTo>
                  <a:cubicBezTo>
                    <a:pt x="1104" y="2267"/>
                    <a:pt x="1104" y="2267"/>
                    <a:pt x="1104" y="2267"/>
                  </a:cubicBezTo>
                  <a:cubicBezTo>
                    <a:pt x="1153" y="2267"/>
                    <a:pt x="1184" y="2230"/>
                    <a:pt x="1184" y="2193"/>
                  </a:cubicBezTo>
                  <a:cubicBezTo>
                    <a:pt x="1184" y="79"/>
                    <a:pt x="1184" y="79"/>
                    <a:pt x="1184" y="79"/>
                  </a:cubicBezTo>
                  <a:cubicBezTo>
                    <a:pt x="1184" y="36"/>
                    <a:pt x="1153" y="0"/>
                    <a:pt x="1104" y="0"/>
                  </a:cubicBezTo>
                  <a:close/>
                  <a:moveTo>
                    <a:pt x="580" y="2163"/>
                  </a:moveTo>
                  <a:cubicBezTo>
                    <a:pt x="531" y="2157"/>
                    <a:pt x="531" y="2157"/>
                    <a:pt x="531" y="2157"/>
                  </a:cubicBezTo>
                  <a:cubicBezTo>
                    <a:pt x="531" y="2114"/>
                    <a:pt x="531" y="2114"/>
                    <a:pt x="531" y="2114"/>
                  </a:cubicBezTo>
                  <a:cubicBezTo>
                    <a:pt x="580" y="2114"/>
                    <a:pt x="580" y="2114"/>
                    <a:pt x="580" y="2114"/>
                  </a:cubicBezTo>
                  <a:cubicBezTo>
                    <a:pt x="580" y="2163"/>
                    <a:pt x="580" y="2163"/>
                    <a:pt x="580" y="2163"/>
                  </a:cubicBezTo>
                  <a:cubicBezTo>
                    <a:pt x="580" y="2163"/>
                    <a:pt x="580" y="2163"/>
                    <a:pt x="580" y="2163"/>
                  </a:cubicBezTo>
                  <a:close/>
                  <a:moveTo>
                    <a:pt x="580" y="2108"/>
                  </a:moveTo>
                  <a:cubicBezTo>
                    <a:pt x="531" y="2108"/>
                    <a:pt x="531" y="2108"/>
                    <a:pt x="531" y="2108"/>
                  </a:cubicBezTo>
                  <a:cubicBezTo>
                    <a:pt x="531" y="2065"/>
                    <a:pt x="531" y="2065"/>
                    <a:pt x="531" y="2065"/>
                  </a:cubicBezTo>
                  <a:cubicBezTo>
                    <a:pt x="580" y="2059"/>
                    <a:pt x="580" y="2059"/>
                    <a:pt x="580" y="2059"/>
                  </a:cubicBezTo>
                  <a:cubicBezTo>
                    <a:pt x="580" y="2108"/>
                    <a:pt x="580" y="2108"/>
                    <a:pt x="580" y="2108"/>
                  </a:cubicBezTo>
                  <a:cubicBezTo>
                    <a:pt x="580" y="2108"/>
                    <a:pt x="580" y="2108"/>
                    <a:pt x="580" y="2108"/>
                  </a:cubicBezTo>
                  <a:close/>
                  <a:moveTo>
                    <a:pt x="654" y="2175"/>
                  </a:moveTo>
                  <a:cubicBezTo>
                    <a:pt x="586" y="2163"/>
                    <a:pt x="586" y="2163"/>
                    <a:pt x="586" y="2163"/>
                  </a:cubicBezTo>
                  <a:cubicBezTo>
                    <a:pt x="586" y="2114"/>
                    <a:pt x="586" y="2114"/>
                    <a:pt x="586" y="2114"/>
                  </a:cubicBezTo>
                  <a:cubicBezTo>
                    <a:pt x="654" y="2114"/>
                    <a:pt x="654" y="2114"/>
                    <a:pt x="654" y="2114"/>
                  </a:cubicBezTo>
                  <a:cubicBezTo>
                    <a:pt x="654" y="2175"/>
                    <a:pt x="654" y="2175"/>
                    <a:pt x="654" y="2175"/>
                  </a:cubicBezTo>
                  <a:cubicBezTo>
                    <a:pt x="654" y="2175"/>
                    <a:pt x="654" y="2175"/>
                    <a:pt x="654" y="2175"/>
                  </a:cubicBezTo>
                  <a:close/>
                  <a:moveTo>
                    <a:pt x="654" y="2108"/>
                  </a:moveTo>
                  <a:cubicBezTo>
                    <a:pt x="586" y="2108"/>
                    <a:pt x="586" y="2108"/>
                    <a:pt x="586" y="2108"/>
                  </a:cubicBezTo>
                  <a:cubicBezTo>
                    <a:pt x="586" y="2059"/>
                    <a:pt x="586" y="2059"/>
                    <a:pt x="586" y="2059"/>
                  </a:cubicBezTo>
                  <a:cubicBezTo>
                    <a:pt x="654" y="2046"/>
                    <a:pt x="654" y="2046"/>
                    <a:pt x="654" y="2046"/>
                  </a:cubicBezTo>
                  <a:cubicBezTo>
                    <a:pt x="654" y="2108"/>
                    <a:pt x="654" y="2108"/>
                    <a:pt x="654" y="2108"/>
                  </a:cubicBezTo>
                  <a:cubicBezTo>
                    <a:pt x="654" y="2108"/>
                    <a:pt x="654" y="2108"/>
                    <a:pt x="654" y="2108"/>
                  </a:cubicBezTo>
                  <a:close/>
                  <a:moveTo>
                    <a:pt x="1080" y="1961"/>
                  </a:moveTo>
                  <a:cubicBezTo>
                    <a:pt x="111" y="1961"/>
                    <a:pt x="111" y="1961"/>
                    <a:pt x="111" y="1961"/>
                  </a:cubicBezTo>
                  <a:cubicBezTo>
                    <a:pt x="111" y="355"/>
                    <a:pt x="111" y="184"/>
                    <a:pt x="111" y="184"/>
                  </a:cubicBezTo>
                  <a:cubicBezTo>
                    <a:pt x="1080" y="184"/>
                    <a:pt x="1080" y="184"/>
                    <a:pt x="1080" y="184"/>
                  </a:cubicBezTo>
                  <a:cubicBezTo>
                    <a:pt x="1080" y="1961"/>
                    <a:pt x="1080" y="1961"/>
                    <a:pt x="1080" y="1961"/>
                  </a:cubicBezTo>
                  <a:cubicBezTo>
                    <a:pt x="1080" y="1961"/>
                    <a:pt x="1080" y="1961"/>
                    <a:pt x="1080" y="1961"/>
                  </a:cubicBezTo>
                  <a:close/>
                </a:path>
              </a:pathLst>
            </a:custGeom>
            <a:solidFill>
              <a:schemeClr val="bg1">
                <a:lumMod val="40000"/>
                <a:lumOff val="60000"/>
              </a:schemeClr>
            </a:solidFill>
            <a:ln>
              <a:noFill/>
            </a:ln>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grpSp>
      <p:grpSp>
        <p:nvGrpSpPr>
          <p:cNvPr id="47" name="Group 46"/>
          <p:cNvGrpSpPr/>
          <p:nvPr/>
        </p:nvGrpSpPr>
        <p:grpSpPr>
          <a:xfrm>
            <a:off x="5708970" y="3554499"/>
            <a:ext cx="817466" cy="1574048"/>
            <a:chOff x="7158168" y="4000263"/>
            <a:chExt cx="672875" cy="1295637"/>
          </a:xfrm>
        </p:grpSpPr>
        <p:sp>
          <p:nvSpPr>
            <p:cNvPr id="44" name="Rectangle 43"/>
            <p:cNvSpPr/>
            <p:nvPr/>
          </p:nvSpPr>
          <p:spPr bwMode="auto">
            <a:xfrm>
              <a:off x="7158168" y="4000263"/>
              <a:ext cx="672875" cy="129563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31" name="Freeform 13"/>
            <p:cNvSpPr>
              <a:spLocks/>
            </p:cNvSpPr>
            <p:nvPr/>
          </p:nvSpPr>
          <p:spPr bwMode="auto">
            <a:xfrm>
              <a:off x="7273333" y="4452029"/>
              <a:ext cx="407126" cy="406627"/>
            </a:xfrm>
            <a:custGeom>
              <a:avLst/>
              <a:gdLst>
                <a:gd name="T0" fmla="*/ 1465 w 1803"/>
                <a:gd name="T1" fmla="*/ 1093 h 1802"/>
                <a:gd name="T2" fmla="*/ 1803 w 1803"/>
                <a:gd name="T3" fmla="*/ 1385 h 1802"/>
                <a:gd name="T4" fmla="*/ 1375 w 1803"/>
                <a:gd name="T5" fmla="*/ 1802 h 1802"/>
                <a:gd name="T6" fmla="*/ 0 w 1803"/>
                <a:gd name="T7" fmla="*/ 417 h 1802"/>
                <a:gd name="T8" fmla="*/ 406 w 1803"/>
                <a:gd name="T9" fmla="*/ 0 h 1802"/>
                <a:gd name="T10" fmla="*/ 699 w 1803"/>
                <a:gd name="T11" fmla="*/ 327 h 1802"/>
                <a:gd name="T12" fmla="*/ 620 w 1803"/>
                <a:gd name="T13" fmla="*/ 631 h 1802"/>
                <a:gd name="T14" fmla="*/ 699 w 1803"/>
                <a:gd name="T15" fmla="*/ 856 h 1802"/>
                <a:gd name="T16" fmla="*/ 845 w 1803"/>
                <a:gd name="T17" fmla="*/ 1025 h 1802"/>
                <a:gd name="T18" fmla="*/ 1127 w 1803"/>
                <a:gd name="T19" fmla="*/ 1171 h 1802"/>
                <a:gd name="T20" fmla="*/ 1465 w 1803"/>
                <a:gd name="T21" fmla="*/ 1093 h 1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3" h="1802">
                  <a:moveTo>
                    <a:pt x="1465" y="1093"/>
                  </a:moveTo>
                  <a:cubicBezTo>
                    <a:pt x="1803" y="1385"/>
                    <a:pt x="1803" y="1385"/>
                    <a:pt x="1803" y="1385"/>
                  </a:cubicBezTo>
                  <a:cubicBezTo>
                    <a:pt x="1736" y="1588"/>
                    <a:pt x="1612" y="1701"/>
                    <a:pt x="1375" y="1802"/>
                  </a:cubicBezTo>
                  <a:cubicBezTo>
                    <a:pt x="845" y="1577"/>
                    <a:pt x="214" y="957"/>
                    <a:pt x="0" y="417"/>
                  </a:cubicBezTo>
                  <a:cubicBezTo>
                    <a:pt x="90" y="169"/>
                    <a:pt x="192" y="57"/>
                    <a:pt x="406" y="0"/>
                  </a:cubicBezTo>
                  <a:cubicBezTo>
                    <a:pt x="699" y="327"/>
                    <a:pt x="699" y="327"/>
                    <a:pt x="699" y="327"/>
                  </a:cubicBezTo>
                  <a:cubicBezTo>
                    <a:pt x="620" y="631"/>
                    <a:pt x="620" y="631"/>
                    <a:pt x="620" y="631"/>
                  </a:cubicBezTo>
                  <a:cubicBezTo>
                    <a:pt x="620" y="710"/>
                    <a:pt x="654" y="800"/>
                    <a:pt x="699" y="856"/>
                  </a:cubicBezTo>
                  <a:cubicBezTo>
                    <a:pt x="721" y="879"/>
                    <a:pt x="767" y="946"/>
                    <a:pt x="845" y="1025"/>
                  </a:cubicBezTo>
                  <a:cubicBezTo>
                    <a:pt x="958" y="1126"/>
                    <a:pt x="1037" y="1171"/>
                    <a:pt x="1127" y="1171"/>
                  </a:cubicBezTo>
                  <a:cubicBezTo>
                    <a:pt x="1161" y="1171"/>
                    <a:pt x="1274" y="1149"/>
                    <a:pt x="1465" y="109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grpSp>
      <p:grpSp>
        <p:nvGrpSpPr>
          <p:cNvPr id="16" name="Group 15"/>
          <p:cNvGrpSpPr/>
          <p:nvPr/>
        </p:nvGrpSpPr>
        <p:grpSpPr>
          <a:xfrm>
            <a:off x="8149483" y="1868186"/>
            <a:ext cx="3808273" cy="3808273"/>
            <a:chOff x="8313738" y="1904509"/>
            <a:chExt cx="3886200" cy="3886200"/>
          </a:xfrm>
        </p:grpSpPr>
        <p:sp>
          <p:nvSpPr>
            <p:cNvPr id="6" name="Rectangle 5"/>
            <p:cNvSpPr/>
            <p:nvPr/>
          </p:nvSpPr>
          <p:spPr bwMode="auto">
            <a:xfrm>
              <a:off x="8313738" y="1904509"/>
              <a:ext cx="3886200" cy="3886200"/>
            </a:xfrm>
            <a:prstGeom prst="rect">
              <a:avLst/>
            </a:prstGeom>
            <a:solidFill>
              <a:schemeClr val="tx1"/>
            </a:solidFill>
            <a:ln w="38100" cap="sq">
              <a:solidFill>
                <a:schemeClr val="bg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12" tIns="143371" rIns="179212" bIns="143371" numCol="1" rtlCol="0" anchor="t" anchorCtr="0" compatLnSpc="1">
              <a:prstTxWarp prst="textNoShape">
                <a:avLst/>
              </a:prstTxWarp>
            </a:bodyPr>
            <a:lstStyle/>
            <a:p>
              <a:pPr defTabSz="931924" fontAlgn="base">
                <a:spcBef>
                  <a:spcPct val="0"/>
                </a:spcBef>
                <a:spcAft>
                  <a:spcPct val="0"/>
                </a:spcAft>
              </a:pPr>
              <a:r>
                <a:rPr lang="en-US" sz="3919" dirty="0">
                  <a:gradFill>
                    <a:gsLst>
                      <a:gs pos="0">
                        <a:srgbClr val="008272"/>
                      </a:gs>
                      <a:gs pos="100000">
                        <a:srgbClr val="008272"/>
                      </a:gs>
                    </a:gsLst>
                    <a:lin ang="5400000" scaled="0"/>
                  </a:gradFill>
                  <a:latin typeface="Segoe UI Light"/>
                </a:rPr>
                <a:t>Text messages</a:t>
              </a:r>
            </a:p>
          </p:txBody>
        </p:sp>
        <p:sp>
          <p:nvSpPr>
            <p:cNvPr id="38" name="Freeform 19"/>
            <p:cNvSpPr>
              <a:spLocks noEditPoints="1"/>
            </p:cNvSpPr>
            <p:nvPr/>
          </p:nvSpPr>
          <p:spPr bwMode="auto">
            <a:xfrm>
              <a:off x="9693672" y="3408218"/>
              <a:ext cx="1126332" cy="2155948"/>
            </a:xfrm>
            <a:custGeom>
              <a:avLst/>
              <a:gdLst>
                <a:gd name="T0" fmla="*/ 1104 w 1184"/>
                <a:gd name="T1" fmla="*/ 0 h 2267"/>
                <a:gd name="T2" fmla="*/ 74 w 1184"/>
                <a:gd name="T3" fmla="*/ 0 h 2267"/>
                <a:gd name="T4" fmla="*/ 0 w 1184"/>
                <a:gd name="T5" fmla="*/ 79 h 2267"/>
                <a:gd name="T6" fmla="*/ 0 w 1184"/>
                <a:gd name="T7" fmla="*/ 2193 h 2267"/>
                <a:gd name="T8" fmla="*/ 74 w 1184"/>
                <a:gd name="T9" fmla="*/ 2267 h 2267"/>
                <a:gd name="T10" fmla="*/ 1104 w 1184"/>
                <a:gd name="T11" fmla="*/ 2267 h 2267"/>
                <a:gd name="T12" fmla="*/ 1184 w 1184"/>
                <a:gd name="T13" fmla="*/ 2193 h 2267"/>
                <a:gd name="T14" fmla="*/ 1184 w 1184"/>
                <a:gd name="T15" fmla="*/ 79 h 2267"/>
                <a:gd name="T16" fmla="*/ 1104 w 1184"/>
                <a:gd name="T17" fmla="*/ 0 h 2267"/>
                <a:gd name="T18" fmla="*/ 580 w 1184"/>
                <a:gd name="T19" fmla="*/ 2163 h 2267"/>
                <a:gd name="T20" fmla="*/ 531 w 1184"/>
                <a:gd name="T21" fmla="*/ 2157 h 2267"/>
                <a:gd name="T22" fmla="*/ 531 w 1184"/>
                <a:gd name="T23" fmla="*/ 2114 h 2267"/>
                <a:gd name="T24" fmla="*/ 580 w 1184"/>
                <a:gd name="T25" fmla="*/ 2114 h 2267"/>
                <a:gd name="T26" fmla="*/ 580 w 1184"/>
                <a:gd name="T27" fmla="*/ 2163 h 2267"/>
                <a:gd name="T28" fmla="*/ 580 w 1184"/>
                <a:gd name="T29" fmla="*/ 2163 h 2267"/>
                <a:gd name="T30" fmla="*/ 580 w 1184"/>
                <a:gd name="T31" fmla="*/ 2108 h 2267"/>
                <a:gd name="T32" fmla="*/ 531 w 1184"/>
                <a:gd name="T33" fmla="*/ 2108 h 2267"/>
                <a:gd name="T34" fmla="*/ 531 w 1184"/>
                <a:gd name="T35" fmla="*/ 2065 h 2267"/>
                <a:gd name="T36" fmla="*/ 580 w 1184"/>
                <a:gd name="T37" fmla="*/ 2059 h 2267"/>
                <a:gd name="T38" fmla="*/ 580 w 1184"/>
                <a:gd name="T39" fmla="*/ 2108 h 2267"/>
                <a:gd name="T40" fmla="*/ 580 w 1184"/>
                <a:gd name="T41" fmla="*/ 2108 h 2267"/>
                <a:gd name="T42" fmla="*/ 654 w 1184"/>
                <a:gd name="T43" fmla="*/ 2175 h 2267"/>
                <a:gd name="T44" fmla="*/ 586 w 1184"/>
                <a:gd name="T45" fmla="*/ 2163 h 2267"/>
                <a:gd name="T46" fmla="*/ 586 w 1184"/>
                <a:gd name="T47" fmla="*/ 2114 h 2267"/>
                <a:gd name="T48" fmla="*/ 654 w 1184"/>
                <a:gd name="T49" fmla="*/ 2114 h 2267"/>
                <a:gd name="T50" fmla="*/ 654 w 1184"/>
                <a:gd name="T51" fmla="*/ 2175 h 2267"/>
                <a:gd name="T52" fmla="*/ 654 w 1184"/>
                <a:gd name="T53" fmla="*/ 2175 h 2267"/>
                <a:gd name="T54" fmla="*/ 654 w 1184"/>
                <a:gd name="T55" fmla="*/ 2108 h 2267"/>
                <a:gd name="T56" fmla="*/ 586 w 1184"/>
                <a:gd name="T57" fmla="*/ 2108 h 2267"/>
                <a:gd name="T58" fmla="*/ 586 w 1184"/>
                <a:gd name="T59" fmla="*/ 2059 h 2267"/>
                <a:gd name="T60" fmla="*/ 654 w 1184"/>
                <a:gd name="T61" fmla="*/ 2046 h 2267"/>
                <a:gd name="T62" fmla="*/ 654 w 1184"/>
                <a:gd name="T63" fmla="*/ 2108 h 2267"/>
                <a:gd name="T64" fmla="*/ 654 w 1184"/>
                <a:gd name="T65" fmla="*/ 2108 h 2267"/>
                <a:gd name="T66" fmla="*/ 1080 w 1184"/>
                <a:gd name="T67" fmla="*/ 1961 h 2267"/>
                <a:gd name="T68" fmla="*/ 111 w 1184"/>
                <a:gd name="T69" fmla="*/ 1961 h 2267"/>
                <a:gd name="T70" fmla="*/ 111 w 1184"/>
                <a:gd name="T71" fmla="*/ 184 h 2267"/>
                <a:gd name="T72" fmla="*/ 1080 w 1184"/>
                <a:gd name="T73" fmla="*/ 184 h 2267"/>
                <a:gd name="T74" fmla="*/ 1080 w 1184"/>
                <a:gd name="T75" fmla="*/ 1961 h 2267"/>
                <a:gd name="T76" fmla="*/ 1080 w 1184"/>
                <a:gd name="T77" fmla="*/ 1961 h 2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4" h="2267">
                  <a:moveTo>
                    <a:pt x="1104" y="0"/>
                  </a:moveTo>
                  <a:cubicBezTo>
                    <a:pt x="74" y="0"/>
                    <a:pt x="74" y="0"/>
                    <a:pt x="74" y="0"/>
                  </a:cubicBezTo>
                  <a:cubicBezTo>
                    <a:pt x="31" y="0"/>
                    <a:pt x="0" y="36"/>
                    <a:pt x="0" y="79"/>
                  </a:cubicBezTo>
                  <a:cubicBezTo>
                    <a:pt x="0" y="2193"/>
                    <a:pt x="0" y="2193"/>
                    <a:pt x="0" y="2193"/>
                  </a:cubicBezTo>
                  <a:cubicBezTo>
                    <a:pt x="0" y="2230"/>
                    <a:pt x="31" y="2267"/>
                    <a:pt x="74" y="2267"/>
                  </a:cubicBezTo>
                  <a:cubicBezTo>
                    <a:pt x="1104" y="2267"/>
                    <a:pt x="1104" y="2267"/>
                    <a:pt x="1104" y="2267"/>
                  </a:cubicBezTo>
                  <a:cubicBezTo>
                    <a:pt x="1153" y="2267"/>
                    <a:pt x="1184" y="2230"/>
                    <a:pt x="1184" y="2193"/>
                  </a:cubicBezTo>
                  <a:cubicBezTo>
                    <a:pt x="1184" y="79"/>
                    <a:pt x="1184" y="79"/>
                    <a:pt x="1184" y="79"/>
                  </a:cubicBezTo>
                  <a:cubicBezTo>
                    <a:pt x="1184" y="36"/>
                    <a:pt x="1153" y="0"/>
                    <a:pt x="1104" y="0"/>
                  </a:cubicBezTo>
                  <a:close/>
                  <a:moveTo>
                    <a:pt x="580" y="2163"/>
                  </a:moveTo>
                  <a:cubicBezTo>
                    <a:pt x="531" y="2157"/>
                    <a:pt x="531" y="2157"/>
                    <a:pt x="531" y="2157"/>
                  </a:cubicBezTo>
                  <a:cubicBezTo>
                    <a:pt x="531" y="2114"/>
                    <a:pt x="531" y="2114"/>
                    <a:pt x="531" y="2114"/>
                  </a:cubicBezTo>
                  <a:cubicBezTo>
                    <a:pt x="580" y="2114"/>
                    <a:pt x="580" y="2114"/>
                    <a:pt x="580" y="2114"/>
                  </a:cubicBezTo>
                  <a:cubicBezTo>
                    <a:pt x="580" y="2163"/>
                    <a:pt x="580" y="2163"/>
                    <a:pt x="580" y="2163"/>
                  </a:cubicBezTo>
                  <a:cubicBezTo>
                    <a:pt x="580" y="2163"/>
                    <a:pt x="580" y="2163"/>
                    <a:pt x="580" y="2163"/>
                  </a:cubicBezTo>
                  <a:close/>
                  <a:moveTo>
                    <a:pt x="580" y="2108"/>
                  </a:moveTo>
                  <a:cubicBezTo>
                    <a:pt x="531" y="2108"/>
                    <a:pt x="531" y="2108"/>
                    <a:pt x="531" y="2108"/>
                  </a:cubicBezTo>
                  <a:cubicBezTo>
                    <a:pt x="531" y="2065"/>
                    <a:pt x="531" y="2065"/>
                    <a:pt x="531" y="2065"/>
                  </a:cubicBezTo>
                  <a:cubicBezTo>
                    <a:pt x="580" y="2059"/>
                    <a:pt x="580" y="2059"/>
                    <a:pt x="580" y="2059"/>
                  </a:cubicBezTo>
                  <a:cubicBezTo>
                    <a:pt x="580" y="2108"/>
                    <a:pt x="580" y="2108"/>
                    <a:pt x="580" y="2108"/>
                  </a:cubicBezTo>
                  <a:cubicBezTo>
                    <a:pt x="580" y="2108"/>
                    <a:pt x="580" y="2108"/>
                    <a:pt x="580" y="2108"/>
                  </a:cubicBezTo>
                  <a:close/>
                  <a:moveTo>
                    <a:pt x="654" y="2175"/>
                  </a:moveTo>
                  <a:cubicBezTo>
                    <a:pt x="586" y="2163"/>
                    <a:pt x="586" y="2163"/>
                    <a:pt x="586" y="2163"/>
                  </a:cubicBezTo>
                  <a:cubicBezTo>
                    <a:pt x="586" y="2114"/>
                    <a:pt x="586" y="2114"/>
                    <a:pt x="586" y="2114"/>
                  </a:cubicBezTo>
                  <a:cubicBezTo>
                    <a:pt x="654" y="2114"/>
                    <a:pt x="654" y="2114"/>
                    <a:pt x="654" y="2114"/>
                  </a:cubicBezTo>
                  <a:cubicBezTo>
                    <a:pt x="654" y="2175"/>
                    <a:pt x="654" y="2175"/>
                    <a:pt x="654" y="2175"/>
                  </a:cubicBezTo>
                  <a:cubicBezTo>
                    <a:pt x="654" y="2175"/>
                    <a:pt x="654" y="2175"/>
                    <a:pt x="654" y="2175"/>
                  </a:cubicBezTo>
                  <a:close/>
                  <a:moveTo>
                    <a:pt x="654" y="2108"/>
                  </a:moveTo>
                  <a:cubicBezTo>
                    <a:pt x="586" y="2108"/>
                    <a:pt x="586" y="2108"/>
                    <a:pt x="586" y="2108"/>
                  </a:cubicBezTo>
                  <a:cubicBezTo>
                    <a:pt x="586" y="2059"/>
                    <a:pt x="586" y="2059"/>
                    <a:pt x="586" y="2059"/>
                  </a:cubicBezTo>
                  <a:cubicBezTo>
                    <a:pt x="654" y="2046"/>
                    <a:pt x="654" y="2046"/>
                    <a:pt x="654" y="2046"/>
                  </a:cubicBezTo>
                  <a:cubicBezTo>
                    <a:pt x="654" y="2108"/>
                    <a:pt x="654" y="2108"/>
                    <a:pt x="654" y="2108"/>
                  </a:cubicBezTo>
                  <a:cubicBezTo>
                    <a:pt x="654" y="2108"/>
                    <a:pt x="654" y="2108"/>
                    <a:pt x="654" y="2108"/>
                  </a:cubicBezTo>
                  <a:close/>
                  <a:moveTo>
                    <a:pt x="1080" y="1961"/>
                  </a:moveTo>
                  <a:cubicBezTo>
                    <a:pt x="111" y="1961"/>
                    <a:pt x="111" y="1961"/>
                    <a:pt x="111" y="1961"/>
                  </a:cubicBezTo>
                  <a:cubicBezTo>
                    <a:pt x="111" y="355"/>
                    <a:pt x="111" y="184"/>
                    <a:pt x="111" y="184"/>
                  </a:cubicBezTo>
                  <a:cubicBezTo>
                    <a:pt x="1080" y="184"/>
                    <a:pt x="1080" y="184"/>
                    <a:pt x="1080" y="184"/>
                  </a:cubicBezTo>
                  <a:cubicBezTo>
                    <a:pt x="1080" y="1961"/>
                    <a:pt x="1080" y="1961"/>
                    <a:pt x="1080" y="1961"/>
                  </a:cubicBezTo>
                  <a:cubicBezTo>
                    <a:pt x="1080" y="1961"/>
                    <a:pt x="1080" y="1961"/>
                    <a:pt x="1080" y="1961"/>
                  </a:cubicBezTo>
                  <a:close/>
                </a:path>
              </a:pathLst>
            </a:custGeom>
            <a:solidFill>
              <a:schemeClr val="bg1">
                <a:lumMod val="40000"/>
                <a:lumOff val="60000"/>
              </a:schemeClr>
            </a:solidFill>
            <a:ln>
              <a:noFill/>
            </a:ln>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grpSp>
      <p:sp>
        <p:nvSpPr>
          <p:cNvPr id="61" name="Rectangle 60"/>
          <p:cNvSpPr/>
          <p:nvPr/>
        </p:nvSpPr>
        <p:spPr bwMode="auto">
          <a:xfrm>
            <a:off x="9643004" y="3555026"/>
            <a:ext cx="829253" cy="157612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50" name="Group 49"/>
          <p:cNvGrpSpPr/>
          <p:nvPr/>
        </p:nvGrpSpPr>
        <p:grpSpPr>
          <a:xfrm>
            <a:off x="9697890" y="4105423"/>
            <a:ext cx="719483" cy="475333"/>
            <a:chOff x="11226697" y="4229245"/>
            <a:chExt cx="591441" cy="390741"/>
          </a:xfrm>
          <a:solidFill>
            <a:schemeClr val="bg1">
              <a:lumMod val="20000"/>
              <a:lumOff val="80000"/>
            </a:schemeClr>
          </a:solidFill>
        </p:grpSpPr>
        <p:sp>
          <p:nvSpPr>
            <p:cNvPr id="92" name="Rectangular Callout 91"/>
            <p:cNvSpPr/>
            <p:nvPr/>
          </p:nvSpPr>
          <p:spPr bwMode="auto">
            <a:xfrm>
              <a:off x="11226697" y="4229245"/>
              <a:ext cx="591441" cy="390741"/>
            </a:xfrm>
            <a:prstGeom prst="wedgeRectCallout">
              <a:avLst>
                <a:gd name="adj1" fmla="val -33249"/>
                <a:gd name="adj2" fmla="val 70168"/>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10" name="Rectangle 9"/>
            <p:cNvSpPr/>
            <p:nvPr/>
          </p:nvSpPr>
          <p:spPr bwMode="auto">
            <a:xfrm>
              <a:off x="11293817" y="4367483"/>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62" name="Rectangle 61"/>
            <p:cNvSpPr/>
            <p:nvPr/>
          </p:nvSpPr>
          <p:spPr bwMode="auto">
            <a:xfrm>
              <a:off x="11293817" y="4409418"/>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63" name="Rectangle 62"/>
            <p:cNvSpPr/>
            <p:nvPr/>
          </p:nvSpPr>
          <p:spPr bwMode="auto">
            <a:xfrm>
              <a:off x="11293817" y="4451353"/>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64" name="Rectangle 63"/>
            <p:cNvSpPr/>
            <p:nvPr/>
          </p:nvSpPr>
          <p:spPr bwMode="auto">
            <a:xfrm>
              <a:off x="11293817" y="4493288"/>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65" name="Rectangle 64"/>
            <p:cNvSpPr/>
            <p:nvPr/>
          </p:nvSpPr>
          <p:spPr bwMode="auto">
            <a:xfrm>
              <a:off x="11293817" y="4535225"/>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67" name="Rectangle 66"/>
            <p:cNvSpPr/>
            <p:nvPr/>
          </p:nvSpPr>
          <p:spPr bwMode="auto">
            <a:xfrm>
              <a:off x="11293817" y="4283613"/>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69" name="Rectangle 68"/>
            <p:cNvSpPr/>
            <p:nvPr/>
          </p:nvSpPr>
          <p:spPr bwMode="auto">
            <a:xfrm>
              <a:off x="11293817" y="4325548"/>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sp>
        <p:nvSpPr>
          <p:cNvPr id="46" name="Freeform 14"/>
          <p:cNvSpPr>
            <a:spLocks/>
          </p:cNvSpPr>
          <p:nvPr/>
        </p:nvSpPr>
        <p:spPr bwMode="auto">
          <a:xfrm>
            <a:off x="6094732" y="4188339"/>
            <a:ext cx="177989" cy="146842"/>
          </a:xfrm>
          <a:custGeom>
            <a:avLst/>
            <a:gdLst>
              <a:gd name="T0" fmla="*/ 34 w 530"/>
              <a:gd name="T1" fmla="*/ 0 h 439"/>
              <a:gd name="T2" fmla="*/ 0 w 530"/>
              <a:gd name="T3" fmla="*/ 34 h 439"/>
              <a:gd name="T4" fmla="*/ 0 w 530"/>
              <a:gd name="T5" fmla="*/ 57 h 439"/>
              <a:gd name="T6" fmla="*/ 34 w 530"/>
              <a:gd name="T7" fmla="*/ 90 h 439"/>
              <a:gd name="T8" fmla="*/ 440 w 530"/>
              <a:gd name="T9" fmla="*/ 417 h 439"/>
              <a:gd name="T10" fmla="*/ 473 w 530"/>
              <a:gd name="T11" fmla="*/ 439 h 439"/>
              <a:gd name="T12" fmla="*/ 496 w 530"/>
              <a:gd name="T13" fmla="*/ 439 h 439"/>
              <a:gd name="T14" fmla="*/ 530 w 530"/>
              <a:gd name="T15" fmla="*/ 428 h 439"/>
              <a:gd name="T16" fmla="*/ 530 w 530"/>
              <a:gd name="T17" fmla="*/ 406 h 439"/>
              <a:gd name="T18" fmla="*/ 34 w 530"/>
              <a:gd name="T19" fmla="*/ 0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0" h="439">
                <a:moveTo>
                  <a:pt x="34" y="0"/>
                </a:moveTo>
                <a:cubicBezTo>
                  <a:pt x="23" y="0"/>
                  <a:pt x="0" y="11"/>
                  <a:pt x="0" y="34"/>
                </a:cubicBezTo>
                <a:cubicBezTo>
                  <a:pt x="0" y="57"/>
                  <a:pt x="0" y="57"/>
                  <a:pt x="0" y="57"/>
                </a:cubicBezTo>
                <a:cubicBezTo>
                  <a:pt x="0" y="79"/>
                  <a:pt x="23" y="90"/>
                  <a:pt x="34" y="90"/>
                </a:cubicBezTo>
                <a:cubicBezTo>
                  <a:pt x="248" y="90"/>
                  <a:pt x="383" y="203"/>
                  <a:pt x="440" y="417"/>
                </a:cubicBezTo>
                <a:cubicBezTo>
                  <a:pt x="440" y="428"/>
                  <a:pt x="451" y="439"/>
                  <a:pt x="473" y="439"/>
                </a:cubicBezTo>
                <a:cubicBezTo>
                  <a:pt x="496" y="439"/>
                  <a:pt x="496" y="439"/>
                  <a:pt x="496" y="439"/>
                </a:cubicBezTo>
                <a:cubicBezTo>
                  <a:pt x="507" y="439"/>
                  <a:pt x="518" y="439"/>
                  <a:pt x="530" y="428"/>
                </a:cubicBezTo>
                <a:cubicBezTo>
                  <a:pt x="530" y="428"/>
                  <a:pt x="530" y="417"/>
                  <a:pt x="530" y="406"/>
                </a:cubicBezTo>
                <a:cubicBezTo>
                  <a:pt x="473" y="147"/>
                  <a:pt x="293" y="0"/>
                  <a:pt x="34" y="0"/>
                </a:cubicBezTo>
                <a:close/>
              </a:path>
            </a:pathLst>
          </a:custGeom>
          <a:solidFill>
            <a:schemeClr val="bg2"/>
          </a:solidFill>
          <a:ln>
            <a:noFill/>
          </a:ln>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sp>
        <p:nvSpPr>
          <p:cNvPr id="48" name="Freeform 15"/>
          <p:cNvSpPr>
            <a:spLocks/>
          </p:cNvSpPr>
          <p:nvPr/>
        </p:nvSpPr>
        <p:spPr bwMode="auto">
          <a:xfrm>
            <a:off x="6098864" y="4116567"/>
            <a:ext cx="238060" cy="203947"/>
          </a:xfrm>
          <a:custGeom>
            <a:avLst/>
            <a:gdLst>
              <a:gd name="T0" fmla="*/ 34 w 710"/>
              <a:gd name="T1" fmla="*/ 11 h 608"/>
              <a:gd name="T2" fmla="*/ 11 w 710"/>
              <a:gd name="T3" fmla="*/ 11 h 608"/>
              <a:gd name="T4" fmla="*/ 0 w 710"/>
              <a:gd name="T5" fmla="*/ 45 h 608"/>
              <a:gd name="T6" fmla="*/ 0 w 710"/>
              <a:gd name="T7" fmla="*/ 67 h 608"/>
              <a:gd name="T8" fmla="*/ 22 w 710"/>
              <a:gd name="T9" fmla="*/ 101 h 608"/>
              <a:gd name="T10" fmla="*/ 620 w 710"/>
              <a:gd name="T11" fmla="*/ 585 h 608"/>
              <a:gd name="T12" fmla="*/ 654 w 710"/>
              <a:gd name="T13" fmla="*/ 608 h 608"/>
              <a:gd name="T14" fmla="*/ 676 w 710"/>
              <a:gd name="T15" fmla="*/ 608 h 608"/>
              <a:gd name="T16" fmla="*/ 710 w 710"/>
              <a:gd name="T17" fmla="*/ 596 h 608"/>
              <a:gd name="T18" fmla="*/ 710 w 710"/>
              <a:gd name="T19" fmla="*/ 563 h 608"/>
              <a:gd name="T20" fmla="*/ 34 w 710"/>
              <a:gd name="T21" fmla="*/ 11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0" h="608">
                <a:moveTo>
                  <a:pt x="34" y="11"/>
                </a:moveTo>
                <a:cubicBezTo>
                  <a:pt x="22" y="0"/>
                  <a:pt x="11" y="11"/>
                  <a:pt x="11" y="11"/>
                </a:cubicBezTo>
                <a:cubicBezTo>
                  <a:pt x="0" y="22"/>
                  <a:pt x="0" y="34"/>
                  <a:pt x="0" y="45"/>
                </a:cubicBezTo>
                <a:cubicBezTo>
                  <a:pt x="0" y="67"/>
                  <a:pt x="0" y="67"/>
                  <a:pt x="0" y="67"/>
                </a:cubicBezTo>
                <a:cubicBezTo>
                  <a:pt x="0" y="79"/>
                  <a:pt x="11" y="101"/>
                  <a:pt x="22" y="101"/>
                </a:cubicBezTo>
                <a:cubicBezTo>
                  <a:pt x="327" y="124"/>
                  <a:pt x="541" y="293"/>
                  <a:pt x="620" y="585"/>
                </a:cubicBezTo>
                <a:cubicBezTo>
                  <a:pt x="620" y="596"/>
                  <a:pt x="631" y="608"/>
                  <a:pt x="654" y="608"/>
                </a:cubicBezTo>
                <a:cubicBezTo>
                  <a:pt x="676" y="608"/>
                  <a:pt x="676" y="608"/>
                  <a:pt x="676" y="608"/>
                </a:cubicBezTo>
                <a:cubicBezTo>
                  <a:pt x="687" y="608"/>
                  <a:pt x="699" y="608"/>
                  <a:pt x="710" y="596"/>
                </a:cubicBezTo>
                <a:cubicBezTo>
                  <a:pt x="710" y="585"/>
                  <a:pt x="710" y="574"/>
                  <a:pt x="710" y="563"/>
                </a:cubicBezTo>
                <a:cubicBezTo>
                  <a:pt x="586" y="214"/>
                  <a:pt x="372" y="34"/>
                  <a:pt x="34" y="11"/>
                </a:cubicBezTo>
                <a:close/>
              </a:path>
            </a:pathLst>
          </a:custGeom>
          <a:solidFill>
            <a:schemeClr val="bg2"/>
          </a:solidFill>
          <a:ln>
            <a:noFill/>
          </a:ln>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sp>
        <p:nvSpPr>
          <p:cNvPr id="49" name="Freeform 16"/>
          <p:cNvSpPr>
            <a:spLocks/>
          </p:cNvSpPr>
          <p:nvPr/>
        </p:nvSpPr>
        <p:spPr bwMode="auto">
          <a:xfrm>
            <a:off x="6101815" y="4056173"/>
            <a:ext cx="294424" cy="249184"/>
          </a:xfrm>
          <a:custGeom>
            <a:avLst/>
            <a:gdLst>
              <a:gd name="T0" fmla="*/ 878 w 878"/>
              <a:gd name="T1" fmla="*/ 698 h 743"/>
              <a:gd name="T2" fmla="*/ 33 w 878"/>
              <a:gd name="T3" fmla="*/ 0 h 743"/>
              <a:gd name="T4" fmla="*/ 11 w 878"/>
              <a:gd name="T5" fmla="*/ 11 h 743"/>
              <a:gd name="T6" fmla="*/ 0 w 878"/>
              <a:gd name="T7" fmla="*/ 34 h 743"/>
              <a:gd name="T8" fmla="*/ 0 w 878"/>
              <a:gd name="T9" fmla="*/ 68 h 743"/>
              <a:gd name="T10" fmla="*/ 33 w 878"/>
              <a:gd name="T11" fmla="*/ 101 h 743"/>
              <a:gd name="T12" fmla="*/ 777 w 878"/>
              <a:gd name="T13" fmla="*/ 721 h 743"/>
              <a:gd name="T14" fmla="*/ 811 w 878"/>
              <a:gd name="T15" fmla="*/ 743 h 743"/>
              <a:gd name="T16" fmla="*/ 845 w 878"/>
              <a:gd name="T17" fmla="*/ 743 h 743"/>
              <a:gd name="T18" fmla="*/ 867 w 878"/>
              <a:gd name="T19" fmla="*/ 732 h 743"/>
              <a:gd name="T20" fmla="*/ 878 w 878"/>
              <a:gd name="T21" fmla="*/ 698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8" h="743">
                <a:moveTo>
                  <a:pt x="878" y="698"/>
                </a:moveTo>
                <a:cubicBezTo>
                  <a:pt x="754" y="270"/>
                  <a:pt x="473" y="34"/>
                  <a:pt x="33" y="0"/>
                </a:cubicBezTo>
                <a:cubicBezTo>
                  <a:pt x="22" y="0"/>
                  <a:pt x="11" y="11"/>
                  <a:pt x="11" y="11"/>
                </a:cubicBezTo>
                <a:cubicBezTo>
                  <a:pt x="0" y="23"/>
                  <a:pt x="0" y="34"/>
                  <a:pt x="0" y="34"/>
                </a:cubicBezTo>
                <a:cubicBezTo>
                  <a:pt x="0" y="68"/>
                  <a:pt x="0" y="68"/>
                  <a:pt x="0" y="68"/>
                </a:cubicBezTo>
                <a:cubicBezTo>
                  <a:pt x="0" y="79"/>
                  <a:pt x="11" y="101"/>
                  <a:pt x="33" y="101"/>
                </a:cubicBezTo>
                <a:cubicBezTo>
                  <a:pt x="428" y="124"/>
                  <a:pt x="676" y="338"/>
                  <a:pt x="777" y="721"/>
                </a:cubicBezTo>
                <a:cubicBezTo>
                  <a:pt x="788" y="732"/>
                  <a:pt x="800" y="743"/>
                  <a:pt x="811" y="743"/>
                </a:cubicBezTo>
                <a:cubicBezTo>
                  <a:pt x="845" y="743"/>
                  <a:pt x="845" y="743"/>
                  <a:pt x="845" y="743"/>
                </a:cubicBezTo>
                <a:cubicBezTo>
                  <a:pt x="856" y="743"/>
                  <a:pt x="867" y="743"/>
                  <a:pt x="867" y="732"/>
                </a:cubicBezTo>
                <a:cubicBezTo>
                  <a:pt x="878" y="721"/>
                  <a:pt x="878" y="710"/>
                  <a:pt x="878" y="698"/>
                </a:cubicBezTo>
                <a:close/>
              </a:path>
            </a:pathLst>
          </a:custGeom>
          <a:solidFill>
            <a:schemeClr val="bg2"/>
          </a:solidFill>
          <a:ln>
            <a:noFill/>
          </a:ln>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sp useBgFill="1">
        <p:nvSpPr>
          <p:cNvPr id="22" name="Rectangle 21"/>
          <p:cNvSpPr/>
          <p:nvPr/>
        </p:nvSpPr>
        <p:spPr bwMode="auto">
          <a:xfrm>
            <a:off x="2454" y="5719127"/>
            <a:ext cx="12187096" cy="117967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3" name="Group 22"/>
          <p:cNvGrpSpPr/>
          <p:nvPr/>
        </p:nvGrpSpPr>
        <p:grpSpPr>
          <a:xfrm>
            <a:off x="1766000" y="3551987"/>
            <a:ext cx="830121" cy="1576129"/>
            <a:chOff x="1799633" y="3622765"/>
            <a:chExt cx="847108" cy="1608381"/>
          </a:xfrm>
        </p:grpSpPr>
        <p:grpSp>
          <p:nvGrpSpPr>
            <p:cNvPr id="7" name="Group 6"/>
            <p:cNvGrpSpPr/>
            <p:nvPr/>
          </p:nvGrpSpPr>
          <p:grpSpPr>
            <a:xfrm>
              <a:off x="1799633" y="3622765"/>
              <a:ext cx="847108" cy="1608381"/>
              <a:chOff x="2893925" y="3622765"/>
              <a:chExt cx="847108" cy="1608381"/>
            </a:xfrm>
          </p:grpSpPr>
          <p:grpSp>
            <p:nvGrpSpPr>
              <p:cNvPr id="20" name="Group 19"/>
              <p:cNvGrpSpPr/>
              <p:nvPr/>
            </p:nvGrpSpPr>
            <p:grpSpPr>
              <a:xfrm>
                <a:off x="2893925" y="3622765"/>
                <a:ext cx="847108" cy="1608381"/>
                <a:chOff x="2944363" y="4000263"/>
                <a:chExt cx="682391" cy="1295637"/>
              </a:xfrm>
            </p:grpSpPr>
            <p:sp>
              <p:nvSpPr>
                <p:cNvPr id="43" name="Rectangle 42"/>
                <p:cNvSpPr/>
                <p:nvPr/>
              </p:nvSpPr>
              <p:spPr bwMode="auto">
                <a:xfrm>
                  <a:off x="2944363" y="4000263"/>
                  <a:ext cx="682391" cy="129563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45" name="Rectangle 44"/>
                <p:cNvSpPr/>
                <p:nvPr/>
              </p:nvSpPr>
              <p:spPr bwMode="auto">
                <a:xfrm>
                  <a:off x="2944363" y="4000263"/>
                  <a:ext cx="682391" cy="186633"/>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13" name="Rectangle 12"/>
                <p:cNvSpPr/>
                <p:nvPr/>
              </p:nvSpPr>
              <p:spPr bwMode="auto">
                <a:xfrm>
                  <a:off x="2991013" y="4241876"/>
                  <a:ext cx="581913" cy="584255"/>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sp>
            <p:nvSpPr>
              <p:cNvPr id="3" name="Rectangle 2"/>
              <p:cNvSpPr/>
              <p:nvPr/>
            </p:nvSpPr>
            <p:spPr bwMode="auto">
              <a:xfrm>
                <a:off x="2951833" y="4683065"/>
                <a:ext cx="722376" cy="153561"/>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ctr" anchorCtr="0" forceAA="0" compatLnSpc="1">
                <a:prstTxWarp prst="textNoShape">
                  <a:avLst/>
                </a:prstTxWarp>
                <a:noAutofit/>
              </a:bodyPr>
              <a:lstStyle/>
              <a:p>
                <a:pPr algn="ctr" defTabSz="895736" fontAlgn="base">
                  <a:lnSpc>
                    <a:spcPct val="90000"/>
                  </a:lnSpc>
                  <a:spcBef>
                    <a:spcPct val="0"/>
                  </a:spcBef>
                  <a:spcAft>
                    <a:spcPct val="0"/>
                  </a:spcAft>
                </a:pPr>
                <a:r>
                  <a:rPr lang="en-US" sz="882" spc="-49" dirty="0">
                    <a:gradFill>
                      <a:gsLst>
                        <a:gs pos="1250">
                          <a:srgbClr val="EFEFEF"/>
                        </a:gs>
                        <a:gs pos="10417">
                          <a:srgbClr val="EFEFEF"/>
                        </a:gs>
                      </a:gsLst>
                      <a:lin ang="5400000" scaled="0"/>
                    </a:gradFill>
                  </a:rPr>
                  <a:t>ALERT</a:t>
                </a:r>
              </a:p>
            </p:txBody>
          </p:sp>
        </p:grpSp>
        <p:sp>
          <p:nvSpPr>
            <p:cNvPr id="21" name="Freeform 5"/>
            <p:cNvSpPr>
              <a:spLocks/>
            </p:cNvSpPr>
            <p:nvPr/>
          </p:nvSpPr>
          <p:spPr bwMode="auto">
            <a:xfrm>
              <a:off x="2022817" y="4055048"/>
              <a:ext cx="388840" cy="511365"/>
            </a:xfrm>
            <a:custGeom>
              <a:avLst/>
              <a:gdLst>
                <a:gd name="T0" fmla="*/ 2 w 1253"/>
                <a:gd name="T1" fmla="*/ 228 h 1648"/>
                <a:gd name="T2" fmla="*/ 627 w 1253"/>
                <a:gd name="T3" fmla="*/ 0 h 1648"/>
                <a:gd name="T4" fmla="*/ 1253 w 1253"/>
                <a:gd name="T5" fmla="*/ 227 h 1648"/>
                <a:gd name="T6" fmla="*/ 1253 w 1253"/>
                <a:gd name="T7" fmla="*/ 254 h 1648"/>
                <a:gd name="T8" fmla="*/ 1253 w 1253"/>
                <a:gd name="T9" fmla="*/ 1014 h 1648"/>
                <a:gd name="T10" fmla="*/ 1114 w 1253"/>
                <a:gd name="T11" fmla="*/ 1329 h 1648"/>
                <a:gd name="T12" fmla="*/ 844 w 1253"/>
                <a:gd name="T13" fmla="*/ 1518 h 1648"/>
                <a:gd name="T14" fmla="*/ 640 w 1253"/>
                <a:gd name="T15" fmla="*/ 1643 h 1648"/>
                <a:gd name="T16" fmla="*/ 617 w 1253"/>
                <a:gd name="T17" fmla="*/ 1645 h 1648"/>
                <a:gd name="T18" fmla="*/ 253 w 1253"/>
                <a:gd name="T19" fmla="*/ 1418 h 1648"/>
                <a:gd name="T20" fmla="*/ 81 w 1253"/>
                <a:gd name="T21" fmla="*/ 1264 h 1648"/>
                <a:gd name="T22" fmla="*/ 1 w 1253"/>
                <a:gd name="T23" fmla="*/ 1026 h 1648"/>
                <a:gd name="T24" fmla="*/ 1 w 1253"/>
                <a:gd name="T25" fmla="*/ 248 h 1648"/>
                <a:gd name="T26" fmla="*/ 2 w 1253"/>
                <a:gd name="T27" fmla="*/ 228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3" h="1648">
                  <a:moveTo>
                    <a:pt x="2" y="228"/>
                  </a:moveTo>
                  <a:cubicBezTo>
                    <a:pt x="244" y="244"/>
                    <a:pt x="450" y="164"/>
                    <a:pt x="627" y="0"/>
                  </a:cubicBezTo>
                  <a:cubicBezTo>
                    <a:pt x="804" y="164"/>
                    <a:pt x="1010" y="244"/>
                    <a:pt x="1253" y="227"/>
                  </a:cubicBezTo>
                  <a:cubicBezTo>
                    <a:pt x="1253" y="239"/>
                    <a:pt x="1253" y="246"/>
                    <a:pt x="1253" y="254"/>
                  </a:cubicBezTo>
                  <a:cubicBezTo>
                    <a:pt x="1253" y="507"/>
                    <a:pt x="1253" y="761"/>
                    <a:pt x="1253" y="1014"/>
                  </a:cubicBezTo>
                  <a:cubicBezTo>
                    <a:pt x="1253" y="1139"/>
                    <a:pt x="1206" y="1244"/>
                    <a:pt x="1114" y="1329"/>
                  </a:cubicBezTo>
                  <a:cubicBezTo>
                    <a:pt x="1032" y="1404"/>
                    <a:pt x="938" y="1461"/>
                    <a:pt x="844" y="1518"/>
                  </a:cubicBezTo>
                  <a:cubicBezTo>
                    <a:pt x="776" y="1560"/>
                    <a:pt x="708" y="1602"/>
                    <a:pt x="640" y="1643"/>
                  </a:cubicBezTo>
                  <a:cubicBezTo>
                    <a:pt x="634" y="1647"/>
                    <a:pt x="623" y="1648"/>
                    <a:pt x="617" y="1645"/>
                  </a:cubicBezTo>
                  <a:cubicBezTo>
                    <a:pt x="496" y="1570"/>
                    <a:pt x="373" y="1495"/>
                    <a:pt x="253" y="1418"/>
                  </a:cubicBezTo>
                  <a:cubicBezTo>
                    <a:pt x="188" y="1376"/>
                    <a:pt x="128" y="1326"/>
                    <a:pt x="81" y="1264"/>
                  </a:cubicBezTo>
                  <a:cubicBezTo>
                    <a:pt x="28" y="1193"/>
                    <a:pt x="2" y="1113"/>
                    <a:pt x="1" y="1026"/>
                  </a:cubicBezTo>
                  <a:cubicBezTo>
                    <a:pt x="0" y="766"/>
                    <a:pt x="1" y="507"/>
                    <a:pt x="1" y="248"/>
                  </a:cubicBezTo>
                  <a:cubicBezTo>
                    <a:pt x="1" y="243"/>
                    <a:pt x="2" y="237"/>
                    <a:pt x="2" y="228"/>
                  </a:cubicBezTo>
                  <a:close/>
                </a:path>
              </a:pathLst>
            </a:custGeom>
            <a:solidFill>
              <a:schemeClr val="accent3"/>
            </a:solidFill>
            <a:ln>
              <a:noFill/>
            </a:ln>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grpSp>
      <p:grpSp>
        <p:nvGrpSpPr>
          <p:cNvPr id="34" name="Group 33"/>
          <p:cNvGrpSpPr/>
          <p:nvPr/>
        </p:nvGrpSpPr>
        <p:grpSpPr>
          <a:xfrm>
            <a:off x="1763931" y="3550525"/>
            <a:ext cx="832190" cy="1578023"/>
            <a:chOff x="1797522" y="3621273"/>
            <a:chExt cx="849219" cy="1610313"/>
          </a:xfrm>
        </p:grpSpPr>
        <p:grpSp>
          <p:nvGrpSpPr>
            <p:cNvPr id="18" name="Group 17"/>
            <p:cNvGrpSpPr/>
            <p:nvPr/>
          </p:nvGrpSpPr>
          <p:grpSpPr>
            <a:xfrm>
              <a:off x="1797522" y="3621273"/>
              <a:ext cx="849219" cy="1610313"/>
              <a:chOff x="1797522" y="3621273"/>
              <a:chExt cx="849219" cy="1610313"/>
            </a:xfrm>
          </p:grpSpPr>
          <p:sp>
            <p:nvSpPr>
              <p:cNvPr id="9" name="Rectangle 8"/>
              <p:cNvSpPr/>
              <p:nvPr/>
            </p:nvSpPr>
            <p:spPr bwMode="auto">
              <a:xfrm>
                <a:off x="1797522" y="3621273"/>
                <a:ext cx="849219" cy="1610313"/>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57" name="Rectangle 56"/>
              <p:cNvSpPr/>
              <p:nvPr/>
            </p:nvSpPr>
            <p:spPr bwMode="auto">
              <a:xfrm>
                <a:off x="1797522" y="3621273"/>
                <a:ext cx="849219" cy="231683"/>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59" name="Freeform 67"/>
              <p:cNvSpPr>
                <a:spLocks noChangeAspect="1" noEditPoints="1"/>
              </p:cNvSpPr>
              <p:nvPr/>
            </p:nvSpPr>
            <p:spPr bwMode="black">
              <a:xfrm>
                <a:off x="2090829" y="3966155"/>
                <a:ext cx="262604" cy="262150"/>
              </a:xfrm>
              <a:custGeom>
                <a:avLst/>
                <a:gdLst>
                  <a:gd name="T0" fmla="*/ 1525 w 1554"/>
                  <a:gd name="T1" fmla="*/ 721 h 1554"/>
                  <a:gd name="T2" fmla="*/ 832 w 1554"/>
                  <a:gd name="T3" fmla="*/ 33 h 1554"/>
                  <a:gd name="T4" fmla="*/ 722 w 1554"/>
                  <a:gd name="T5" fmla="*/ 33 h 1554"/>
                  <a:gd name="T6" fmla="*/ 34 w 1554"/>
                  <a:gd name="T7" fmla="*/ 721 h 1554"/>
                  <a:gd name="T8" fmla="*/ 34 w 1554"/>
                  <a:gd name="T9" fmla="*/ 837 h 1554"/>
                  <a:gd name="T10" fmla="*/ 722 w 1554"/>
                  <a:gd name="T11" fmla="*/ 1525 h 1554"/>
                  <a:gd name="T12" fmla="*/ 832 w 1554"/>
                  <a:gd name="T13" fmla="*/ 1525 h 1554"/>
                  <a:gd name="T14" fmla="*/ 1525 w 1554"/>
                  <a:gd name="T15" fmla="*/ 837 h 1554"/>
                  <a:gd name="T16" fmla="*/ 1525 w 1554"/>
                  <a:gd name="T17" fmla="*/ 721 h 1554"/>
                  <a:gd name="T18" fmla="*/ 1352 w 1554"/>
                  <a:gd name="T19" fmla="*/ 822 h 1554"/>
                  <a:gd name="T20" fmla="*/ 823 w 1554"/>
                  <a:gd name="T21" fmla="*/ 1352 h 1554"/>
                  <a:gd name="T22" fmla="*/ 736 w 1554"/>
                  <a:gd name="T23" fmla="*/ 1352 h 1554"/>
                  <a:gd name="T24" fmla="*/ 207 w 1554"/>
                  <a:gd name="T25" fmla="*/ 822 h 1554"/>
                  <a:gd name="T26" fmla="*/ 207 w 1554"/>
                  <a:gd name="T27" fmla="*/ 736 h 1554"/>
                  <a:gd name="T28" fmla="*/ 736 w 1554"/>
                  <a:gd name="T29" fmla="*/ 207 h 1554"/>
                  <a:gd name="T30" fmla="*/ 823 w 1554"/>
                  <a:gd name="T31" fmla="*/ 207 h 1554"/>
                  <a:gd name="T32" fmla="*/ 1352 w 1554"/>
                  <a:gd name="T33" fmla="*/ 736 h 1554"/>
                  <a:gd name="T34" fmla="*/ 1352 w 1554"/>
                  <a:gd name="T35" fmla="*/ 822 h 1554"/>
                  <a:gd name="T36" fmla="*/ 821 w 1554"/>
                  <a:gd name="T37" fmla="*/ 910 h 1554"/>
                  <a:gd name="T38" fmla="*/ 821 w 1554"/>
                  <a:gd name="T39" fmla="*/ 910 h 1554"/>
                  <a:gd name="T40" fmla="*/ 734 w 1554"/>
                  <a:gd name="T41" fmla="*/ 910 h 1554"/>
                  <a:gd name="T42" fmla="*/ 691 w 1554"/>
                  <a:gd name="T43" fmla="*/ 607 h 1554"/>
                  <a:gd name="T44" fmla="*/ 691 w 1554"/>
                  <a:gd name="T45" fmla="*/ 424 h 1554"/>
                  <a:gd name="T46" fmla="*/ 864 w 1554"/>
                  <a:gd name="T47" fmla="*/ 424 h 1554"/>
                  <a:gd name="T48" fmla="*/ 864 w 1554"/>
                  <a:gd name="T49" fmla="*/ 607 h 1554"/>
                  <a:gd name="T50" fmla="*/ 821 w 1554"/>
                  <a:gd name="T51" fmla="*/ 910 h 1554"/>
                  <a:gd name="T52" fmla="*/ 681 w 1554"/>
                  <a:gd name="T53" fmla="*/ 963 h 1554"/>
                  <a:gd name="T54" fmla="*/ 875 w 1554"/>
                  <a:gd name="T55" fmla="*/ 963 h 1554"/>
                  <a:gd name="T56" fmla="*/ 875 w 1554"/>
                  <a:gd name="T57" fmla="*/ 1151 h 1554"/>
                  <a:gd name="T58" fmla="*/ 681 w 1554"/>
                  <a:gd name="T59" fmla="*/ 1151 h 1554"/>
                  <a:gd name="T60" fmla="*/ 681 w 1554"/>
                  <a:gd name="T61" fmla="*/ 963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54" h="1554">
                    <a:moveTo>
                      <a:pt x="1525" y="721"/>
                    </a:moveTo>
                    <a:cubicBezTo>
                      <a:pt x="832" y="33"/>
                      <a:pt x="832" y="33"/>
                      <a:pt x="832" y="33"/>
                    </a:cubicBezTo>
                    <a:cubicBezTo>
                      <a:pt x="804" y="0"/>
                      <a:pt x="751" y="0"/>
                      <a:pt x="722" y="33"/>
                    </a:cubicBezTo>
                    <a:cubicBezTo>
                      <a:pt x="34" y="721"/>
                      <a:pt x="34" y="721"/>
                      <a:pt x="34" y="721"/>
                    </a:cubicBezTo>
                    <a:cubicBezTo>
                      <a:pt x="0" y="755"/>
                      <a:pt x="0" y="803"/>
                      <a:pt x="34" y="837"/>
                    </a:cubicBezTo>
                    <a:cubicBezTo>
                      <a:pt x="722" y="1525"/>
                      <a:pt x="722" y="1525"/>
                      <a:pt x="722" y="1525"/>
                    </a:cubicBezTo>
                    <a:cubicBezTo>
                      <a:pt x="751" y="1554"/>
                      <a:pt x="804" y="1554"/>
                      <a:pt x="832" y="1525"/>
                    </a:cubicBezTo>
                    <a:cubicBezTo>
                      <a:pt x="1525" y="837"/>
                      <a:pt x="1525" y="837"/>
                      <a:pt x="1525" y="837"/>
                    </a:cubicBezTo>
                    <a:cubicBezTo>
                      <a:pt x="1554" y="803"/>
                      <a:pt x="1554" y="755"/>
                      <a:pt x="1525" y="721"/>
                    </a:cubicBezTo>
                    <a:close/>
                    <a:moveTo>
                      <a:pt x="1352" y="822"/>
                    </a:moveTo>
                    <a:cubicBezTo>
                      <a:pt x="823" y="1352"/>
                      <a:pt x="823" y="1352"/>
                      <a:pt x="823" y="1352"/>
                    </a:cubicBezTo>
                    <a:cubicBezTo>
                      <a:pt x="799" y="1376"/>
                      <a:pt x="760" y="1376"/>
                      <a:pt x="736" y="1352"/>
                    </a:cubicBezTo>
                    <a:cubicBezTo>
                      <a:pt x="207" y="822"/>
                      <a:pt x="207" y="822"/>
                      <a:pt x="207" y="822"/>
                    </a:cubicBezTo>
                    <a:cubicBezTo>
                      <a:pt x="183" y="798"/>
                      <a:pt x="183" y="760"/>
                      <a:pt x="207" y="736"/>
                    </a:cubicBezTo>
                    <a:cubicBezTo>
                      <a:pt x="736" y="207"/>
                      <a:pt x="736" y="207"/>
                      <a:pt x="736" y="207"/>
                    </a:cubicBezTo>
                    <a:cubicBezTo>
                      <a:pt x="760" y="183"/>
                      <a:pt x="799" y="183"/>
                      <a:pt x="823" y="207"/>
                    </a:cubicBezTo>
                    <a:cubicBezTo>
                      <a:pt x="1352" y="736"/>
                      <a:pt x="1352" y="736"/>
                      <a:pt x="1352" y="736"/>
                    </a:cubicBezTo>
                    <a:cubicBezTo>
                      <a:pt x="1376" y="760"/>
                      <a:pt x="1376" y="798"/>
                      <a:pt x="1352" y="822"/>
                    </a:cubicBezTo>
                    <a:close/>
                    <a:moveTo>
                      <a:pt x="821" y="910"/>
                    </a:moveTo>
                    <a:cubicBezTo>
                      <a:pt x="821" y="910"/>
                      <a:pt x="821" y="910"/>
                      <a:pt x="821" y="910"/>
                    </a:cubicBezTo>
                    <a:cubicBezTo>
                      <a:pt x="734" y="910"/>
                      <a:pt x="734" y="910"/>
                      <a:pt x="734" y="910"/>
                    </a:cubicBezTo>
                    <a:cubicBezTo>
                      <a:pt x="691" y="607"/>
                      <a:pt x="691" y="607"/>
                      <a:pt x="691" y="607"/>
                    </a:cubicBezTo>
                    <a:cubicBezTo>
                      <a:pt x="691" y="424"/>
                      <a:pt x="691" y="424"/>
                      <a:pt x="691" y="424"/>
                    </a:cubicBezTo>
                    <a:cubicBezTo>
                      <a:pt x="864" y="424"/>
                      <a:pt x="864" y="424"/>
                      <a:pt x="864" y="424"/>
                    </a:cubicBezTo>
                    <a:cubicBezTo>
                      <a:pt x="864" y="607"/>
                      <a:pt x="864" y="607"/>
                      <a:pt x="864" y="607"/>
                    </a:cubicBezTo>
                    <a:cubicBezTo>
                      <a:pt x="821" y="910"/>
                      <a:pt x="821" y="910"/>
                      <a:pt x="821" y="910"/>
                    </a:cubicBezTo>
                    <a:close/>
                    <a:moveTo>
                      <a:pt x="681" y="963"/>
                    </a:moveTo>
                    <a:cubicBezTo>
                      <a:pt x="875" y="963"/>
                      <a:pt x="875" y="963"/>
                      <a:pt x="875" y="963"/>
                    </a:cubicBezTo>
                    <a:cubicBezTo>
                      <a:pt x="875" y="1151"/>
                      <a:pt x="875" y="1151"/>
                      <a:pt x="875" y="1151"/>
                    </a:cubicBezTo>
                    <a:cubicBezTo>
                      <a:pt x="681" y="1151"/>
                      <a:pt x="681" y="1151"/>
                      <a:pt x="681" y="1151"/>
                    </a:cubicBezTo>
                    <a:cubicBezTo>
                      <a:pt x="681" y="963"/>
                      <a:pt x="681" y="963"/>
                      <a:pt x="681" y="9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sp>
            <p:nvSpPr>
              <p:cNvPr id="66" name="Rectangle 65"/>
              <p:cNvSpPr/>
              <p:nvPr/>
            </p:nvSpPr>
            <p:spPr bwMode="auto">
              <a:xfrm>
                <a:off x="1864450" y="4341504"/>
                <a:ext cx="715362" cy="7748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68" name="Rectangle 67"/>
              <p:cNvSpPr/>
              <p:nvPr/>
            </p:nvSpPr>
            <p:spPr bwMode="auto">
              <a:xfrm>
                <a:off x="1864450" y="4476254"/>
                <a:ext cx="715362" cy="183561"/>
              </a:xfrm>
              <a:prstGeom prst="rect">
                <a:avLst/>
              </a:prstGeom>
              <a:noFill/>
              <a:ln w="12700">
                <a:solidFill>
                  <a:schemeClr val="bg1">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70" name="Rectangle 69"/>
              <p:cNvSpPr/>
              <p:nvPr/>
            </p:nvSpPr>
            <p:spPr bwMode="auto">
              <a:xfrm>
                <a:off x="1797522" y="4713841"/>
                <a:ext cx="849219" cy="516537"/>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sp>
          <p:nvSpPr>
            <p:cNvPr id="27" name="Freeform 9"/>
            <p:cNvSpPr>
              <a:spLocks/>
            </p:cNvSpPr>
            <p:nvPr/>
          </p:nvSpPr>
          <p:spPr bwMode="auto">
            <a:xfrm>
              <a:off x="2053345" y="3871616"/>
              <a:ext cx="337572" cy="442921"/>
            </a:xfrm>
            <a:custGeom>
              <a:avLst/>
              <a:gdLst>
                <a:gd name="T0" fmla="*/ 2 w 1253"/>
                <a:gd name="T1" fmla="*/ 228 h 1648"/>
                <a:gd name="T2" fmla="*/ 627 w 1253"/>
                <a:gd name="T3" fmla="*/ 0 h 1648"/>
                <a:gd name="T4" fmla="*/ 1253 w 1253"/>
                <a:gd name="T5" fmla="*/ 227 h 1648"/>
                <a:gd name="T6" fmla="*/ 1253 w 1253"/>
                <a:gd name="T7" fmla="*/ 254 h 1648"/>
                <a:gd name="T8" fmla="*/ 1253 w 1253"/>
                <a:gd name="T9" fmla="*/ 1014 h 1648"/>
                <a:gd name="T10" fmla="*/ 1114 w 1253"/>
                <a:gd name="T11" fmla="*/ 1329 h 1648"/>
                <a:gd name="T12" fmla="*/ 844 w 1253"/>
                <a:gd name="T13" fmla="*/ 1518 h 1648"/>
                <a:gd name="T14" fmla="*/ 640 w 1253"/>
                <a:gd name="T15" fmla="*/ 1643 h 1648"/>
                <a:gd name="T16" fmla="*/ 617 w 1253"/>
                <a:gd name="T17" fmla="*/ 1645 h 1648"/>
                <a:gd name="T18" fmla="*/ 253 w 1253"/>
                <a:gd name="T19" fmla="*/ 1418 h 1648"/>
                <a:gd name="T20" fmla="*/ 81 w 1253"/>
                <a:gd name="T21" fmla="*/ 1264 h 1648"/>
                <a:gd name="T22" fmla="*/ 1 w 1253"/>
                <a:gd name="T23" fmla="*/ 1026 h 1648"/>
                <a:gd name="T24" fmla="*/ 1 w 1253"/>
                <a:gd name="T25" fmla="*/ 248 h 1648"/>
                <a:gd name="T26" fmla="*/ 2 w 1253"/>
                <a:gd name="T27" fmla="*/ 228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3" h="1648">
                  <a:moveTo>
                    <a:pt x="2" y="228"/>
                  </a:moveTo>
                  <a:cubicBezTo>
                    <a:pt x="244" y="244"/>
                    <a:pt x="450" y="164"/>
                    <a:pt x="627" y="0"/>
                  </a:cubicBezTo>
                  <a:cubicBezTo>
                    <a:pt x="804" y="164"/>
                    <a:pt x="1010" y="244"/>
                    <a:pt x="1253" y="227"/>
                  </a:cubicBezTo>
                  <a:cubicBezTo>
                    <a:pt x="1253" y="239"/>
                    <a:pt x="1253" y="246"/>
                    <a:pt x="1253" y="254"/>
                  </a:cubicBezTo>
                  <a:cubicBezTo>
                    <a:pt x="1253" y="507"/>
                    <a:pt x="1253" y="761"/>
                    <a:pt x="1253" y="1014"/>
                  </a:cubicBezTo>
                  <a:cubicBezTo>
                    <a:pt x="1253" y="1139"/>
                    <a:pt x="1206" y="1244"/>
                    <a:pt x="1114" y="1329"/>
                  </a:cubicBezTo>
                  <a:cubicBezTo>
                    <a:pt x="1032" y="1404"/>
                    <a:pt x="938" y="1461"/>
                    <a:pt x="844" y="1518"/>
                  </a:cubicBezTo>
                  <a:cubicBezTo>
                    <a:pt x="776" y="1560"/>
                    <a:pt x="708" y="1602"/>
                    <a:pt x="640" y="1643"/>
                  </a:cubicBezTo>
                  <a:cubicBezTo>
                    <a:pt x="634" y="1647"/>
                    <a:pt x="623" y="1648"/>
                    <a:pt x="617" y="1645"/>
                  </a:cubicBezTo>
                  <a:cubicBezTo>
                    <a:pt x="496" y="1570"/>
                    <a:pt x="373" y="1495"/>
                    <a:pt x="253" y="1418"/>
                  </a:cubicBezTo>
                  <a:cubicBezTo>
                    <a:pt x="188" y="1376"/>
                    <a:pt x="128" y="1326"/>
                    <a:pt x="81" y="1264"/>
                  </a:cubicBezTo>
                  <a:cubicBezTo>
                    <a:pt x="28" y="1193"/>
                    <a:pt x="2" y="1113"/>
                    <a:pt x="1" y="1026"/>
                  </a:cubicBezTo>
                  <a:cubicBezTo>
                    <a:pt x="0" y="766"/>
                    <a:pt x="1" y="507"/>
                    <a:pt x="1" y="248"/>
                  </a:cubicBezTo>
                  <a:cubicBezTo>
                    <a:pt x="1" y="243"/>
                    <a:pt x="2" y="237"/>
                    <a:pt x="2" y="228"/>
                  </a:cubicBezTo>
                  <a:close/>
                </a:path>
              </a:pathLst>
            </a:custGeom>
            <a:solidFill>
              <a:schemeClr val="bg2"/>
            </a:solidFill>
            <a:ln>
              <a:noFill/>
            </a:ln>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grpSp>
      <p:sp>
        <p:nvSpPr>
          <p:cNvPr id="42" name="Freeform 352"/>
          <p:cNvSpPr>
            <a:spLocks/>
          </p:cNvSpPr>
          <p:nvPr/>
        </p:nvSpPr>
        <p:spPr bwMode="auto">
          <a:xfrm rot="1173795">
            <a:off x="1610400" y="4739627"/>
            <a:ext cx="502299" cy="669441"/>
          </a:xfrm>
          <a:custGeom>
            <a:avLst/>
            <a:gdLst>
              <a:gd name="T0" fmla="*/ 210 w 243"/>
              <a:gd name="T1" fmla="*/ 143 h 324"/>
              <a:gd name="T2" fmla="*/ 131 w 243"/>
              <a:gd name="T3" fmla="*/ 135 h 324"/>
              <a:gd name="T4" fmla="*/ 128 w 243"/>
              <a:gd name="T5" fmla="*/ 21 h 324"/>
              <a:gd name="T6" fmla="*/ 107 w 243"/>
              <a:gd name="T7" fmla="*/ 0 h 324"/>
              <a:gd name="T8" fmla="*/ 91 w 243"/>
              <a:gd name="T9" fmla="*/ 21 h 324"/>
              <a:gd name="T10" fmla="*/ 91 w 243"/>
              <a:gd name="T11" fmla="*/ 181 h 324"/>
              <a:gd name="T12" fmla="*/ 60 w 243"/>
              <a:gd name="T13" fmla="*/ 146 h 324"/>
              <a:gd name="T14" fmla="*/ 11 w 243"/>
              <a:gd name="T15" fmla="*/ 136 h 324"/>
              <a:gd name="T16" fmla="*/ 28 w 243"/>
              <a:gd name="T17" fmla="*/ 169 h 324"/>
              <a:gd name="T18" fmla="*/ 111 w 243"/>
              <a:gd name="T19" fmla="*/ 289 h 324"/>
              <a:gd name="T20" fmla="*/ 125 w 243"/>
              <a:gd name="T21" fmla="*/ 307 h 324"/>
              <a:gd name="T22" fmla="*/ 134 w 243"/>
              <a:gd name="T23" fmla="*/ 314 h 324"/>
              <a:gd name="T24" fmla="*/ 168 w 243"/>
              <a:gd name="T25" fmla="*/ 324 h 324"/>
              <a:gd name="T26" fmla="*/ 232 w 243"/>
              <a:gd name="T27" fmla="*/ 265 h 324"/>
              <a:gd name="T28" fmla="*/ 232 w 243"/>
              <a:gd name="T29" fmla="*/ 262 h 324"/>
              <a:gd name="T30" fmla="*/ 243 w 243"/>
              <a:gd name="T31" fmla="*/ 168 h 324"/>
              <a:gd name="T32" fmla="*/ 210 w 243"/>
              <a:gd name="T33" fmla="*/ 14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324">
                <a:moveTo>
                  <a:pt x="210" y="143"/>
                </a:moveTo>
                <a:cubicBezTo>
                  <a:pt x="131" y="135"/>
                  <a:pt x="131" y="135"/>
                  <a:pt x="131" y="135"/>
                </a:cubicBezTo>
                <a:cubicBezTo>
                  <a:pt x="131" y="97"/>
                  <a:pt x="128" y="59"/>
                  <a:pt x="128" y="21"/>
                </a:cubicBezTo>
                <a:cubicBezTo>
                  <a:pt x="128" y="10"/>
                  <a:pt x="118" y="0"/>
                  <a:pt x="107" y="0"/>
                </a:cubicBezTo>
                <a:cubicBezTo>
                  <a:pt x="95" y="0"/>
                  <a:pt x="91" y="10"/>
                  <a:pt x="91" y="21"/>
                </a:cubicBezTo>
                <a:cubicBezTo>
                  <a:pt x="91" y="71"/>
                  <a:pt x="91" y="131"/>
                  <a:pt x="91" y="181"/>
                </a:cubicBezTo>
                <a:cubicBezTo>
                  <a:pt x="85" y="172"/>
                  <a:pt x="60" y="146"/>
                  <a:pt x="60" y="146"/>
                </a:cubicBezTo>
                <a:cubicBezTo>
                  <a:pt x="52" y="135"/>
                  <a:pt x="24" y="128"/>
                  <a:pt x="11" y="136"/>
                </a:cubicBezTo>
                <a:cubicBezTo>
                  <a:pt x="0" y="142"/>
                  <a:pt x="20" y="158"/>
                  <a:pt x="28" y="169"/>
                </a:cubicBezTo>
                <a:cubicBezTo>
                  <a:pt x="58" y="209"/>
                  <a:pt x="81" y="249"/>
                  <a:pt x="111" y="289"/>
                </a:cubicBezTo>
                <a:cubicBezTo>
                  <a:pt x="115" y="296"/>
                  <a:pt x="119" y="302"/>
                  <a:pt x="125" y="307"/>
                </a:cubicBezTo>
                <a:cubicBezTo>
                  <a:pt x="128" y="310"/>
                  <a:pt x="131" y="313"/>
                  <a:pt x="134" y="314"/>
                </a:cubicBezTo>
                <a:cubicBezTo>
                  <a:pt x="144" y="320"/>
                  <a:pt x="156" y="324"/>
                  <a:pt x="168" y="324"/>
                </a:cubicBezTo>
                <a:cubicBezTo>
                  <a:pt x="202" y="324"/>
                  <a:pt x="229" y="298"/>
                  <a:pt x="232" y="265"/>
                </a:cubicBezTo>
                <a:cubicBezTo>
                  <a:pt x="232" y="264"/>
                  <a:pt x="232" y="263"/>
                  <a:pt x="232" y="262"/>
                </a:cubicBezTo>
                <a:cubicBezTo>
                  <a:pt x="243" y="168"/>
                  <a:pt x="243" y="168"/>
                  <a:pt x="243" y="168"/>
                </a:cubicBezTo>
                <a:cubicBezTo>
                  <a:pt x="243" y="156"/>
                  <a:pt x="222" y="143"/>
                  <a:pt x="210" y="143"/>
                </a:cubicBezTo>
                <a:close/>
              </a:path>
            </a:pathLst>
          </a:custGeom>
          <a:solidFill>
            <a:schemeClr val="bg1"/>
          </a:solidFill>
          <a:ln>
            <a:noFill/>
          </a:ln>
          <a:extLst/>
        </p:spPr>
        <p:txBody>
          <a:bodyPr vert="horz" wrap="square" lIns="89606" tIns="44804" rIns="89606" bIns="44804" numCol="1" anchor="t" anchorCtr="0" compatLnSpc="1">
            <a:prstTxWarp prst="textNoShape">
              <a:avLst/>
            </a:prstTxWarp>
          </a:bodyPr>
          <a:lstStyle/>
          <a:p>
            <a:pPr defTabSz="914188"/>
            <a:endParaRPr lang="en-US" sz="1666">
              <a:solidFill>
                <a:srgbClr val="FFFFFF"/>
              </a:solidFill>
            </a:endParaRPr>
          </a:p>
        </p:txBody>
      </p:sp>
      <p:sp>
        <p:nvSpPr>
          <p:cNvPr id="60" name="TextBox 59"/>
          <p:cNvSpPr txBox="1"/>
          <p:nvPr/>
        </p:nvSpPr>
        <p:spPr>
          <a:xfrm>
            <a:off x="1683134" y="4278444"/>
            <a:ext cx="1002481" cy="425263"/>
          </a:xfrm>
          <a:prstGeom prst="rect">
            <a:avLst/>
          </a:prstGeom>
          <a:noFill/>
        </p:spPr>
        <p:txBody>
          <a:bodyPr wrap="square" lIns="179212" tIns="143371" rIns="179212" bIns="143371" rtlCol="0">
            <a:spAutoFit/>
          </a:bodyPr>
          <a:lstStyle/>
          <a:p>
            <a:pPr algn="ctr" defTabSz="913771">
              <a:lnSpc>
                <a:spcPct val="90000"/>
              </a:lnSpc>
            </a:pPr>
            <a:r>
              <a:rPr lang="en-US" sz="980" spc="-49" dirty="0">
                <a:gradFill>
                  <a:gsLst>
                    <a:gs pos="2917">
                      <a:srgbClr val="008272"/>
                    </a:gs>
                    <a:gs pos="100000">
                      <a:srgbClr val="008272"/>
                    </a:gs>
                  </a:gsLst>
                  <a:lin ang="5400000" scaled="0"/>
                </a:gradFill>
              </a:rPr>
              <a:t>1 4 5 6 7 6</a:t>
            </a:r>
          </a:p>
        </p:txBody>
      </p:sp>
    </p:spTree>
    <p:extLst>
      <p:ext uri="{BB962C8B-B14F-4D97-AF65-F5344CB8AC3E}">
        <p14:creationId xmlns:p14="http://schemas.microsoft.com/office/powerpoint/2010/main" val="64130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ppt_x"/>
                                          </p:val>
                                        </p:tav>
                                        <p:tav tm="100000">
                                          <p:val>
                                            <p:strVal val="#ppt_x"/>
                                          </p:val>
                                        </p:tav>
                                      </p:tavLst>
                                    </p:anim>
                                    <p:anim calcmode="lin" valueType="num">
                                      <p:cBhvr additive="base">
                                        <p:cTn id="8" dur="75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750" fill="hold"/>
                                        <p:tgtEl>
                                          <p:spTgt spid="15"/>
                                        </p:tgtEl>
                                        <p:attrNameLst>
                                          <p:attrName>ppt_x</p:attrName>
                                        </p:attrNameLst>
                                      </p:cBhvr>
                                      <p:tavLst>
                                        <p:tav tm="0">
                                          <p:val>
                                            <p:strVal val="#ppt_x"/>
                                          </p:val>
                                        </p:tav>
                                        <p:tav tm="100000">
                                          <p:val>
                                            <p:strVal val="#ppt_x"/>
                                          </p:val>
                                        </p:tav>
                                      </p:tavLst>
                                    </p:anim>
                                    <p:anim calcmode="lin" valueType="num">
                                      <p:cBhvr additive="base">
                                        <p:cTn id="12" dur="75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2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childTnLst>
                          </p:cTn>
                        </p:par>
                        <p:par>
                          <p:cTn id="17" fill="hold">
                            <p:stCondLst>
                              <p:cond delay="950"/>
                            </p:stCondLst>
                            <p:childTnLst>
                              <p:par>
                                <p:cTn id="18" presetID="53" presetClass="entr" presetSubtype="16" fill="hold" nodeType="afterEffect">
                                  <p:stCondLst>
                                    <p:cond delay="0"/>
                                  </p:stCondLst>
                                  <p:childTnLst>
                                    <p:set>
                                      <p:cBhvr>
                                        <p:cTn id="19" dur="1" fill="hold">
                                          <p:stCondLst>
                                            <p:cond delay="0"/>
                                          </p:stCondLst>
                                        </p:cTn>
                                        <p:tgtEl>
                                          <p:spTgt spid="23"/>
                                        </p:tgtEl>
                                        <p:attrNameLst>
                                          <p:attrName>style.visibility</p:attrName>
                                        </p:attrNameLst>
                                      </p:cBhvr>
                                      <p:to>
                                        <p:strVal val="visible"/>
                                      </p:to>
                                    </p:set>
                                    <p:anim calcmode="lin" valueType="num">
                                      <p:cBhvr>
                                        <p:cTn id="20" dur="250" fill="hold"/>
                                        <p:tgtEl>
                                          <p:spTgt spid="23"/>
                                        </p:tgtEl>
                                        <p:attrNameLst>
                                          <p:attrName>ppt_w</p:attrName>
                                        </p:attrNameLst>
                                      </p:cBhvr>
                                      <p:tavLst>
                                        <p:tav tm="0">
                                          <p:val>
                                            <p:fltVal val="0"/>
                                          </p:val>
                                        </p:tav>
                                        <p:tav tm="100000">
                                          <p:val>
                                            <p:strVal val="#ppt_w"/>
                                          </p:val>
                                        </p:tav>
                                      </p:tavLst>
                                    </p:anim>
                                    <p:anim calcmode="lin" valueType="num">
                                      <p:cBhvr>
                                        <p:cTn id="21" dur="250" fill="hold"/>
                                        <p:tgtEl>
                                          <p:spTgt spid="23"/>
                                        </p:tgtEl>
                                        <p:attrNameLst>
                                          <p:attrName>ppt_h</p:attrName>
                                        </p:attrNameLst>
                                      </p:cBhvr>
                                      <p:tavLst>
                                        <p:tav tm="0">
                                          <p:val>
                                            <p:fltVal val="0"/>
                                          </p:val>
                                        </p:tav>
                                        <p:tav tm="100000">
                                          <p:val>
                                            <p:strVal val="#ppt_h"/>
                                          </p:val>
                                        </p:tav>
                                      </p:tavLst>
                                    </p:anim>
                                    <p:animEffect transition="in" filter="fade">
                                      <p:cBhvr>
                                        <p:cTn id="22" dur="250"/>
                                        <p:tgtEl>
                                          <p:spTgt spid="23"/>
                                        </p:tgtEl>
                                      </p:cBhvr>
                                    </p:animEffect>
                                  </p:childTnLst>
                                </p:cTn>
                              </p:par>
                              <p:par>
                                <p:cTn id="23" presetID="6" presetClass="emph" presetSubtype="0" decel="100000" fill="hold" nodeType="withEffect">
                                  <p:stCondLst>
                                    <p:cond delay="200"/>
                                  </p:stCondLst>
                                  <p:childTnLst>
                                    <p:animScale>
                                      <p:cBhvr>
                                        <p:cTn id="24" dur="250" fill="hold"/>
                                        <p:tgtEl>
                                          <p:spTgt spid="23"/>
                                        </p:tgtEl>
                                      </p:cBhvr>
                                      <p:by x="110000" y="110000"/>
                                    </p:animScale>
                                  </p:childTnLst>
                                </p:cTn>
                              </p:par>
                              <p:par>
                                <p:cTn id="25" presetID="6" presetClass="emph" presetSubtype="0" decel="100000" fill="hold" nodeType="withEffect">
                                  <p:stCondLst>
                                    <p:cond delay="300"/>
                                  </p:stCondLst>
                                  <p:childTnLst>
                                    <p:animScale>
                                      <p:cBhvr>
                                        <p:cTn id="26" dur="250" fill="hold"/>
                                        <p:tgtEl>
                                          <p:spTgt spid="23"/>
                                        </p:tgtEl>
                                      </p:cBhvr>
                                      <p:by x="91000" y="91000"/>
                                    </p:animScale>
                                  </p:childTnLst>
                                </p:cTn>
                              </p:par>
                            </p:childTnLst>
                          </p:cTn>
                        </p:par>
                        <p:par>
                          <p:cTn id="27" fill="hold">
                            <p:stCondLst>
                              <p:cond delay="1500"/>
                            </p:stCondLst>
                            <p:childTnLst>
                              <p:par>
                                <p:cTn id="28" presetID="10" presetClass="entr" presetSubtype="0" fill="hold" grpId="0" nodeType="after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fade">
                                      <p:cBhvr>
                                        <p:cTn id="30" dur="400"/>
                                        <p:tgtEl>
                                          <p:spTgt spid="42"/>
                                        </p:tgtEl>
                                      </p:cBhvr>
                                    </p:animEffect>
                                  </p:childTnLst>
                                </p:cTn>
                              </p:par>
                              <p:par>
                                <p:cTn id="31" presetID="63" presetClass="path" presetSubtype="0" decel="100000" fill="hold" grpId="1" nodeType="withEffect">
                                  <p:stCondLst>
                                    <p:cond delay="0"/>
                                  </p:stCondLst>
                                  <p:childTnLst>
                                    <p:animMotion origin="layout" path="M -2.09344E-7 -1.36178E-7 L 0.00932 -0.01316 " pathEditMode="relative" rAng="0" ptsTypes="AA">
                                      <p:cBhvr>
                                        <p:cTn id="32" dur="400" fill="hold"/>
                                        <p:tgtEl>
                                          <p:spTgt spid="42"/>
                                        </p:tgtEl>
                                        <p:attrNameLst>
                                          <p:attrName>ppt_x</p:attrName>
                                          <p:attrName>ppt_y</p:attrName>
                                        </p:attrNameLst>
                                      </p:cBhvr>
                                      <p:rCtr x="46000" y="-65800"/>
                                    </p:animMotion>
                                  </p:childTnLst>
                                </p:cTn>
                              </p:par>
                            </p:childTnLst>
                          </p:cTn>
                        </p:par>
                        <p:par>
                          <p:cTn id="33" fill="hold">
                            <p:stCondLst>
                              <p:cond delay="1900"/>
                            </p:stCondLst>
                            <p:childTnLst>
                              <p:par>
                                <p:cTn id="34" presetID="10" presetClass="exit" presetSubtype="0" fill="hold" grpId="2" nodeType="afterEffect">
                                  <p:stCondLst>
                                    <p:cond delay="200"/>
                                  </p:stCondLst>
                                  <p:childTnLst>
                                    <p:animEffect transition="out" filter="fade">
                                      <p:cBhvr>
                                        <p:cTn id="35" dur="500"/>
                                        <p:tgtEl>
                                          <p:spTgt spid="42"/>
                                        </p:tgtEl>
                                      </p:cBhvr>
                                    </p:animEffect>
                                    <p:set>
                                      <p:cBhvr>
                                        <p:cTn id="36" dur="1" fill="hold">
                                          <p:stCondLst>
                                            <p:cond delay="499"/>
                                          </p:stCondLst>
                                        </p:cTn>
                                        <p:tgtEl>
                                          <p:spTgt spid="42"/>
                                        </p:tgtEl>
                                        <p:attrNameLst>
                                          <p:attrName>style.visibility</p:attrName>
                                        </p:attrNameLst>
                                      </p:cBhvr>
                                      <p:to>
                                        <p:strVal val="hidden"/>
                                      </p:to>
                                    </p:set>
                                  </p:childTnLst>
                                </p:cTn>
                              </p:par>
                            </p:childTnLst>
                          </p:cTn>
                        </p:par>
                        <p:par>
                          <p:cTn id="37" fill="hold">
                            <p:stCondLst>
                              <p:cond delay="2600"/>
                            </p:stCondLst>
                            <p:childTnLst>
                              <p:par>
                                <p:cTn id="38" presetID="53" presetClass="entr" presetSubtype="16" fill="hold" nodeType="afterEffect">
                                  <p:stCondLst>
                                    <p:cond delay="0"/>
                                  </p:stCondLst>
                                  <p:childTnLst>
                                    <p:set>
                                      <p:cBhvr>
                                        <p:cTn id="39" dur="1" fill="hold">
                                          <p:stCondLst>
                                            <p:cond delay="0"/>
                                          </p:stCondLst>
                                        </p:cTn>
                                        <p:tgtEl>
                                          <p:spTgt spid="34"/>
                                        </p:tgtEl>
                                        <p:attrNameLst>
                                          <p:attrName>style.visibility</p:attrName>
                                        </p:attrNameLst>
                                      </p:cBhvr>
                                      <p:to>
                                        <p:strVal val="visible"/>
                                      </p:to>
                                    </p:set>
                                    <p:anim calcmode="lin" valueType="num">
                                      <p:cBhvr>
                                        <p:cTn id="40" dur="250" fill="hold"/>
                                        <p:tgtEl>
                                          <p:spTgt spid="34"/>
                                        </p:tgtEl>
                                        <p:attrNameLst>
                                          <p:attrName>ppt_w</p:attrName>
                                        </p:attrNameLst>
                                      </p:cBhvr>
                                      <p:tavLst>
                                        <p:tav tm="0">
                                          <p:val>
                                            <p:fltVal val="0"/>
                                          </p:val>
                                        </p:tav>
                                        <p:tav tm="100000">
                                          <p:val>
                                            <p:strVal val="#ppt_w"/>
                                          </p:val>
                                        </p:tav>
                                      </p:tavLst>
                                    </p:anim>
                                    <p:anim calcmode="lin" valueType="num">
                                      <p:cBhvr>
                                        <p:cTn id="41" dur="250" fill="hold"/>
                                        <p:tgtEl>
                                          <p:spTgt spid="34"/>
                                        </p:tgtEl>
                                        <p:attrNameLst>
                                          <p:attrName>ppt_h</p:attrName>
                                        </p:attrNameLst>
                                      </p:cBhvr>
                                      <p:tavLst>
                                        <p:tav tm="0">
                                          <p:val>
                                            <p:fltVal val="0"/>
                                          </p:val>
                                        </p:tav>
                                        <p:tav tm="100000">
                                          <p:val>
                                            <p:strVal val="#ppt_h"/>
                                          </p:val>
                                        </p:tav>
                                      </p:tavLst>
                                    </p:anim>
                                    <p:animEffect transition="in" filter="fade">
                                      <p:cBhvr>
                                        <p:cTn id="42" dur="250"/>
                                        <p:tgtEl>
                                          <p:spTgt spid="34"/>
                                        </p:tgtEl>
                                      </p:cBhvr>
                                    </p:animEffect>
                                  </p:childTnLst>
                                </p:cTn>
                              </p:par>
                              <p:par>
                                <p:cTn id="43" presetID="6" presetClass="emph" presetSubtype="0" decel="100000" fill="hold" nodeType="withEffect">
                                  <p:stCondLst>
                                    <p:cond delay="200"/>
                                  </p:stCondLst>
                                  <p:childTnLst>
                                    <p:animScale>
                                      <p:cBhvr>
                                        <p:cTn id="44" dur="250" fill="hold"/>
                                        <p:tgtEl>
                                          <p:spTgt spid="34"/>
                                        </p:tgtEl>
                                      </p:cBhvr>
                                      <p:by x="110000" y="110000"/>
                                    </p:animScale>
                                  </p:childTnLst>
                                </p:cTn>
                              </p:par>
                              <p:par>
                                <p:cTn id="45" presetID="6" presetClass="emph" presetSubtype="0" decel="100000" fill="hold" nodeType="withEffect">
                                  <p:stCondLst>
                                    <p:cond delay="300"/>
                                  </p:stCondLst>
                                  <p:childTnLst>
                                    <p:animScale>
                                      <p:cBhvr>
                                        <p:cTn id="46" dur="250" fill="hold"/>
                                        <p:tgtEl>
                                          <p:spTgt spid="34"/>
                                        </p:tgtEl>
                                      </p:cBhvr>
                                      <p:by x="91000" y="91000"/>
                                    </p:animScale>
                                  </p:childTnLst>
                                </p:cTn>
                              </p:par>
                            </p:childTnLst>
                          </p:cTn>
                        </p:par>
                        <p:par>
                          <p:cTn id="47" fill="hold">
                            <p:stCondLst>
                              <p:cond delay="3150"/>
                            </p:stCondLst>
                            <p:childTnLst>
                              <p:par>
                                <p:cTn id="48" presetID="22" presetClass="entr" presetSubtype="8" fill="hold" grpId="0" nodeType="afterEffect">
                                  <p:stCondLst>
                                    <p:cond delay="0"/>
                                  </p:stCondLst>
                                  <p:childTnLst>
                                    <p:set>
                                      <p:cBhvr>
                                        <p:cTn id="49" dur="1" fill="hold">
                                          <p:stCondLst>
                                            <p:cond delay="0"/>
                                          </p:stCondLst>
                                        </p:cTn>
                                        <p:tgtEl>
                                          <p:spTgt spid="60"/>
                                        </p:tgtEl>
                                        <p:attrNameLst>
                                          <p:attrName>style.visibility</p:attrName>
                                        </p:attrNameLst>
                                      </p:cBhvr>
                                      <p:to>
                                        <p:strVal val="visible"/>
                                      </p:to>
                                    </p:set>
                                    <p:animEffect transition="in" filter="wipe(left)">
                                      <p:cBhvr>
                                        <p:cTn id="50" dur="500"/>
                                        <p:tgtEl>
                                          <p:spTgt spid="60"/>
                                        </p:tgtEl>
                                      </p:cBhvr>
                                    </p:animEffect>
                                  </p:childTnLst>
                                </p:cTn>
                              </p:par>
                            </p:childTnLst>
                          </p:cTn>
                        </p:par>
                        <p:par>
                          <p:cTn id="51" fill="hold">
                            <p:stCondLst>
                              <p:cond delay="3650"/>
                            </p:stCondLst>
                            <p:childTnLst>
                              <p:par>
                                <p:cTn id="52" presetID="53" presetClass="entr" presetSubtype="16" fill="hold" nodeType="afterEffect">
                                  <p:stCondLst>
                                    <p:cond delay="0"/>
                                  </p:stCondLst>
                                  <p:childTnLst>
                                    <p:set>
                                      <p:cBhvr>
                                        <p:cTn id="53" dur="1" fill="hold">
                                          <p:stCondLst>
                                            <p:cond delay="0"/>
                                          </p:stCondLst>
                                        </p:cTn>
                                        <p:tgtEl>
                                          <p:spTgt spid="47"/>
                                        </p:tgtEl>
                                        <p:attrNameLst>
                                          <p:attrName>style.visibility</p:attrName>
                                        </p:attrNameLst>
                                      </p:cBhvr>
                                      <p:to>
                                        <p:strVal val="visible"/>
                                      </p:to>
                                    </p:set>
                                    <p:anim calcmode="lin" valueType="num">
                                      <p:cBhvr>
                                        <p:cTn id="54" dur="250" fill="hold"/>
                                        <p:tgtEl>
                                          <p:spTgt spid="47"/>
                                        </p:tgtEl>
                                        <p:attrNameLst>
                                          <p:attrName>ppt_w</p:attrName>
                                        </p:attrNameLst>
                                      </p:cBhvr>
                                      <p:tavLst>
                                        <p:tav tm="0">
                                          <p:val>
                                            <p:fltVal val="0"/>
                                          </p:val>
                                        </p:tav>
                                        <p:tav tm="100000">
                                          <p:val>
                                            <p:strVal val="#ppt_w"/>
                                          </p:val>
                                        </p:tav>
                                      </p:tavLst>
                                    </p:anim>
                                    <p:anim calcmode="lin" valueType="num">
                                      <p:cBhvr>
                                        <p:cTn id="55" dur="250" fill="hold"/>
                                        <p:tgtEl>
                                          <p:spTgt spid="47"/>
                                        </p:tgtEl>
                                        <p:attrNameLst>
                                          <p:attrName>ppt_h</p:attrName>
                                        </p:attrNameLst>
                                      </p:cBhvr>
                                      <p:tavLst>
                                        <p:tav tm="0">
                                          <p:val>
                                            <p:fltVal val="0"/>
                                          </p:val>
                                        </p:tav>
                                        <p:tav tm="100000">
                                          <p:val>
                                            <p:strVal val="#ppt_h"/>
                                          </p:val>
                                        </p:tav>
                                      </p:tavLst>
                                    </p:anim>
                                    <p:animEffect transition="in" filter="fade">
                                      <p:cBhvr>
                                        <p:cTn id="56" dur="250"/>
                                        <p:tgtEl>
                                          <p:spTgt spid="47"/>
                                        </p:tgtEl>
                                      </p:cBhvr>
                                    </p:animEffect>
                                  </p:childTnLst>
                                </p:cTn>
                              </p:par>
                              <p:par>
                                <p:cTn id="57" presetID="6" presetClass="emph" presetSubtype="0" decel="100000" fill="hold" nodeType="withEffect">
                                  <p:stCondLst>
                                    <p:cond delay="200"/>
                                  </p:stCondLst>
                                  <p:childTnLst>
                                    <p:animScale>
                                      <p:cBhvr>
                                        <p:cTn id="58" dur="250" fill="hold"/>
                                        <p:tgtEl>
                                          <p:spTgt spid="47"/>
                                        </p:tgtEl>
                                      </p:cBhvr>
                                      <p:by x="110000" y="110000"/>
                                    </p:animScale>
                                  </p:childTnLst>
                                </p:cTn>
                              </p:par>
                              <p:par>
                                <p:cTn id="59" presetID="6" presetClass="emph" presetSubtype="0" decel="100000" fill="hold" nodeType="withEffect">
                                  <p:stCondLst>
                                    <p:cond delay="300"/>
                                  </p:stCondLst>
                                  <p:childTnLst>
                                    <p:animScale>
                                      <p:cBhvr>
                                        <p:cTn id="60" dur="250" fill="hold"/>
                                        <p:tgtEl>
                                          <p:spTgt spid="47"/>
                                        </p:tgtEl>
                                      </p:cBhvr>
                                      <p:by x="91000" y="91000"/>
                                    </p:animScale>
                                  </p:childTnLst>
                                </p:cTn>
                              </p:par>
                            </p:childTnLst>
                          </p:cTn>
                        </p:par>
                        <p:par>
                          <p:cTn id="61" fill="hold">
                            <p:stCondLst>
                              <p:cond delay="4200"/>
                            </p:stCondLst>
                            <p:childTnLst>
                              <p:par>
                                <p:cTn id="62" presetID="1" presetClass="entr" presetSubtype="0" fill="hold" grpId="0" nodeType="afterEffect">
                                  <p:stCondLst>
                                    <p:cond delay="0"/>
                                  </p:stCondLst>
                                  <p:childTnLst>
                                    <p:set>
                                      <p:cBhvr>
                                        <p:cTn id="63" dur="1" fill="hold">
                                          <p:stCondLst>
                                            <p:cond delay="149"/>
                                          </p:stCondLst>
                                        </p:cTn>
                                        <p:tgtEl>
                                          <p:spTgt spid="46"/>
                                        </p:tgtEl>
                                        <p:attrNameLst>
                                          <p:attrName>style.visibility</p:attrName>
                                        </p:attrNameLst>
                                      </p:cBhvr>
                                      <p:to>
                                        <p:strVal val="visible"/>
                                      </p:to>
                                    </p:set>
                                  </p:childTnLst>
                                </p:cTn>
                              </p:par>
                              <p:par>
                                <p:cTn id="64" presetID="1" presetClass="exit" presetSubtype="0" fill="hold" grpId="1" nodeType="withEffect">
                                  <p:stCondLst>
                                    <p:cond delay="100"/>
                                  </p:stCondLst>
                                  <p:childTnLst>
                                    <p:set>
                                      <p:cBhvr>
                                        <p:cTn id="65" dur="1" fill="hold">
                                          <p:stCondLst>
                                            <p:cond delay="149"/>
                                          </p:stCondLst>
                                        </p:cTn>
                                        <p:tgtEl>
                                          <p:spTgt spid="46"/>
                                        </p:tgtEl>
                                        <p:attrNameLst>
                                          <p:attrName>style.visibility</p:attrName>
                                        </p:attrNameLst>
                                      </p:cBhvr>
                                      <p:to>
                                        <p:strVal val="hidden"/>
                                      </p:to>
                                    </p:set>
                                  </p:childTnLst>
                                </p:cTn>
                              </p:par>
                              <p:par>
                                <p:cTn id="66" presetID="1" presetClass="entr" presetSubtype="0" fill="hold" grpId="0" nodeType="withEffect">
                                  <p:stCondLst>
                                    <p:cond delay="100"/>
                                  </p:stCondLst>
                                  <p:childTnLst>
                                    <p:set>
                                      <p:cBhvr>
                                        <p:cTn id="67" dur="1" fill="hold">
                                          <p:stCondLst>
                                            <p:cond delay="149"/>
                                          </p:stCondLst>
                                        </p:cTn>
                                        <p:tgtEl>
                                          <p:spTgt spid="48"/>
                                        </p:tgtEl>
                                        <p:attrNameLst>
                                          <p:attrName>style.visibility</p:attrName>
                                        </p:attrNameLst>
                                      </p:cBhvr>
                                      <p:to>
                                        <p:strVal val="visible"/>
                                      </p:to>
                                    </p:set>
                                  </p:childTnLst>
                                </p:cTn>
                              </p:par>
                              <p:par>
                                <p:cTn id="68" presetID="1" presetClass="exit" presetSubtype="0" fill="hold" grpId="1" nodeType="withEffect">
                                  <p:stCondLst>
                                    <p:cond delay="200"/>
                                  </p:stCondLst>
                                  <p:childTnLst>
                                    <p:set>
                                      <p:cBhvr>
                                        <p:cTn id="69" dur="1" fill="hold">
                                          <p:stCondLst>
                                            <p:cond delay="149"/>
                                          </p:stCondLst>
                                        </p:cTn>
                                        <p:tgtEl>
                                          <p:spTgt spid="48"/>
                                        </p:tgtEl>
                                        <p:attrNameLst>
                                          <p:attrName>style.visibility</p:attrName>
                                        </p:attrNameLst>
                                      </p:cBhvr>
                                      <p:to>
                                        <p:strVal val="hidden"/>
                                      </p:to>
                                    </p:set>
                                  </p:childTnLst>
                                </p:cTn>
                              </p:par>
                              <p:par>
                                <p:cTn id="70" presetID="1" presetClass="entr" presetSubtype="0" fill="hold" grpId="0" nodeType="withEffect">
                                  <p:stCondLst>
                                    <p:cond delay="200"/>
                                  </p:stCondLst>
                                  <p:childTnLst>
                                    <p:set>
                                      <p:cBhvr>
                                        <p:cTn id="71" dur="1" fill="hold">
                                          <p:stCondLst>
                                            <p:cond delay="149"/>
                                          </p:stCondLst>
                                        </p:cTn>
                                        <p:tgtEl>
                                          <p:spTgt spid="49"/>
                                        </p:tgtEl>
                                        <p:attrNameLst>
                                          <p:attrName>style.visibility</p:attrName>
                                        </p:attrNameLst>
                                      </p:cBhvr>
                                      <p:to>
                                        <p:strVal val="visible"/>
                                      </p:to>
                                    </p:set>
                                  </p:childTnLst>
                                </p:cTn>
                              </p:par>
                              <p:par>
                                <p:cTn id="72" presetID="1" presetClass="exit" presetSubtype="0" fill="hold" grpId="1" nodeType="withEffect">
                                  <p:stCondLst>
                                    <p:cond delay="300"/>
                                  </p:stCondLst>
                                  <p:childTnLst>
                                    <p:set>
                                      <p:cBhvr>
                                        <p:cTn id="73" dur="1" fill="hold">
                                          <p:stCondLst>
                                            <p:cond delay="149"/>
                                          </p:stCondLst>
                                        </p:cTn>
                                        <p:tgtEl>
                                          <p:spTgt spid="49"/>
                                        </p:tgtEl>
                                        <p:attrNameLst>
                                          <p:attrName>style.visibility</p:attrName>
                                        </p:attrNameLst>
                                      </p:cBhvr>
                                      <p:to>
                                        <p:strVal val="hidden"/>
                                      </p:to>
                                    </p:set>
                                  </p:childTnLst>
                                </p:cTn>
                              </p:par>
                            </p:childTnLst>
                          </p:cTn>
                        </p:par>
                        <p:par>
                          <p:cTn id="74" fill="hold">
                            <p:stCondLst>
                              <p:cond delay="4650"/>
                            </p:stCondLst>
                            <p:childTnLst>
                              <p:par>
                                <p:cTn id="75" presetID="1" presetClass="entr" presetSubtype="0" fill="hold" grpId="2" nodeType="afterEffect">
                                  <p:stCondLst>
                                    <p:cond delay="0"/>
                                  </p:stCondLst>
                                  <p:childTnLst>
                                    <p:set>
                                      <p:cBhvr>
                                        <p:cTn id="76" dur="1" fill="hold">
                                          <p:stCondLst>
                                            <p:cond delay="149"/>
                                          </p:stCondLst>
                                        </p:cTn>
                                        <p:tgtEl>
                                          <p:spTgt spid="46"/>
                                        </p:tgtEl>
                                        <p:attrNameLst>
                                          <p:attrName>style.visibility</p:attrName>
                                        </p:attrNameLst>
                                      </p:cBhvr>
                                      <p:to>
                                        <p:strVal val="visible"/>
                                      </p:to>
                                    </p:set>
                                  </p:childTnLst>
                                </p:cTn>
                              </p:par>
                              <p:par>
                                <p:cTn id="77" presetID="1" presetClass="exit" presetSubtype="0" fill="hold" grpId="3" nodeType="withEffect">
                                  <p:stCondLst>
                                    <p:cond delay="100"/>
                                  </p:stCondLst>
                                  <p:childTnLst>
                                    <p:set>
                                      <p:cBhvr>
                                        <p:cTn id="78" dur="1" fill="hold">
                                          <p:stCondLst>
                                            <p:cond delay="149"/>
                                          </p:stCondLst>
                                        </p:cTn>
                                        <p:tgtEl>
                                          <p:spTgt spid="46"/>
                                        </p:tgtEl>
                                        <p:attrNameLst>
                                          <p:attrName>style.visibility</p:attrName>
                                        </p:attrNameLst>
                                      </p:cBhvr>
                                      <p:to>
                                        <p:strVal val="hidden"/>
                                      </p:to>
                                    </p:set>
                                  </p:childTnLst>
                                </p:cTn>
                              </p:par>
                              <p:par>
                                <p:cTn id="79" presetID="1" presetClass="entr" presetSubtype="0" fill="hold" grpId="2" nodeType="withEffect">
                                  <p:stCondLst>
                                    <p:cond delay="100"/>
                                  </p:stCondLst>
                                  <p:childTnLst>
                                    <p:set>
                                      <p:cBhvr>
                                        <p:cTn id="80" dur="1" fill="hold">
                                          <p:stCondLst>
                                            <p:cond delay="149"/>
                                          </p:stCondLst>
                                        </p:cTn>
                                        <p:tgtEl>
                                          <p:spTgt spid="48"/>
                                        </p:tgtEl>
                                        <p:attrNameLst>
                                          <p:attrName>style.visibility</p:attrName>
                                        </p:attrNameLst>
                                      </p:cBhvr>
                                      <p:to>
                                        <p:strVal val="visible"/>
                                      </p:to>
                                    </p:set>
                                  </p:childTnLst>
                                </p:cTn>
                              </p:par>
                              <p:par>
                                <p:cTn id="81" presetID="1" presetClass="exit" presetSubtype="0" fill="hold" grpId="3" nodeType="withEffect">
                                  <p:stCondLst>
                                    <p:cond delay="200"/>
                                  </p:stCondLst>
                                  <p:childTnLst>
                                    <p:set>
                                      <p:cBhvr>
                                        <p:cTn id="82" dur="1" fill="hold">
                                          <p:stCondLst>
                                            <p:cond delay="149"/>
                                          </p:stCondLst>
                                        </p:cTn>
                                        <p:tgtEl>
                                          <p:spTgt spid="48"/>
                                        </p:tgtEl>
                                        <p:attrNameLst>
                                          <p:attrName>style.visibility</p:attrName>
                                        </p:attrNameLst>
                                      </p:cBhvr>
                                      <p:to>
                                        <p:strVal val="hidden"/>
                                      </p:to>
                                    </p:set>
                                  </p:childTnLst>
                                </p:cTn>
                              </p:par>
                              <p:par>
                                <p:cTn id="83" presetID="1" presetClass="entr" presetSubtype="0" fill="hold" grpId="2" nodeType="withEffect">
                                  <p:stCondLst>
                                    <p:cond delay="200"/>
                                  </p:stCondLst>
                                  <p:childTnLst>
                                    <p:set>
                                      <p:cBhvr>
                                        <p:cTn id="84" dur="1" fill="hold">
                                          <p:stCondLst>
                                            <p:cond delay="149"/>
                                          </p:stCondLst>
                                        </p:cTn>
                                        <p:tgtEl>
                                          <p:spTgt spid="49"/>
                                        </p:tgtEl>
                                        <p:attrNameLst>
                                          <p:attrName>style.visibility</p:attrName>
                                        </p:attrNameLst>
                                      </p:cBhvr>
                                      <p:to>
                                        <p:strVal val="visible"/>
                                      </p:to>
                                    </p:set>
                                  </p:childTnLst>
                                </p:cTn>
                              </p:par>
                              <p:par>
                                <p:cTn id="85" presetID="1" presetClass="exit" presetSubtype="0" fill="hold" grpId="3" nodeType="withEffect">
                                  <p:stCondLst>
                                    <p:cond delay="300"/>
                                  </p:stCondLst>
                                  <p:childTnLst>
                                    <p:set>
                                      <p:cBhvr>
                                        <p:cTn id="86" dur="1" fill="hold">
                                          <p:stCondLst>
                                            <p:cond delay="149"/>
                                          </p:stCondLst>
                                        </p:cTn>
                                        <p:tgtEl>
                                          <p:spTgt spid="49"/>
                                        </p:tgtEl>
                                        <p:attrNameLst>
                                          <p:attrName>style.visibility</p:attrName>
                                        </p:attrNameLst>
                                      </p:cBhvr>
                                      <p:to>
                                        <p:strVal val="hidden"/>
                                      </p:to>
                                    </p:set>
                                  </p:childTnLst>
                                </p:cTn>
                              </p:par>
                            </p:childTnLst>
                          </p:cTn>
                        </p:par>
                        <p:par>
                          <p:cTn id="87" fill="hold">
                            <p:stCondLst>
                              <p:cond delay="5100"/>
                            </p:stCondLst>
                            <p:childTnLst>
                              <p:par>
                                <p:cTn id="88" presetID="53" presetClass="entr" presetSubtype="16" fill="hold" grpId="0" nodeType="afterEffect">
                                  <p:stCondLst>
                                    <p:cond delay="0"/>
                                  </p:stCondLst>
                                  <p:childTnLst>
                                    <p:set>
                                      <p:cBhvr>
                                        <p:cTn id="89" dur="1" fill="hold">
                                          <p:stCondLst>
                                            <p:cond delay="0"/>
                                          </p:stCondLst>
                                        </p:cTn>
                                        <p:tgtEl>
                                          <p:spTgt spid="61"/>
                                        </p:tgtEl>
                                        <p:attrNameLst>
                                          <p:attrName>style.visibility</p:attrName>
                                        </p:attrNameLst>
                                      </p:cBhvr>
                                      <p:to>
                                        <p:strVal val="visible"/>
                                      </p:to>
                                    </p:set>
                                    <p:anim calcmode="lin" valueType="num">
                                      <p:cBhvr>
                                        <p:cTn id="90" dur="250" fill="hold"/>
                                        <p:tgtEl>
                                          <p:spTgt spid="61"/>
                                        </p:tgtEl>
                                        <p:attrNameLst>
                                          <p:attrName>ppt_w</p:attrName>
                                        </p:attrNameLst>
                                      </p:cBhvr>
                                      <p:tavLst>
                                        <p:tav tm="0">
                                          <p:val>
                                            <p:fltVal val="0"/>
                                          </p:val>
                                        </p:tav>
                                        <p:tav tm="100000">
                                          <p:val>
                                            <p:strVal val="#ppt_w"/>
                                          </p:val>
                                        </p:tav>
                                      </p:tavLst>
                                    </p:anim>
                                    <p:anim calcmode="lin" valueType="num">
                                      <p:cBhvr>
                                        <p:cTn id="91" dur="250" fill="hold"/>
                                        <p:tgtEl>
                                          <p:spTgt spid="61"/>
                                        </p:tgtEl>
                                        <p:attrNameLst>
                                          <p:attrName>ppt_h</p:attrName>
                                        </p:attrNameLst>
                                      </p:cBhvr>
                                      <p:tavLst>
                                        <p:tav tm="0">
                                          <p:val>
                                            <p:fltVal val="0"/>
                                          </p:val>
                                        </p:tav>
                                        <p:tav tm="100000">
                                          <p:val>
                                            <p:strVal val="#ppt_h"/>
                                          </p:val>
                                        </p:tav>
                                      </p:tavLst>
                                    </p:anim>
                                    <p:animEffect transition="in" filter="fade">
                                      <p:cBhvr>
                                        <p:cTn id="92" dur="250"/>
                                        <p:tgtEl>
                                          <p:spTgt spid="61"/>
                                        </p:tgtEl>
                                      </p:cBhvr>
                                    </p:animEffect>
                                  </p:childTnLst>
                                </p:cTn>
                              </p:par>
                              <p:par>
                                <p:cTn id="93" presetID="6" presetClass="emph" presetSubtype="0" decel="100000" fill="hold" grpId="1" nodeType="withEffect">
                                  <p:stCondLst>
                                    <p:cond delay="200"/>
                                  </p:stCondLst>
                                  <p:childTnLst>
                                    <p:animScale>
                                      <p:cBhvr>
                                        <p:cTn id="94" dur="250" fill="hold"/>
                                        <p:tgtEl>
                                          <p:spTgt spid="61"/>
                                        </p:tgtEl>
                                      </p:cBhvr>
                                      <p:by x="110000" y="110000"/>
                                    </p:animScale>
                                  </p:childTnLst>
                                </p:cTn>
                              </p:par>
                              <p:par>
                                <p:cTn id="95" presetID="6" presetClass="emph" presetSubtype="0" decel="100000" fill="hold" grpId="2" nodeType="withEffect">
                                  <p:stCondLst>
                                    <p:cond delay="300"/>
                                  </p:stCondLst>
                                  <p:childTnLst>
                                    <p:animScale>
                                      <p:cBhvr>
                                        <p:cTn id="96" dur="250" fill="hold"/>
                                        <p:tgtEl>
                                          <p:spTgt spid="61"/>
                                        </p:tgtEl>
                                      </p:cBhvr>
                                      <p:by x="91000" y="91000"/>
                                    </p:animScale>
                                  </p:childTnLst>
                                </p:cTn>
                              </p:par>
                            </p:childTnLst>
                          </p:cTn>
                        </p:par>
                        <p:par>
                          <p:cTn id="97" fill="hold">
                            <p:stCondLst>
                              <p:cond delay="5650"/>
                            </p:stCondLst>
                            <p:childTnLst>
                              <p:par>
                                <p:cTn id="98" presetID="42" presetClass="entr" presetSubtype="0" fill="hold" nodeType="afterEffect">
                                  <p:stCondLst>
                                    <p:cond delay="0"/>
                                  </p:stCondLst>
                                  <p:childTnLst>
                                    <p:set>
                                      <p:cBhvr>
                                        <p:cTn id="99" dur="1" fill="hold">
                                          <p:stCondLst>
                                            <p:cond delay="0"/>
                                          </p:stCondLst>
                                        </p:cTn>
                                        <p:tgtEl>
                                          <p:spTgt spid="50"/>
                                        </p:tgtEl>
                                        <p:attrNameLst>
                                          <p:attrName>style.visibility</p:attrName>
                                        </p:attrNameLst>
                                      </p:cBhvr>
                                      <p:to>
                                        <p:strVal val="visible"/>
                                      </p:to>
                                    </p:set>
                                    <p:animEffect transition="in" filter="fade">
                                      <p:cBhvr>
                                        <p:cTn id="100" dur="500"/>
                                        <p:tgtEl>
                                          <p:spTgt spid="50"/>
                                        </p:tgtEl>
                                      </p:cBhvr>
                                    </p:animEffect>
                                    <p:anim calcmode="lin" valueType="num">
                                      <p:cBhvr>
                                        <p:cTn id="101" dur="500" fill="hold"/>
                                        <p:tgtEl>
                                          <p:spTgt spid="50"/>
                                        </p:tgtEl>
                                        <p:attrNameLst>
                                          <p:attrName>ppt_x</p:attrName>
                                        </p:attrNameLst>
                                      </p:cBhvr>
                                      <p:tavLst>
                                        <p:tav tm="0">
                                          <p:val>
                                            <p:strVal val="#ppt_x"/>
                                          </p:val>
                                        </p:tav>
                                        <p:tav tm="100000">
                                          <p:val>
                                            <p:strVal val="#ppt_x"/>
                                          </p:val>
                                        </p:tav>
                                      </p:tavLst>
                                    </p:anim>
                                    <p:anim calcmode="lin" valueType="num">
                                      <p:cBhvr>
                                        <p:cTn id="102" dur="5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61" grpId="2" animBg="1"/>
      <p:bldP spid="46" grpId="0" animBg="1"/>
      <p:bldP spid="46" grpId="1" animBg="1"/>
      <p:bldP spid="46" grpId="2" animBg="1"/>
      <p:bldP spid="46" grpId="3" animBg="1"/>
      <p:bldP spid="48" grpId="0" animBg="1"/>
      <p:bldP spid="48" grpId="1" animBg="1"/>
      <p:bldP spid="48" grpId="2" animBg="1"/>
      <p:bldP spid="48" grpId="3" animBg="1"/>
      <p:bldP spid="49" grpId="0" animBg="1"/>
      <p:bldP spid="49" grpId="1" animBg="1"/>
      <p:bldP spid="49" grpId="2" animBg="1"/>
      <p:bldP spid="49" grpId="3" animBg="1"/>
      <p:bldP spid="42" grpId="0" animBg="1"/>
      <p:bldP spid="42" grpId="1" animBg="1"/>
      <p:bldP spid="42" grpId="2" animBg="1"/>
      <p:bldP spid="60"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919289" y="2267701"/>
            <a:ext cx="2252509" cy="4386504"/>
          </a:xfrm>
          <a:prstGeom prst="roundRect">
            <a:avLst/>
          </a:prstGeom>
          <a:solidFill>
            <a:schemeClr val="tx1"/>
          </a:solidFill>
          <a:ln w="190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4" name="Group 3"/>
          <p:cNvGrpSpPr/>
          <p:nvPr/>
        </p:nvGrpSpPr>
        <p:grpSpPr>
          <a:xfrm>
            <a:off x="1426335" y="2379344"/>
            <a:ext cx="1349429" cy="955226"/>
            <a:chOff x="1453017" y="2426126"/>
            <a:chExt cx="1377042" cy="974771"/>
          </a:xfrm>
        </p:grpSpPr>
        <p:sp>
          <p:nvSpPr>
            <p:cNvPr id="24" name="Rounded Rectangle 23"/>
            <p:cNvSpPr/>
            <p:nvPr/>
          </p:nvSpPr>
          <p:spPr bwMode="auto">
            <a:xfrm>
              <a:off x="1453017" y="2426126"/>
              <a:ext cx="1377042" cy="90419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3" rIns="91387" bIns="45693" numCol="1" rtlCol="0" anchor="ctr" anchorCtr="0" compatLnSpc="1">
              <a:prstTxWarp prst="textNoShape">
                <a:avLst/>
              </a:prstTxWarp>
            </a:bodyPr>
            <a:lstStyle/>
            <a:p>
              <a:pPr algn="ctr" defTabSz="913249" fontAlgn="base">
                <a:spcBef>
                  <a:spcPct val="0"/>
                </a:spcBef>
                <a:spcAft>
                  <a:spcPct val="0"/>
                </a:spcAft>
              </a:pPr>
              <a:endParaRPr lang="en-US" sz="1600" dirty="0">
                <a:gradFill>
                  <a:gsLst>
                    <a:gs pos="0">
                      <a:srgbClr val="FFFFFF"/>
                    </a:gs>
                    <a:gs pos="100000">
                      <a:srgbClr val="FFFFFF"/>
                    </a:gs>
                  </a:gsLst>
                  <a:lin ang="5400000" scaled="0"/>
                </a:gradFill>
              </a:endParaRPr>
            </a:p>
          </p:txBody>
        </p:sp>
        <p:pic>
          <p:nvPicPr>
            <p:cNvPr id="159" name="Picture 2" descr="\\MAGNUM\Projects\Microsoft\Cloud Power FY12\Design\ICONS_PNG\Next_Gen_Application.png"/>
            <p:cNvPicPr>
              <a:picLocks noChangeAspect="1" noChangeArrowheads="1"/>
            </p:cNvPicPr>
            <p:nvPr/>
          </p:nvPicPr>
          <p:blipFill rotWithShape="1">
            <a:blip r:embed="rId3" cstate="print">
              <a:biLevel thresh="25000"/>
            </a:blip>
            <a:srcRect l="19757" t="33364" r="40122" b="34687"/>
            <a:stretch/>
          </p:blipFill>
          <p:spPr bwMode="auto">
            <a:xfrm>
              <a:off x="1826255" y="2513179"/>
              <a:ext cx="634879" cy="492270"/>
            </a:xfrm>
            <a:prstGeom prst="rect">
              <a:avLst/>
            </a:prstGeom>
            <a:noFill/>
          </p:spPr>
        </p:pic>
        <p:sp>
          <p:nvSpPr>
            <p:cNvPr id="160" name="TextBox 159"/>
            <p:cNvSpPr txBox="1"/>
            <p:nvPr/>
          </p:nvSpPr>
          <p:spPr>
            <a:xfrm>
              <a:off x="1523159" y="3068763"/>
              <a:ext cx="1241071" cy="332134"/>
            </a:xfrm>
            <a:prstGeom prst="rect">
              <a:avLst/>
            </a:prstGeom>
            <a:noFill/>
          </p:spPr>
          <p:txBody>
            <a:bodyPr wrap="square" lIns="0" tIns="0" rIns="0" bIns="0" rtlCol="0">
              <a:spAutoFit/>
            </a:bodyPr>
            <a:lstStyle/>
            <a:p>
              <a:pPr algn="ctr" defTabSz="1218068">
                <a:lnSpc>
                  <a:spcPct val="90000"/>
                </a:lnSpc>
                <a:spcBef>
                  <a:spcPct val="20000"/>
                </a:spcBef>
                <a:buSzPct val="80000"/>
              </a:pPr>
              <a:r>
                <a:rPr lang="en-US" sz="1175" dirty="0">
                  <a:gradFill>
                    <a:gsLst>
                      <a:gs pos="0">
                        <a:srgbClr val="EFEFEF"/>
                      </a:gs>
                      <a:gs pos="100000">
                        <a:srgbClr val="EFEFEF"/>
                      </a:gs>
                    </a:gsLst>
                    <a:lin ang="5400000" scaled="0"/>
                  </a:gradFill>
                </a:rPr>
                <a:t>On-Premises Apps</a:t>
              </a:r>
            </a:p>
          </p:txBody>
        </p:sp>
      </p:grpSp>
      <p:sp>
        <p:nvSpPr>
          <p:cNvPr id="161" name="TextBox 160"/>
          <p:cNvSpPr txBox="1"/>
          <p:nvPr/>
        </p:nvSpPr>
        <p:spPr>
          <a:xfrm>
            <a:off x="1059510" y="3292273"/>
            <a:ext cx="1140573" cy="953732"/>
          </a:xfrm>
          <a:prstGeom prst="rect">
            <a:avLst/>
          </a:prstGeom>
          <a:noFill/>
        </p:spPr>
        <p:txBody>
          <a:bodyPr wrap="square" lIns="179212" tIns="143371" rIns="179212" bIns="143371" rtlCol="0">
            <a:spAutoFit/>
          </a:bodyPr>
          <a:lstStyle/>
          <a:p>
            <a:pPr algn="r" defTabSz="913771">
              <a:lnSpc>
                <a:spcPct val="90000"/>
              </a:lnSpc>
            </a:pPr>
            <a:r>
              <a:rPr lang="en-US" sz="1175" spc="-49" dirty="0">
                <a:gradFill>
                  <a:gsLst>
                    <a:gs pos="2917">
                      <a:srgbClr val="00188F"/>
                    </a:gs>
                    <a:gs pos="30000">
                      <a:srgbClr val="00188F"/>
                    </a:gs>
                  </a:gsLst>
                  <a:lin ang="5400000" scaled="0"/>
                </a:gradFill>
              </a:rPr>
              <a:t>RADIUS</a:t>
            </a:r>
          </a:p>
          <a:p>
            <a:pPr algn="r" defTabSz="913771">
              <a:lnSpc>
                <a:spcPct val="90000"/>
              </a:lnSpc>
            </a:pPr>
            <a:r>
              <a:rPr lang="en-US" sz="1175" spc="-49" dirty="0">
                <a:gradFill>
                  <a:gsLst>
                    <a:gs pos="2917">
                      <a:srgbClr val="00188F"/>
                    </a:gs>
                    <a:gs pos="30000">
                      <a:srgbClr val="00188F"/>
                    </a:gs>
                  </a:gsLst>
                  <a:lin ang="5400000" scaled="0"/>
                </a:gradFill>
              </a:rPr>
              <a:t>LDAP</a:t>
            </a:r>
            <a:br>
              <a:rPr lang="en-US" sz="1175" spc="-49" dirty="0">
                <a:gradFill>
                  <a:gsLst>
                    <a:gs pos="2917">
                      <a:srgbClr val="00188F"/>
                    </a:gs>
                    <a:gs pos="30000">
                      <a:srgbClr val="00188F"/>
                    </a:gs>
                  </a:gsLst>
                  <a:lin ang="5400000" scaled="0"/>
                </a:gradFill>
              </a:rPr>
            </a:br>
            <a:r>
              <a:rPr lang="en-US" sz="1175" spc="-49" dirty="0">
                <a:gradFill>
                  <a:gsLst>
                    <a:gs pos="2917">
                      <a:srgbClr val="00188F"/>
                    </a:gs>
                    <a:gs pos="30000">
                      <a:srgbClr val="00188F"/>
                    </a:gs>
                  </a:gsLst>
                  <a:lin ang="5400000" scaled="0"/>
                </a:gradFill>
              </a:rPr>
              <a:t>IIS    </a:t>
            </a:r>
          </a:p>
          <a:p>
            <a:pPr algn="r" defTabSz="913771">
              <a:lnSpc>
                <a:spcPct val="90000"/>
              </a:lnSpc>
            </a:pPr>
            <a:r>
              <a:rPr lang="en-US" sz="1175" spc="-49" dirty="0">
                <a:gradFill>
                  <a:gsLst>
                    <a:gs pos="2917">
                      <a:srgbClr val="00188F"/>
                    </a:gs>
                    <a:gs pos="30000">
                      <a:srgbClr val="00188F"/>
                    </a:gs>
                  </a:gsLst>
                  <a:lin ang="5400000" scaled="0"/>
                </a:gradFill>
              </a:rPr>
              <a:t> RDS/VDI</a:t>
            </a:r>
          </a:p>
        </p:txBody>
      </p:sp>
      <p:grpSp>
        <p:nvGrpSpPr>
          <p:cNvPr id="6" name="Group 5"/>
          <p:cNvGrpSpPr/>
          <p:nvPr/>
        </p:nvGrpSpPr>
        <p:grpSpPr>
          <a:xfrm>
            <a:off x="1426333" y="4276344"/>
            <a:ext cx="1567042" cy="762182"/>
            <a:chOff x="1453017" y="4361945"/>
            <a:chExt cx="1599107" cy="777778"/>
          </a:xfrm>
        </p:grpSpPr>
        <p:sp>
          <p:nvSpPr>
            <p:cNvPr id="162" name="Rounded Rectangle 161"/>
            <p:cNvSpPr/>
            <p:nvPr/>
          </p:nvSpPr>
          <p:spPr bwMode="auto">
            <a:xfrm>
              <a:off x="1453017" y="4361945"/>
              <a:ext cx="1377042" cy="777778"/>
            </a:xfrm>
            <a:prstGeom prst="roundRect">
              <a:avLst/>
            </a:prstGeom>
            <a:solidFill>
              <a:schemeClr val="accent1"/>
            </a:solidFill>
            <a:ln w="412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163" name="TextBox 162"/>
            <p:cNvSpPr txBox="1"/>
            <p:nvPr/>
          </p:nvSpPr>
          <p:spPr>
            <a:xfrm>
              <a:off x="1811053" y="4506880"/>
              <a:ext cx="1241071" cy="535104"/>
            </a:xfrm>
            <a:prstGeom prst="rect">
              <a:avLst/>
            </a:prstGeom>
            <a:noFill/>
          </p:spPr>
          <p:txBody>
            <a:bodyPr wrap="square" lIns="0" tIns="0" rIns="0" bIns="0" rtlCol="0">
              <a:spAutoFit/>
            </a:bodyPr>
            <a:lstStyle/>
            <a:p>
              <a:pPr defTabSz="1218068">
                <a:lnSpc>
                  <a:spcPct val="90000"/>
                </a:lnSpc>
                <a:spcBef>
                  <a:spcPct val="20000"/>
                </a:spcBef>
                <a:buSzPct val="80000"/>
              </a:pPr>
              <a:r>
                <a:rPr lang="en-US" sz="1175" dirty="0">
                  <a:gradFill>
                    <a:gsLst>
                      <a:gs pos="0">
                        <a:srgbClr val="EFEFEF"/>
                      </a:gs>
                      <a:gs pos="100000">
                        <a:srgbClr val="EFEFEF"/>
                      </a:gs>
                    </a:gsLst>
                    <a:lin ang="5400000" scaled="0"/>
                  </a:gradFill>
                </a:rPr>
                <a:t>Multi-Factor</a:t>
              </a:r>
            </a:p>
            <a:p>
              <a:pPr defTabSz="1218068">
                <a:lnSpc>
                  <a:spcPct val="90000"/>
                </a:lnSpc>
                <a:spcBef>
                  <a:spcPct val="20000"/>
                </a:spcBef>
                <a:buSzPct val="80000"/>
              </a:pPr>
              <a:r>
                <a:rPr lang="en-US" sz="1175" dirty="0">
                  <a:gradFill>
                    <a:gsLst>
                      <a:gs pos="0">
                        <a:srgbClr val="EFEFEF"/>
                      </a:gs>
                      <a:gs pos="100000">
                        <a:srgbClr val="EFEFEF"/>
                      </a:gs>
                    </a:gsLst>
                    <a:lin ang="5400000" scaled="0"/>
                  </a:gradFill>
                </a:rPr>
                <a:t>Authentication</a:t>
              </a:r>
              <a:br>
                <a:rPr lang="en-US" sz="1175" dirty="0">
                  <a:gradFill>
                    <a:gsLst>
                      <a:gs pos="0">
                        <a:srgbClr val="EFEFEF"/>
                      </a:gs>
                      <a:gs pos="100000">
                        <a:srgbClr val="EFEFEF"/>
                      </a:gs>
                    </a:gsLst>
                    <a:lin ang="5400000" scaled="0"/>
                  </a:gradFill>
                </a:rPr>
              </a:br>
              <a:r>
                <a:rPr lang="en-US" sz="1175" dirty="0">
                  <a:gradFill>
                    <a:gsLst>
                      <a:gs pos="0">
                        <a:srgbClr val="EFEFEF"/>
                      </a:gs>
                      <a:gs pos="100000">
                        <a:srgbClr val="EFEFEF"/>
                      </a:gs>
                    </a:gsLst>
                    <a:lin ang="5400000" scaled="0"/>
                  </a:gradFill>
                </a:rPr>
                <a:t>Server</a:t>
              </a:r>
            </a:p>
          </p:txBody>
        </p:sp>
        <p:pic>
          <p:nvPicPr>
            <p:cNvPr id="182" name="Picture 18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rot="21000000">
              <a:off x="1530941" y="4551890"/>
              <a:ext cx="174012" cy="444410"/>
            </a:xfrm>
            <a:prstGeom prst="rect">
              <a:avLst/>
            </a:prstGeom>
          </p:spPr>
        </p:pic>
      </p:grpSp>
      <p:sp>
        <p:nvSpPr>
          <p:cNvPr id="3" name="Freeform 2"/>
          <p:cNvSpPr/>
          <p:nvPr/>
        </p:nvSpPr>
        <p:spPr bwMode="auto">
          <a:xfrm>
            <a:off x="2101048" y="5085786"/>
            <a:ext cx="0" cy="336024"/>
          </a:xfrm>
          <a:custGeom>
            <a:avLst/>
            <a:gdLst>
              <a:gd name="connsiteX0" fmla="*/ 0 w 0"/>
              <a:gd name="connsiteY0" fmla="*/ 0 h 342900"/>
              <a:gd name="connsiteX1" fmla="*/ 0 w 0"/>
              <a:gd name="connsiteY1" fmla="*/ 342900 h 342900"/>
            </a:gdLst>
            <a:ahLst/>
            <a:cxnLst>
              <a:cxn ang="0">
                <a:pos x="connsiteX0" y="connsiteY0"/>
              </a:cxn>
              <a:cxn ang="0">
                <a:pos x="connsiteX1" y="connsiteY1"/>
              </a:cxn>
            </a:cxnLst>
            <a:rect l="l" t="t" r="r" b="b"/>
            <a:pathLst>
              <a:path h="342900">
                <a:moveTo>
                  <a:pt x="0" y="0"/>
                </a:moveTo>
                <a:lnTo>
                  <a:pt x="0" y="342900"/>
                </a:lnTo>
              </a:path>
            </a:pathLst>
          </a:custGeom>
          <a:noFill/>
          <a:ln w="1905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71"/>
            <a:endParaRPr lang="en-US" sz="1764">
              <a:solidFill>
                <a:srgbClr val="EFEFEF"/>
              </a:solidFill>
            </a:endParaRPr>
          </a:p>
        </p:txBody>
      </p:sp>
      <p:sp>
        <p:nvSpPr>
          <p:cNvPr id="7" name="Freeform 6"/>
          <p:cNvSpPr/>
          <p:nvPr/>
        </p:nvSpPr>
        <p:spPr bwMode="auto">
          <a:xfrm>
            <a:off x="2101048" y="3281213"/>
            <a:ext cx="0" cy="952068"/>
          </a:xfrm>
          <a:custGeom>
            <a:avLst/>
            <a:gdLst>
              <a:gd name="connsiteX0" fmla="*/ 0 w 0"/>
              <a:gd name="connsiteY0" fmla="*/ 0 h 971550"/>
              <a:gd name="connsiteX1" fmla="*/ 0 w 0"/>
              <a:gd name="connsiteY1" fmla="*/ 971550 h 971550"/>
            </a:gdLst>
            <a:ahLst/>
            <a:cxnLst>
              <a:cxn ang="0">
                <a:pos x="connsiteX0" y="connsiteY0"/>
              </a:cxn>
              <a:cxn ang="0">
                <a:pos x="connsiteX1" y="connsiteY1"/>
              </a:cxn>
            </a:cxnLst>
            <a:rect l="l" t="t" r="r" b="b"/>
            <a:pathLst>
              <a:path h="971550">
                <a:moveTo>
                  <a:pt x="0" y="0"/>
                </a:moveTo>
                <a:lnTo>
                  <a:pt x="0" y="971550"/>
                </a:lnTo>
              </a:path>
            </a:pathLst>
          </a:custGeom>
          <a:noFill/>
          <a:ln w="1905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71"/>
            <a:endParaRPr lang="en-US" sz="1764">
              <a:solidFill>
                <a:srgbClr val="EFEFEF"/>
              </a:solidFill>
            </a:endParaRPr>
          </a:p>
        </p:txBody>
      </p:sp>
      <p:grpSp>
        <p:nvGrpSpPr>
          <p:cNvPr id="9" name="Group 8"/>
          <p:cNvGrpSpPr/>
          <p:nvPr/>
        </p:nvGrpSpPr>
        <p:grpSpPr>
          <a:xfrm>
            <a:off x="5675977" y="2649338"/>
            <a:ext cx="5541055" cy="2795007"/>
            <a:chOff x="5789617" y="2701645"/>
            <a:chExt cx="5654439" cy="2852200"/>
          </a:xfrm>
        </p:grpSpPr>
        <p:sp>
          <p:nvSpPr>
            <p:cNvPr id="110" name="Freeform 109"/>
            <p:cNvSpPr>
              <a:spLocks noChangeAspect="1"/>
            </p:cNvSpPr>
            <p:nvPr/>
          </p:nvSpPr>
          <p:spPr bwMode="black">
            <a:xfrm>
              <a:off x="8152781" y="2701645"/>
              <a:ext cx="3291275" cy="2621629"/>
            </a:xfrm>
            <a:custGeom>
              <a:avLst/>
              <a:gdLst>
                <a:gd name="connsiteX0" fmla="*/ 708605 w 3291275"/>
                <a:gd name="connsiteY0" fmla="*/ 0 h 2621629"/>
                <a:gd name="connsiteX1" fmla="*/ 1743538 w 3291275"/>
                <a:gd name="connsiteY1" fmla="*/ 653075 h 2621629"/>
                <a:gd name="connsiteX2" fmla="*/ 2237695 w 3291275"/>
                <a:gd name="connsiteY2" fmla="*/ 522460 h 2621629"/>
                <a:gd name="connsiteX3" fmla="*/ 3291275 w 3291275"/>
                <a:gd name="connsiteY3" fmla="*/ 1576709 h 2621629"/>
                <a:gd name="connsiteX4" fmla="*/ 2237695 w 3291275"/>
                <a:gd name="connsiteY4" fmla="*/ 2621629 h 2621629"/>
                <a:gd name="connsiteX5" fmla="*/ 1983401 w 3291275"/>
                <a:gd name="connsiteY5" fmla="*/ 2621629 h 2621629"/>
                <a:gd name="connsiteX6" fmla="*/ 1997621 w 3291275"/>
                <a:gd name="connsiteY6" fmla="*/ 2611012 h 2621629"/>
                <a:gd name="connsiteX7" fmla="*/ 2382607 w 3291275"/>
                <a:gd name="connsiteY7" fmla="*/ 1807280 h 2621629"/>
                <a:gd name="connsiteX8" fmla="*/ 1329027 w 3291275"/>
                <a:gd name="connsiteY8" fmla="*/ 753031 h 2621629"/>
                <a:gd name="connsiteX9" fmla="*/ 834870 w 3291275"/>
                <a:gd name="connsiteY9" fmla="*/ 883646 h 2621629"/>
                <a:gd name="connsiteX10" fmla="*/ 124229 w 3291275"/>
                <a:gd name="connsiteY10" fmla="*/ 277511 h 2621629"/>
                <a:gd name="connsiteX11" fmla="*/ 0 w 3291275"/>
                <a:gd name="connsiteY11" fmla="*/ 250200 h 2621629"/>
                <a:gd name="connsiteX12" fmla="*/ 3298 w 3291275"/>
                <a:gd name="connsiteY12" fmla="*/ 247327 h 2621629"/>
                <a:gd name="connsiteX13" fmla="*/ 708605 w 3291275"/>
                <a:gd name="connsiteY13" fmla="*/ 0 h 262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91275" h="2621629">
                  <a:moveTo>
                    <a:pt x="708605" y="0"/>
                  </a:moveTo>
                  <a:cubicBezTo>
                    <a:pt x="1156143" y="0"/>
                    <a:pt x="1557063" y="261230"/>
                    <a:pt x="1743538" y="653075"/>
                  </a:cubicBezTo>
                  <a:cubicBezTo>
                    <a:pt x="1892717" y="569108"/>
                    <a:pt x="2060544" y="522460"/>
                    <a:pt x="2237695" y="522460"/>
                  </a:cubicBezTo>
                  <a:cubicBezTo>
                    <a:pt x="2815765" y="522460"/>
                    <a:pt x="3291275" y="998272"/>
                    <a:pt x="3291275" y="1576709"/>
                  </a:cubicBezTo>
                  <a:cubicBezTo>
                    <a:pt x="3291275" y="2145817"/>
                    <a:pt x="2815765" y="2621629"/>
                    <a:pt x="2237695" y="2621629"/>
                  </a:cubicBezTo>
                  <a:lnTo>
                    <a:pt x="1983401" y="2621629"/>
                  </a:lnTo>
                  <a:lnTo>
                    <a:pt x="1997621" y="2611012"/>
                  </a:lnTo>
                  <a:cubicBezTo>
                    <a:pt x="2232153" y="2418007"/>
                    <a:pt x="2382607" y="2127404"/>
                    <a:pt x="2382607" y="1807280"/>
                  </a:cubicBezTo>
                  <a:cubicBezTo>
                    <a:pt x="2382607" y="1228843"/>
                    <a:pt x="1907097" y="753031"/>
                    <a:pt x="1329027" y="753031"/>
                  </a:cubicBezTo>
                  <a:cubicBezTo>
                    <a:pt x="1151877" y="753031"/>
                    <a:pt x="984050" y="799679"/>
                    <a:pt x="834870" y="883646"/>
                  </a:cubicBezTo>
                  <a:cubicBezTo>
                    <a:pt x="695015" y="589762"/>
                    <a:pt x="434533" y="369350"/>
                    <a:pt x="124229" y="277511"/>
                  </a:cubicBezTo>
                  <a:lnTo>
                    <a:pt x="0" y="250200"/>
                  </a:lnTo>
                  <a:lnTo>
                    <a:pt x="3298" y="247327"/>
                  </a:lnTo>
                  <a:cubicBezTo>
                    <a:pt x="197949" y="92859"/>
                    <a:pt x="443462" y="0"/>
                    <a:pt x="708605" y="0"/>
                  </a:cubicBezTo>
                  <a:close/>
                </a:path>
              </a:pathLst>
            </a:custGeom>
            <a:solidFill>
              <a:schemeClr val="tx1">
                <a:lumMod val="95000"/>
              </a:schemeClr>
            </a:solidFill>
            <a:ln w="41275">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a:gradFill>
                  <a:gsLst>
                    <a:gs pos="1250">
                      <a:srgbClr val="EFEFEF"/>
                    </a:gs>
                    <a:gs pos="10417">
                      <a:srgbClr val="EFEFEF"/>
                    </a:gs>
                  </a:gsLst>
                  <a:lin ang="5400000" scaled="0"/>
                </a:gradFill>
              </a:endParaRPr>
            </a:p>
          </p:txBody>
        </p:sp>
        <p:sp>
          <p:nvSpPr>
            <p:cNvPr id="114" name="Freeform 128"/>
            <p:cNvSpPr>
              <a:spLocks noChangeAspect="1"/>
            </p:cNvSpPr>
            <p:nvPr/>
          </p:nvSpPr>
          <p:spPr bwMode="black">
            <a:xfrm>
              <a:off x="5789617" y="2932216"/>
              <a:ext cx="4745771" cy="26216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lumMod val="95000"/>
              </a:schemeClr>
            </a:solidFill>
            <a:ln w="41275">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a:gradFill>
                  <a:gsLst>
                    <a:gs pos="1250">
                      <a:srgbClr val="EFEFEF"/>
                    </a:gs>
                    <a:gs pos="10417">
                      <a:srgbClr val="EFEFEF"/>
                    </a:gs>
                  </a:gsLst>
                  <a:lin ang="5400000" scaled="0"/>
                </a:gradFill>
              </a:endParaRPr>
            </a:p>
          </p:txBody>
        </p:sp>
      </p:grpSp>
      <p:grpSp>
        <p:nvGrpSpPr>
          <p:cNvPr id="10" name="Group 9"/>
          <p:cNvGrpSpPr/>
          <p:nvPr/>
        </p:nvGrpSpPr>
        <p:grpSpPr>
          <a:xfrm>
            <a:off x="8426169" y="3924774"/>
            <a:ext cx="1987381" cy="985529"/>
            <a:chOff x="8596087" y="4003179"/>
            <a:chExt cx="2028048" cy="1005696"/>
          </a:xfrm>
        </p:grpSpPr>
        <p:sp>
          <p:nvSpPr>
            <p:cNvPr id="135" name="Rounded Rectangle 134"/>
            <p:cNvSpPr/>
            <p:nvPr/>
          </p:nvSpPr>
          <p:spPr bwMode="auto">
            <a:xfrm>
              <a:off x="8596087" y="4003179"/>
              <a:ext cx="1663586" cy="1005696"/>
            </a:xfrm>
            <a:prstGeom prst="round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136" name="TextBox 135"/>
            <p:cNvSpPr txBox="1"/>
            <p:nvPr/>
          </p:nvSpPr>
          <p:spPr>
            <a:xfrm>
              <a:off x="9104319" y="4250423"/>
              <a:ext cx="1519816" cy="572008"/>
            </a:xfrm>
            <a:prstGeom prst="rect">
              <a:avLst/>
            </a:prstGeom>
            <a:noFill/>
          </p:spPr>
          <p:txBody>
            <a:bodyPr wrap="square" lIns="0" tIns="0" rIns="0" bIns="0" rtlCol="0">
              <a:spAutoFit/>
            </a:bodyPr>
            <a:lstStyle/>
            <a:p>
              <a:pPr defTabSz="1218068">
                <a:lnSpc>
                  <a:spcPct val="90000"/>
                </a:lnSpc>
                <a:spcBef>
                  <a:spcPct val="20000"/>
                </a:spcBef>
                <a:buSzPct val="80000"/>
              </a:pPr>
              <a:r>
                <a:rPr lang="en-US" sz="1175" dirty="0">
                  <a:gradFill>
                    <a:gsLst>
                      <a:gs pos="0">
                        <a:srgbClr val="FFFFFF"/>
                      </a:gs>
                      <a:gs pos="100000">
                        <a:srgbClr val="FFFFFF"/>
                      </a:gs>
                    </a:gsLst>
                    <a:lin ang="5400000" scaled="0"/>
                  </a:gradFill>
                </a:rPr>
                <a:t>Multi-Factor</a:t>
              </a:r>
            </a:p>
            <a:p>
              <a:pPr defTabSz="1218068">
                <a:lnSpc>
                  <a:spcPct val="90000"/>
                </a:lnSpc>
                <a:spcBef>
                  <a:spcPct val="20000"/>
                </a:spcBef>
                <a:buSzPct val="80000"/>
              </a:pPr>
              <a:r>
                <a:rPr lang="en-US" sz="1175" dirty="0">
                  <a:gradFill>
                    <a:gsLst>
                      <a:gs pos="0">
                        <a:srgbClr val="FFFFFF"/>
                      </a:gs>
                      <a:gs pos="100000">
                        <a:srgbClr val="FFFFFF"/>
                      </a:gs>
                    </a:gsLst>
                    <a:lin ang="5400000" scaled="0"/>
                  </a:gradFill>
                </a:rPr>
                <a:t>Authentication</a:t>
              </a:r>
            </a:p>
            <a:p>
              <a:pPr defTabSz="1218068">
                <a:lnSpc>
                  <a:spcPct val="90000"/>
                </a:lnSpc>
                <a:spcBef>
                  <a:spcPct val="20000"/>
                </a:spcBef>
                <a:buSzPct val="80000"/>
              </a:pPr>
              <a:r>
                <a:rPr lang="en-US" sz="1175" dirty="0">
                  <a:gradFill>
                    <a:gsLst>
                      <a:gs pos="0">
                        <a:srgbClr val="FFFFFF"/>
                      </a:gs>
                      <a:gs pos="100000">
                        <a:srgbClr val="FFFFFF"/>
                      </a:gs>
                    </a:gsLst>
                    <a:lin ang="5400000" scaled="0"/>
                  </a:gradFill>
                </a:rPr>
                <a:t>Service</a:t>
              </a:r>
            </a:p>
          </p:txBody>
        </p:sp>
        <p:pic>
          <p:nvPicPr>
            <p:cNvPr id="137" name="Picture 136"/>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rot="21000000">
              <a:off x="8793638" y="4286050"/>
              <a:ext cx="187181" cy="444410"/>
            </a:xfrm>
            <a:prstGeom prst="rect">
              <a:avLst/>
            </a:prstGeom>
          </p:spPr>
        </p:pic>
      </p:grpSp>
      <p:grpSp>
        <p:nvGrpSpPr>
          <p:cNvPr id="50" name="Group 49"/>
          <p:cNvGrpSpPr/>
          <p:nvPr/>
        </p:nvGrpSpPr>
        <p:grpSpPr>
          <a:xfrm>
            <a:off x="3729165" y="2301302"/>
            <a:ext cx="2105067" cy="1162868"/>
            <a:chOff x="3802971" y="2346487"/>
            <a:chExt cx="2148142" cy="1186663"/>
          </a:xfrm>
        </p:grpSpPr>
        <p:sp>
          <p:nvSpPr>
            <p:cNvPr id="67" name="Freeform 128"/>
            <p:cNvSpPr>
              <a:spLocks noChangeAspect="1"/>
            </p:cNvSpPr>
            <p:nvPr/>
          </p:nvSpPr>
          <p:spPr bwMode="black">
            <a:xfrm>
              <a:off x="3802971" y="2346487"/>
              <a:ext cx="2148142" cy="118666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4127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a:gradFill>
                  <a:gsLst>
                    <a:gs pos="1250">
                      <a:srgbClr val="EFEFEF"/>
                    </a:gs>
                    <a:gs pos="10417">
                      <a:srgbClr val="EFEFEF"/>
                    </a:gs>
                  </a:gsLst>
                  <a:lin ang="5400000" scaled="0"/>
                </a:gradFill>
              </a:endParaRPr>
            </a:p>
          </p:txBody>
        </p:sp>
        <p:pic>
          <p:nvPicPr>
            <p:cNvPr id="150" name="Picture 2" descr="\\MAGNUM\Projects\Microsoft\Cloud Power FY12\Design\ICONS_PNG\Next_Gen_Application.png"/>
            <p:cNvPicPr>
              <a:picLocks noChangeAspect="1" noChangeArrowheads="1"/>
            </p:cNvPicPr>
            <p:nvPr/>
          </p:nvPicPr>
          <p:blipFill rotWithShape="1">
            <a:blip r:embed="rId3" cstate="print">
              <a:biLevel thresh="25000"/>
            </a:blip>
            <a:srcRect l="19757" t="33364" r="40122" b="34687"/>
            <a:stretch/>
          </p:blipFill>
          <p:spPr bwMode="auto">
            <a:xfrm>
              <a:off x="4488514" y="2712817"/>
              <a:ext cx="635859" cy="492270"/>
            </a:xfrm>
            <a:prstGeom prst="rect">
              <a:avLst/>
            </a:prstGeom>
            <a:noFill/>
          </p:spPr>
        </p:pic>
        <p:sp>
          <p:nvSpPr>
            <p:cNvPr id="151" name="TextBox 150"/>
            <p:cNvSpPr txBox="1"/>
            <p:nvPr/>
          </p:nvSpPr>
          <p:spPr>
            <a:xfrm>
              <a:off x="4185908" y="3249004"/>
              <a:ext cx="1241071" cy="166067"/>
            </a:xfrm>
            <a:prstGeom prst="rect">
              <a:avLst/>
            </a:prstGeom>
            <a:noFill/>
          </p:spPr>
          <p:txBody>
            <a:bodyPr wrap="square" lIns="0" tIns="0" rIns="0" bIns="0" rtlCol="0">
              <a:spAutoFit/>
            </a:bodyPr>
            <a:lstStyle/>
            <a:p>
              <a:pPr algn="ctr" defTabSz="1218068">
                <a:lnSpc>
                  <a:spcPct val="90000"/>
                </a:lnSpc>
                <a:spcBef>
                  <a:spcPct val="20000"/>
                </a:spcBef>
                <a:buSzPct val="80000"/>
              </a:pPr>
              <a:r>
                <a:rPr lang="en-US" sz="1175" dirty="0">
                  <a:gradFill>
                    <a:gsLst>
                      <a:gs pos="0">
                        <a:srgbClr val="FFFFFF"/>
                      </a:gs>
                      <a:gs pos="100000">
                        <a:srgbClr val="FFFFFF"/>
                      </a:gs>
                    </a:gsLst>
                    <a:lin ang="5400000" scaled="0"/>
                  </a:gradFill>
                </a:rPr>
                <a:t>Cloud Apps</a:t>
              </a:r>
            </a:p>
          </p:txBody>
        </p:sp>
      </p:grpSp>
      <p:cxnSp>
        <p:nvCxnSpPr>
          <p:cNvPr id="166" name="Straight Arrow Connector 165"/>
          <p:cNvCxnSpPr/>
          <p:nvPr/>
        </p:nvCxnSpPr>
        <p:spPr>
          <a:xfrm flipH="1">
            <a:off x="2256586" y="3375338"/>
            <a:ext cx="1467907" cy="858075"/>
          </a:xfrm>
          <a:prstGeom prst="straightConnector1">
            <a:avLst/>
          </a:prstGeom>
          <a:noFill/>
          <a:ln w="1905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67" name="TextBox 166"/>
          <p:cNvSpPr txBox="1"/>
          <p:nvPr/>
        </p:nvSpPr>
        <p:spPr>
          <a:xfrm rot="19705370">
            <a:off x="2355818" y="3492538"/>
            <a:ext cx="1039727" cy="452408"/>
          </a:xfrm>
          <a:prstGeom prst="rect">
            <a:avLst/>
          </a:prstGeom>
          <a:noFill/>
        </p:spPr>
        <p:txBody>
          <a:bodyPr wrap="square" lIns="179212" tIns="143371" rIns="179212" bIns="143371" rtlCol="0">
            <a:spAutoFit/>
          </a:bodyPr>
          <a:lstStyle/>
          <a:p>
            <a:pPr algn="ctr" defTabSz="913771">
              <a:lnSpc>
                <a:spcPct val="90000"/>
              </a:lnSpc>
            </a:pPr>
            <a:r>
              <a:rPr lang="en-US" sz="1175" spc="-49" dirty="0">
                <a:gradFill>
                  <a:gsLst>
                    <a:gs pos="2917">
                      <a:srgbClr val="00188F"/>
                    </a:gs>
                    <a:gs pos="30000">
                      <a:srgbClr val="00188F"/>
                    </a:gs>
                  </a:gsLst>
                  <a:lin ang="5400000" scaled="0"/>
                </a:gradFill>
              </a:rPr>
              <a:t>SAML</a:t>
            </a:r>
          </a:p>
        </p:txBody>
      </p:sp>
      <p:sp>
        <p:nvSpPr>
          <p:cNvPr id="123" name="Rectangle 122"/>
          <p:cNvSpPr/>
          <p:nvPr/>
        </p:nvSpPr>
        <p:spPr>
          <a:xfrm>
            <a:off x="7244057" y="943691"/>
            <a:ext cx="4700341" cy="8863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55" tIns="45678" rIns="91355" bIns="45678" numCol="1" spcCol="0" rtlCol="0" fromWordArt="0" anchor="b" anchorCtr="0" forceAA="0" compatLnSpc="1">
            <a:prstTxWarp prst="textNoShape">
              <a:avLst/>
            </a:prstTxWarp>
            <a:noAutofit/>
          </a:bodyPr>
          <a:lstStyle/>
          <a:p>
            <a:pPr defTabSz="913249" fontAlgn="base">
              <a:spcBef>
                <a:spcPct val="0"/>
              </a:spcBef>
              <a:spcAft>
                <a:spcPct val="0"/>
              </a:spcAft>
            </a:pPr>
            <a:endParaRPr lang="en-US" sz="1600" spc="-71" dirty="0">
              <a:solidFill>
                <a:srgbClr val="FFFFFF">
                  <a:alpha val="99000"/>
                </a:srgbClr>
              </a:solidFill>
              <a:latin typeface="Segoe UI Light" pitchFamily="34" charset="0"/>
            </a:endParaRPr>
          </a:p>
        </p:txBody>
      </p:sp>
      <p:pic>
        <p:nvPicPr>
          <p:cNvPr id="125" name="Picture 12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55059" y="1009200"/>
            <a:ext cx="449955" cy="735499"/>
          </a:xfrm>
          <a:prstGeom prst="rect">
            <a:avLst/>
          </a:prstGeom>
        </p:spPr>
      </p:pic>
      <p:pic>
        <p:nvPicPr>
          <p:cNvPr id="126" name="Picture 125"/>
          <p:cNvPicPr>
            <a:picLocks noChangeAspect="1"/>
          </p:cNvPicPr>
          <p:nvPr/>
        </p:nvPicPr>
        <p:blipFill rotWithShape="1">
          <a:blip r:embed="rId7" cstate="print">
            <a:extLst>
              <a:ext uri="{28A0092B-C50C-407E-A947-70E740481C1C}">
                <a14:useLocalDpi xmlns:a14="http://schemas.microsoft.com/office/drawing/2010/main" val="0"/>
              </a:ext>
            </a:extLst>
          </a:blip>
          <a:srcRect l="7324" r="7999"/>
          <a:stretch/>
        </p:blipFill>
        <p:spPr>
          <a:xfrm>
            <a:off x="10400334" y="1021455"/>
            <a:ext cx="602044" cy="710990"/>
          </a:xfrm>
          <a:prstGeom prst="rect">
            <a:avLst/>
          </a:prstGeom>
        </p:spPr>
      </p:pic>
      <p:pic>
        <p:nvPicPr>
          <p:cNvPr id="127" name="Picture 126"/>
          <p:cNvPicPr>
            <a:picLocks noChangeAspect="1"/>
          </p:cNvPicPr>
          <p:nvPr/>
        </p:nvPicPr>
        <p:blipFill rotWithShape="1">
          <a:blip r:embed="rId8" cstate="print">
            <a:extLst>
              <a:ext uri="{28A0092B-C50C-407E-A947-70E740481C1C}">
                <a14:useLocalDpi xmlns:a14="http://schemas.microsoft.com/office/drawing/2010/main" val="0"/>
              </a:ext>
            </a:extLst>
          </a:blip>
          <a:srcRect l="21921" r="19994"/>
          <a:stretch/>
        </p:blipFill>
        <p:spPr>
          <a:xfrm>
            <a:off x="8930376" y="1007346"/>
            <a:ext cx="429364" cy="739203"/>
          </a:xfrm>
          <a:prstGeom prst="rect">
            <a:avLst/>
          </a:prstGeom>
        </p:spPr>
      </p:pic>
      <p:sp>
        <p:nvSpPr>
          <p:cNvPr id="128" name="TextBox 127"/>
          <p:cNvSpPr txBox="1"/>
          <p:nvPr/>
        </p:nvSpPr>
        <p:spPr>
          <a:xfrm>
            <a:off x="7664071" y="305826"/>
            <a:ext cx="3729996" cy="669466"/>
          </a:xfrm>
          <a:prstGeom prst="rect">
            <a:avLst/>
          </a:prstGeom>
          <a:noFill/>
        </p:spPr>
        <p:txBody>
          <a:bodyPr wrap="square" lIns="179212" tIns="143371" rIns="179212" bIns="143371" rtlCol="0">
            <a:spAutoFit/>
          </a:bodyPr>
          <a:lstStyle/>
          <a:p>
            <a:pPr defTabSz="913771">
              <a:lnSpc>
                <a:spcPct val="90000"/>
              </a:lnSpc>
            </a:pPr>
            <a:r>
              <a:rPr lang="en-US" sz="1371" spc="-49" dirty="0">
                <a:gradFill>
                  <a:gsLst>
                    <a:gs pos="2917">
                      <a:srgbClr val="505050"/>
                    </a:gs>
                    <a:gs pos="30000">
                      <a:srgbClr val="505050"/>
                    </a:gs>
                  </a:gsLst>
                  <a:lin ang="5400000" scaled="0"/>
                </a:gradFill>
              </a:rPr>
              <a:t>Users must also authenticate using their phone or mobile device before access is granted.</a:t>
            </a:r>
          </a:p>
        </p:txBody>
      </p:sp>
      <p:grpSp>
        <p:nvGrpSpPr>
          <p:cNvPr id="54" name="Group 53"/>
          <p:cNvGrpSpPr/>
          <p:nvPr/>
        </p:nvGrpSpPr>
        <p:grpSpPr>
          <a:xfrm>
            <a:off x="7244057" y="347249"/>
            <a:ext cx="492461" cy="621764"/>
            <a:chOff x="7389785" y="352450"/>
            <a:chExt cx="502538" cy="634488"/>
          </a:xfrm>
        </p:grpSpPr>
        <p:sp>
          <p:nvSpPr>
            <p:cNvPr id="129" name="Oval 128"/>
            <p:cNvSpPr/>
            <p:nvPr/>
          </p:nvSpPr>
          <p:spPr bwMode="auto">
            <a:xfrm>
              <a:off x="7389785" y="393185"/>
              <a:ext cx="502538" cy="502538"/>
            </a:xfrm>
            <a:prstGeom prst="ellipse">
              <a:avLst/>
            </a:prstGeom>
            <a:solidFill>
              <a:schemeClr val="tx1"/>
            </a:solidFill>
            <a:ln w="381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008272"/>
                    </a:gs>
                    <a:gs pos="100000">
                      <a:srgbClr val="008272"/>
                    </a:gs>
                  </a:gsLst>
                  <a:lin ang="5400000" scaled="0"/>
                </a:gradFill>
              </a:endParaRPr>
            </a:p>
          </p:txBody>
        </p:sp>
        <p:sp>
          <p:nvSpPr>
            <p:cNvPr id="130" name="TextBox 129"/>
            <p:cNvSpPr txBox="1"/>
            <p:nvPr/>
          </p:nvSpPr>
          <p:spPr>
            <a:xfrm>
              <a:off x="7467504" y="352450"/>
              <a:ext cx="212893" cy="634488"/>
            </a:xfrm>
            <a:prstGeom prst="rect">
              <a:avLst/>
            </a:prstGeom>
            <a:noFill/>
          </p:spPr>
          <p:txBody>
            <a:bodyPr wrap="square" lIns="179212" tIns="143371" rIns="179212" bIns="143371" rtlCol="0">
              <a:spAutoFit/>
            </a:bodyPr>
            <a:lstStyle/>
            <a:p>
              <a:pPr defTabSz="913771">
                <a:lnSpc>
                  <a:spcPct val="90000"/>
                </a:lnSpc>
              </a:pPr>
              <a:r>
                <a:rPr lang="en-US" sz="2352" spc="-49" dirty="0">
                  <a:gradFill>
                    <a:gsLst>
                      <a:gs pos="1250">
                        <a:srgbClr val="008272"/>
                      </a:gs>
                      <a:gs pos="100000">
                        <a:srgbClr val="008272"/>
                      </a:gs>
                    </a:gsLst>
                    <a:lin ang="5400000" scaled="0"/>
                  </a:gradFill>
                </a:rPr>
                <a:t>2</a:t>
              </a:r>
            </a:p>
          </p:txBody>
        </p:sp>
      </p:grpSp>
      <p:cxnSp>
        <p:nvCxnSpPr>
          <p:cNvPr id="171" name="Straight Arrow Connector 170"/>
          <p:cNvCxnSpPr/>
          <p:nvPr/>
        </p:nvCxnSpPr>
        <p:spPr>
          <a:xfrm flipH="1" flipV="1">
            <a:off x="7745380" y="4348436"/>
            <a:ext cx="640993" cy="2362"/>
          </a:xfrm>
          <a:prstGeom prst="straightConnector1">
            <a:avLst/>
          </a:prstGeom>
          <a:noFill/>
          <a:ln w="1905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81" name="Straight Arrow Connector 180"/>
          <p:cNvCxnSpPr/>
          <p:nvPr/>
        </p:nvCxnSpPr>
        <p:spPr>
          <a:xfrm>
            <a:off x="5732285" y="3362523"/>
            <a:ext cx="1170853" cy="727527"/>
          </a:xfrm>
          <a:prstGeom prst="straightConnector1">
            <a:avLst/>
          </a:prstGeom>
          <a:noFill/>
          <a:ln w="1905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0" name="Straight Arrow Connector 59"/>
          <p:cNvCxnSpPr/>
          <p:nvPr/>
        </p:nvCxnSpPr>
        <p:spPr>
          <a:xfrm>
            <a:off x="5914516" y="2915898"/>
            <a:ext cx="2471854" cy="1295980"/>
          </a:xfrm>
          <a:prstGeom prst="straightConnector1">
            <a:avLst/>
          </a:prstGeom>
          <a:noFill/>
          <a:ln w="1905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61" name="TextBox 60"/>
          <p:cNvSpPr txBox="1"/>
          <p:nvPr/>
        </p:nvSpPr>
        <p:spPr>
          <a:xfrm rot="1648931">
            <a:off x="6877038" y="3391341"/>
            <a:ext cx="1450248" cy="452408"/>
          </a:xfrm>
          <a:prstGeom prst="rect">
            <a:avLst/>
          </a:prstGeom>
          <a:noFill/>
        </p:spPr>
        <p:txBody>
          <a:bodyPr wrap="square" lIns="179212" tIns="143371" rIns="179212" bIns="143371" rtlCol="0">
            <a:spAutoFit/>
          </a:bodyPr>
          <a:lstStyle/>
          <a:p>
            <a:pPr algn="ctr" defTabSz="913771">
              <a:lnSpc>
                <a:spcPct val="90000"/>
              </a:lnSpc>
            </a:pPr>
            <a:r>
              <a:rPr lang="en-US" sz="1175" spc="-49" dirty="0">
                <a:gradFill>
                  <a:gsLst>
                    <a:gs pos="2917">
                      <a:srgbClr val="00188F"/>
                    </a:gs>
                    <a:gs pos="30000">
                      <a:srgbClr val="00188F"/>
                    </a:gs>
                  </a:gsLst>
                  <a:lin ang="5400000" scaled="0"/>
                </a:gradFill>
              </a:rPr>
              <a:t>.NET, Java, PHP…</a:t>
            </a:r>
          </a:p>
        </p:txBody>
      </p:sp>
      <p:sp>
        <p:nvSpPr>
          <p:cNvPr id="120" name="TextBox 119"/>
          <p:cNvSpPr txBox="1"/>
          <p:nvPr/>
        </p:nvSpPr>
        <p:spPr>
          <a:xfrm>
            <a:off x="711903" y="318965"/>
            <a:ext cx="2915052" cy="677029"/>
          </a:xfrm>
          <a:prstGeom prst="rect">
            <a:avLst/>
          </a:prstGeom>
          <a:noFill/>
        </p:spPr>
        <p:txBody>
          <a:bodyPr wrap="square" lIns="179212" tIns="143371" rIns="179212" bIns="143371" rtlCol="0">
            <a:spAutoFit/>
          </a:bodyPr>
          <a:lstStyle/>
          <a:p>
            <a:pPr defTabSz="913771">
              <a:lnSpc>
                <a:spcPct val="90000"/>
              </a:lnSpc>
            </a:pPr>
            <a:r>
              <a:rPr lang="en-US" sz="1371" spc="-49" dirty="0">
                <a:gradFill>
                  <a:gsLst>
                    <a:gs pos="2917">
                      <a:srgbClr val="505050"/>
                    </a:gs>
                    <a:gs pos="30000">
                      <a:srgbClr val="505050"/>
                    </a:gs>
                  </a:gsLst>
                  <a:lin ang="5400000" scaled="0"/>
                </a:gradFill>
              </a:rPr>
              <a:t>Users sign in from any device using their existing username/password.</a:t>
            </a:r>
          </a:p>
        </p:txBody>
      </p:sp>
      <p:grpSp>
        <p:nvGrpSpPr>
          <p:cNvPr id="53" name="Group 52"/>
          <p:cNvGrpSpPr/>
          <p:nvPr/>
        </p:nvGrpSpPr>
        <p:grpSpPr>
          <a:xfrm>
            <a:off x="294113" y="343592"/>
            <a:ext cx="492461" cy="621764"/>
            <a:chOff x="297628" y="348717"/>
            <a:chExt cx="502538" cy="634488"/>
          </a:xfrm>
        </p:grpSpPr>
        <p:sp>
          <p:nvSpPr>
            <p:cNvPr id="131" name="Oval 130"/>
            <p:cNvSpPr/>
            <p:nvPr/>
          </p:nvSpPr>
          <p:spPr bwMode="auto">
            <a:xfrm>
              <a:off x="297628" y="389452"/>
              <a:ext cx="502538" cy="502538"/>
            </a:xfrm>
            <a:prstGeom prst="ellipse">
              <a:avLst/>
            </a:prstGeom>
            <a:solidFill>
              <a:schemeClr val="tx1"/>
            </a:solidFill>
            <a:ln w="381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008272"/>
                    </a:gs>
                    <a:gs pos="100000">
                      <a:srgbClr val="008272"/>
                    </a:gs>
                  </a:gsLst>
                  <a:lin ang="5400000" scaled="0"/>
                </a:gradFill>
              </a:endParaRPr>
            </a:p>
          </p:txBody>
        </p:sp>
        <p:sp>
          <p:nvSpPr>
            <p:cNvPr id="132" name="TextBox 131"/>
            <p:cNvSpPr txBox="1"/>
            <p:nvPr/>
          </p:nvSpPr>
          <p:spPr>
            <a:xfrm>
              <a:off x="362388" y="348717"/>
              <a:ext cx="212893" cy="634488"/>
            </a:xfrm>
            <a:prstGeom prst="rect">
              <a:avLst/>
            </a:prstGeom>
            <a:noFill/>
          </p:spPr>
          <p:txBody>
            <a:bodyPr wrap="square" lIns="179212" tIns="143371" rIns="179212" bIns="143371" rtlCol="0">
              <a:spAutoFit/>
            </a:bodyPr>
            <a:lstStyle/>
            <a:p>
              <a:pPr defTabSz="913771">
                <a:lnSpc>
                  <a:spcPct val="90000"/>
                </a:lnSpc>
              </a:pPr>
              <a:r>
                <a:rPr lang="en-US" sz="2352" spc="-49" dirty="0">
                  <a:gradFill>
                    <a:gsLst>
                      <a:gs pos="1250">
                        <a:srgbClr val="008272"/>
                      </a:gs>
                      <a:gs pos="100000">
                        <a:srgbClr val="008272"/>
                      </a:gs>
                    </a:gsLst>
                    <a:lin ang="5400000" scaled="0"/>
                  </a:gradFill>
                </a:rPr>
                <a:t>1</a:t>
              </a:r>
            </a:p>
          </p:txBody>
        </p:sp>
      </p:grpSp>
      <p:sp>
        <p:nvSpPr>
          <p:cNvPr id="80" name="Freeform 79"/>
          <p:cNvSpPr/>
          <p:nvPr/>
        </p:nvSpPr>
        <p:spPr bwMode="auto">
          <a:xfrm flipH="1">
            <a:off x="9149844" y="1856813"/>
            <a:ext cx="134007" cy="2027998"/>
          </a:xfrm>
          <a:custGeom>
            <a:avLst/>
            <a:gdLst>
              <a:gd name="connsiteX0" fmla="*/ 0 w 0"/>
              <a:gd name="connsiteY0" fmla="*/ 0 h 971550"/>
              <a:gd name="connsiteX1" fmla="*/ 0 w 0"/>
              <a:gd name="connsiteY1" fmla="*/ 971550 h 971550"/>
            </a:gdLst>
            <a:ahLst/>
            <a:cxnLst>
              <a:cxn ang="0">
                <a:pos x="connsiteX0" y="connsiteY0"/>
              </a:cxn>
              <a:cxn ang="0">
                <a:pos x="connsiteX1" y="connsiteY1"/>
              </a:cxn>
            </a:cxnLst>
            <a:rect l="l" t="t" r="r" b="b"/>
            <a:pathLst>
              <a:path h="971550">
                <a:moveTo>
                  <a:pt x="0" y="0"/>
                </a:moveTo>
                <a:lnTo>
                  <a:pt x="0" y="971550"/>
                </a:lnTo>
              </a:path>
            </a:pathLst>
          </a:custGeom>
          <a:noFill/>
          <a:ln w="1905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71"/>
            <a:endParaRPr lang="en-US" sz="1764">
              <a:solidFill>
                <a:srgbClr val="EFEFEF"/>
              </a:solidFill>
            </a:endParaRPr>
          </a:p>
        </p:txBody>
      </p:sp>
      <p:sp>
        <p:nvSpPr>
          <p:cNvPr id="91" name="Freeform 90"/>
          <p:cNvSpPr/>
          <p:nvPr/>
        </p:nvSpPr>
        <p:spPr bwMode="auto">
          <a:xfrm>
            <a:off x="4689548" y="1838798"/>
            <a:ext cx="100870" cy="428903"/>
          </a:xfrm>
          <a:custGeom>
            <a:avLst/>
            <a:gdLst>
              <a:gd name="connsiteX0" fmla="*/ 0 w 0"/>
              <a:gd name="connsiteY0" fmla="*/ 0 h 312420"/>
              <a:gd name="connsiteX1" fmla="*/ 0 w 0"/>
              <a:gd name="connsiteY1" fmla="*/ 312420 h 312420"/>
            </a:gdLst>
            <a:ahLst/>
            <a:cxnLst>
              <a:cxn ang="0">
                <a:pos x="connsiteX0" y="connsiteY0"/>
              </a:cxn>
              <a:cxn ang="0">
                <a:pos x="connsiteX1" y="connsiteY1"/>
              </a:cxn>
            </a:cxnLst>
            <a:rect l="l" t="t" r="r" b="b"/>
            <a:pathLst>
              <a:path h="312420">
                <a:moveTo>
                  <a:pt x="0" y="0"/>
                </a:moveTo>
                <a:lnTo>
                  <a:pt x="0" y="312420"/>
                </a:lnTo>
              </a:path>
            </a:pathLst>
          </a:custGeom>
          <a:noFill/>
          <a:ln w="1905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71"/>
            <a:endParaRPr lang="en-US" sz="1764">
              <a:solidFill>
                <a:srgbClr val="EFEFEF"/>
              </a:solidFill>
            </a:endParaRPr>
          </a:p>
        </p:txBody>
      </p:sp>
      <p:sp>
        <p:nvSpPr>
          <p:cNvPr id="98" name="Rectangle 97"/>
          <p:cNvSpPr/>
          <p:nvPr/>
        </p:nvSpPr>
        <p:spPr>
          <a:xfrm>
            <a:off x="271585" y="943692"/>
            <a:ext cx="4695597" cy="8890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55" tIns="45678" rIns="91355" bIns="45678" numCol="1" spcCol="0" rtlCol="0" fromWordArt="0" anchor="b" anchorCtr="0" forceAA="0" compatLnSpc="1">
            <a:prstTxWarp prst="textNoShape">
              <a:avLst/>
            </a:prstTxWarp>
            <a:noAutofit/>
          </a:bodyPr>
          <a:lstStyle/>
          <a:p>
            <a:pPr defTabSz="913249" fontAlgn="base">
              <a:spcBef>
                <a:spcPct val="0"/>
              </a:spcBef>
              <a:spcAft>
                <a:spcPct val="0"/>
              </a:spcAft>
            </a:pPr>
            <a:endParaRPr lang="en-US" sz="1600" spc="-71" dirty="0">
              <a:solidFill>
                <a:srgbClr val="FFFFFF">
                  <a:alpha val="99000"/>
                </a:srgbClr>
              </a:solidFill>
              <a:latin typeface="Segoe UI Light" pitchFamily="34" charset="0"/>
            </a:endParaRPr>
          </a:p>
        </p:txBody>
      </p:sp>
      <p:pic>
        <p:nvPicPr>
          <p:cNvPr id="99" name="Picture 9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25499" y="1066846"/>
            <a:ext cx="957432" cy="642728"/>
          </a:xfrm>
          <a:prstGeom prst="rect">
            <a:avLst/>
          </a:prstGeom>
        </p:spPr>
      </p:pic>
      <p:pic>
        <p:nvPicPr>
          <p:cNvPr id="104" name="Picture 10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19335" y="1048661"/>
            <a:ext cx="415451" cy="679098"/>
          </a:xfrm>
          <a:prstGeom prst="rect">
            <a:avLst/>
          </a:prstGeom>
        </p:spPr>
      </p:pic>
      <p:pic>
        <p:nvPicPr>
          <p:cNvPr id="112" name="Picture 1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671192" y="989924"/>
            <a:ext cx="1071623" cy="796573"/>
          </a:xfrm>
          <a:prstGeom prst="rect">
            <a:avLst/>
          </a:prstGeom>
        </p:spPr>
      </p:pic>
      <p:sp>
        <p:nvSpPr>
          <p:cNvPr id="46" name="Freeform 45"/>
          <p:cNvSpPr/>
          <p:nvPr/>
        </p:nvSpPr>
        <p:spPr bwMode="auto">
          <a:xfrm>
            <a:off x="2265145" y="4936039"/>
            <a:ext cx="7028868" cy="364203"/>
          </a:xfrm>
          <a:custGeom>
            <a:avLst/>
            <a:gdLst>
              <a:gd name="connsiteX0" fmla="*/ 0 w 7172696"/>
              <a:gd name="connsiteY0" fmla="*/ 142504 h 368135"/>
              <a:gd name="connsiteX1" fmla="*/ 0 w 7172696"/>
              <a:gd name="connsiteY1" fmla="*/ 368135 h 368135"/>
              <a:gd name="connsiteX2" fmla="*/ 7172696 w 7172696"/>
              <a:gd name="connsiteY2" fmla="*/ 368135 h 368135"/>
              <a:gd name="connsiteX3" fmla="*/ 7172696 w 7172696"/>
              <a:gd name="connsiteY3" fmla="*/ 0 h 368135"/>
            </a:gdLst>
            <a:ahLst/>
            <a:cxnLst>
              <a:cxn ang="0">
                <a:pos x="connsiteX0" y="connsiteY0"/>
              </a:cxn>
              <a:cxn ang="0">
                <a:pos x="connsiteX1" y="connsiteY1"/>
              </a:cxn>
              <a:cxn ang="0">
                <a:pos x="connsiteX2" y="connsiteY2"/>
              </a:cxn>
              <a:cxn ang="0">
                <a:pos x="connsiteX3" y="connsiteY3"/>
              </a:cxn>
            </a:cxnLst>
            <a:rect l="l" t="t" r="r" b="b"/>
            <a:pathLst>
              <a:path w="7172696" h="368135">
                <a:moveTo>
                  <a:pt x="0" y="142504"/>
                </a:moveTo>
                <a:lnTo>
                  <a:pt x="0" y="368135"/>
                </a:lnTo>
                <a:lnTo>
                  <a:pt x="7172696" y="368135"/>
                </a:lnTo>
                <a:lnTo>
                  <a:pt x="7172696" y="0"/>
                </a:lnTo>
              </a:path>
            </a:pathLst>
          </a:custGeom>
          <a:noFill/>
          <a:ln w="19050">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71"/>
            <a:endParaRPr lang="en-US" sz="1764">
              <a:solidFill>
                <a:srgbClr val="EFEFEF"/>
              </a:solidFill>
            </a:endParaRPr>
          </a:p>
        </p:txBody>
      </p:sp>
      <p:sp useBgFill="1">
        <p:nvSpPr>
          <p:cNvPr id="52" name="Rectangle 51"/>
          <p:cNvSpPr/>
          <p:nvPr/>
        </p:nvSpPr>
        <p:spPr bwMode="auto">
          <a:xfrm>
            <a:off x="2454" y="1866"/>
            <a:ext cx="269130" cy="287341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useBgFill="1">
        <p:nvSpPr>
          <p:cNvPr id="121" name="Rectangle 120"/>
          <p:cNvSpPr/>
          <p:nvPr/>
        </p:nvSpPr>
        <p:spPr bwMode="auto">
          <a:xfrm>
            <a:off x="11936944" y="1866"/>
            <a:ext cx="269130" cy="287341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122" name="Freeform 19"/>
          <p:cNvSpPr>
            <a:spLocks noEditPoints="1"/>
          </p:cNvSpPr>
          <p:nvPr/>
        </p:nvSpPr>
        <p:spPr bwMode="auto">
          <a:xfrm>
            <a:off x="3975548" y="1038083"/>
            <a:ext cx="377595" cy="722767"/>
          </a:xfrm>
          <a:custGeom>
            <a:avLst/>
            <a:gdLst>
              <a:gd name="T0" fmla="*/ 1104 w 1184"/>
              <a:gd name="T1" fmla="*/ 0 h 2267"/>
              <a:gd name="T2" fmla="*/ 74 w 1184"/>
              <a:gd name="T3" fmla="*/ 0 h 2267"/>
              <a:gd name="T4" fmla="*/ 0 w 1184"/>
              <a:gd name="T5" fmla="*/ 79 h 2267"/>
              <a:gd name="T6" fmla="*/ 0 w 1184"/>
              <a:gd name="T7" fmla="*/ 2193 h 2267"/>
              <a:gd name="T8" fmla="*/ 74 w 1184"/>
              <a:gd name="T9" fmla="*/ 2267 h 2267"/>
              <a:gd name="T10" fmla="*/ 1104 w 1184"/>
              <a:gd name="T11" fmla="*/ 2267 h 2267"/>
              <a:gd name="T12" fmla="*/ 1184 w 1184"/>
              <a:gd name="T13" fmla="*/ 2193 h 2267"/>
              <a:gd name="T14" fmla="*/ 1184 w 1184"/>
              <a:gd name="T15" fmla="*/ 79 h 2267"/>
              <a:gd name="T16" fmla="*/ 1104 w 1184"/>
              <a:gd name="T17" fmla="*/ 0 h 2267"/>
              <a:gd name="T18" fmla="*/ 580 w 1184"/>
              <a:gd name="T19" fmla="*/ 2163 h 2267"/>
              <a:gd name="T20" fmla="*/ 531 w 1184"/>
              <a:gd name="T21" fmla="*/ 2157 h 2267"/>
              <a:gd name="T22" fmla="*/ 531 w 1184"/>
              <a:gd name="T23" fmla="*/ 2114 h 2267"/>
              <a:gd name="T24" fmla="*/ 580 w 1184"/>
              <a:gd name="T25" fmla="*/ 2114 h 2267"/>
              <a:gd name="T26" fmla="*/ 580 w 1184"/>
              <a:gd name="T27" fmla="*/ 2163 h 2267"/>
              <a:gd name="T28" fmla="*/ 580 w 1184"/>
              <a:gd name="T29" fmla="*/ 2163 h 2267"/>
              <a:gd name="T30" fmla="*/ 580 w 1184"/>
              <a:gd name="T31" fmla="*/ 2108 h 2267"/>
              <a:gd name="T32" fmla="*/ 531 w 1184"/>
              <a:gd name="T33" fmla="*/ 2108 h 2267"/>
              <a:gd name="T34" fmla="*/ 531 w 1184"/>
              <a:gd name="T35" fmla="*/ 2065 h 2267"/>
              <a:gd name="T36" fmla="*/ 580 w 1184"/>
              <a:gd name="T37" fmla="*/ 2059 h 2267"/>
              <a:gd name="T38" fmla="*/ 580 w 1184"/>
              <a:gd name="T39" fmla="*/ 2108 h 2267"/>
              <a:gd name="T40" fmla="*/ 580 w 1184"/>
              <a:gd name="T41" fmla="*/ 2108 h 2267"/>
              <a:gd name="T42" fmla="*/ 654 w 1184"/>
              <a:gd name="T43" fmla="*/ 2175 h 2267"/>
              <a:gd name="T44" fmla="*/ 586 w 1184"/>
              <a:gd name="T45" fmla="*/ 2163 h 2267"/>
              <a:gd name="T46" fmla="*/ 586 w 1184"/>
              <a:gd name="T47" fmla="*/ 2114 h 2267"/>
              <a:gd name="T48" fmla="*/ 654 w 1184"/>
              <a:gd name="T49" fmla="*/ 2114 h 2267"/>
              <a:gd name="T50" fmla="*/ 654 w 1184"/>
              <a:gd name="T51" fmla="*/ 2175 h 2267"/>
              <a:gd name="T52" fmla="*/ 654 w 1184"/>
              <a:gd name="T53" fmla="*/ 2175 h 2267"/>
              <a:gd name="T54" fmla="*/ 654 w 1184"/>
              <a:gd name="T55" fmla="*/ 2108 h 2267"/>
              <a:gd name="T56" fmla="*/ 586 w 1184"/>
              <a:gd name="T57" fmla="*/ 2108 h 2267"/>
              <a:gd name="T58" fmla="*/ 586 w 1184"/>
              <a:gd name="T59" fmla="*/ 2059 h 2267"/>
              <a:gd name="T60" fmla="*/ 654 w 1184"/>
              <a:gd name="T61" fmla="*/ 2046 h 2267"/>
              <a:gd name="T62" fmla="*/ 654 w 1184"/>
              <a:gd name="T63" fmla="*/ 2108 h 2267"/>
              <a:gd name="T64" fmla="*/ 654 w 1184"/>
              <a:gd name="T65" fmla="*/ 2108 h 2267"/>
              <a:gd name="T66" fmla="*/ 1080 w 1184"/>
              <a:gd name="T67" fmla="*/ 1961 h 2267"/>
              <a:gd name="T68" fmla="*/ 111 w 1184"/>
              <a:gd name="T69" fmla="*/ 1961 h 2267"/>
              <a:gd name="T70" fmla="*/ 111 w 1184"/>
              <a:gd name="T71" fmla="*/ 184 h 2267"/>
              <a:gd name="T72" fmla="*/ 1080 w 1184"/>
              <a:gd name="T73" fmla="*/ 184 h 2267"/>
              <a:gd name="T74" fmla="*/ 1080 w 1184"/>
              <a:gd name="T75" fmla="*/ 1961 h 2267"/>
              <a:gd name="T76" fmla="*/ 1080 w 1184"/>
              <a:gd name="T77" fmla="*/ 1961 h 2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4" h="2267">
                <a:moveTo>
                  <a:pt x="1104" y="0"/>
                </a:moveTo>
                <a:cubicBezTo>
                  <a:pt x="74" y="0"/>
                  <a:pt x="74" y="0"/>
                  <a:pt x="74" y="0"/>
                </a:cubicBezTo>
                <a:cubicBezTo>
                  <a:pt x="31" y="0"/>
                  <a:pt x="0" y="36"/>
                  <a:pt x="0" y="79"/>
                </a:cubicBezTo>
                <a:cubicBezTo>
                  <a:pt x="0" y="2193"/>
                  <a:pt x="0" y="2193"/>
                  <a:pt x="0" y="2193"/>
                </a:cubicBezTo>
                <a:cubicBezTo>
                  <a:pt x="0" y="2230"/>
                  <a:pt x="31" y="2267"/>
                  <a:pt x="74" y="2267"/>
                </a:cubicBezTo>
                <a:cubicBezTo>
                  <a:pt x="1104" y="2267"/>
                  <a:pt x="1104" y="2267"/>
                  <a:pt x="1104" y="2267"/>
                </a:cubicBezTo>
                <a:cubicBezTo>
                  <a:pt x="1153" y="2267"/>
                  <a:pt x="1184" y="2230"/>
                  <a:pt x="1184" y="2193"/>
                </a:cubicBezTo>
                <a:cubicBezTo>
                  <a:pt x="1184" y="79"/>
                  <a:pt x="1184" y="79"/>
                  <a:pt x="1184" y="79"/>
                </a:cubicBezTo>
                <a:cubicBezTo>
                  <a:pt x="1184" y="36"/>
                  <a:pt x="1153" y="0"/>
                  <a:pt x="1104" y="0"/>
                </a:cubicBezTo>
                <a:close/>
                <a:moveTo>
                  <a:pt x="580" y="2163"/>
                </a:moveTo>
                <a:cubicBezTo>
                  <a:pt x="531" y="2157"/>
                  <a:pt x="531" y="2157"/>
                  <a:pt x="531" y="2157"/>
                </a:cubicBezTo>
                <a:cubicBezTo>
                  <a:pt x="531" y="2114"/>
                  <a:pt x="531" y="2114"/>
                  <a:pt x="531" y="2114"/>
                </a:cubicBezTo>
                <a:cubicBezTo>
                  <a:pt x="580" y="2114"/>
                  <a:pt x="580" y="2114"/>
                  <a:pt x="580" y="2114"/>
                </a:cubicBezTo>
                <a:cubicBezTo>
                  <a:pt x="580" y="2163"/>
                  <a:pt x="580" y="2163"/>
                  <a:pt x="580" y="2163"/>
                </a:cubicBezTo>
                <a:cubicBezTo>
                  <a:pt x="580" y="2163"/>
                  <a:pt x="580" y="2163"/>
                  <a:pt x="580" y="2163"/>
                </a:cubicBezTo>
                <a:close/>
                <a:moveTo>
                  <a:pt x="580" y="2108"/>
                </a:moveTo>
                <a:cubicBezTo>
                  <a:pt x="531" y="2108"/>
                  <a:pt x="531" y="2108"/>
                  <a:pt x="531" y="2108"/>
                </a:cubicBezTo>
                <a:cubicBezTo>
                  <a:pt x="531" y="2065"/>
                  <a:pt x="531" y="2065"/>
                  <a:pt x="531" y="2065"/>
                </a:cubicBezTo>
                <a:cubicBezTo>
                  <a:pt x="580" y="2059"/>
                  <a:pt x="580" y="2059"/>
                  <a:pt x="580" y="2059"/>
                </a:cubicBezTo>
                <a:cubicBezTo>
                  <a:pt x="580" y="2108"/>
                  <a:pt x="580" y="2108"/>
                  <a:pt x="580" y="2108"/>
                </a:cubicBezTo>
                <a:cubicBezTo>
                  <a:pt x="580" y="2108"/>
                  <a:pt x="580" y="2108"/>
                  <a:pt x="580" y="2108"/>
                </a:cubicBezTo>
                <a:close/>
                <a:moveTo>
                  <a:pt x="654" y="2175"/>
                </a:moveTo>
                <a:cubicBezTo>
                  <a:pt x="586" y="2163"/>
                  <a:pt x="586" y="2163"/>
                  <a:pt x="586" y="2163"/>
                </a:cubicBezTo>
                <a:cubicBezTo>
                  <a:pt x="586" y="2114"/>
                  <a:pt x="586" y="2114"/>
                  <a:pt x="586" y="2114"/>
                </a:cubicBezTo>
                <a:cubicBezTo>
                  <a:pt x="654" y="2114"/>
                  <a:pt x="654" y="2114"/>
                  <a:pt x="654" y="2114"/>
                </a:cubicBezTo>
                <a:cubicBezTo>
                  <a:pt x="654" y="2175"/>
                  <a:pt x="654" y="2175"/>
                  <a:pt x="654" y="2175"/>
                </a:cubicBezTo>
                <a:cubicBezTo>
                  <a:pt x="654" y="2175"/>
                  <a:pt x="654" y="2175"/>
                  <a:pt x="654" y="2175"/>
                </a:cubicBezTo>
                <a:close/>
                <a:moveTo>
                  <a:pt x="654" y="2108"/>
                </a:moveTo>
                <a:cubicBezTo>
                  <a:pt x="586" y="2108"/>
                  <a:pt x="586" y="2108"/>
                  <a:pt x="586" y="2108"/>
                </a:cubicBezTo>
                <a:cubicBezTo>
                  <a:pt x="586" y="2059"/>
                  <a:pt x="586" y="2059"/>
                  <a:pt x="586" y="2059"/>
                </a:cubicBezTo>
                <a:cubicBezTo>
                  <a:pt x="654" y="2046"/>
                  <a:pt x="654" y="2046"/>
                  <a:pt x="654" y="2046"/>
                </a:cubicBezTo>
                <a:cubicBezTo>
                  <a:pt x="654" y="2108"/>
                  <a:pt x="654" y="2108"/>
                  <a:pt x="654" y="2108"/>
                </a:cubicBezTo>
                <a:cubicBezTo>
                  <a:pt x="654" y="2108"/>
                  <a:pt x="654" y="2108"/>
                  <a:pt x="654" y="2108"/>
                </a:cubicBezTo>
                <a:close/>
                <a:moveTo>
                  <a:pt x="1080" y="1961"/>
                </a:moveTo>
                <a:cubicBezTo>
                  <a:pt x="111" y="1961"/>
                  <a:pt x="111" y="1961"/>
                  <a:pt x="111" y="1961"/>
                </a:cubicBezTo>
                <a:cubicBezTo>
                  <a:pt x="111" y="355"/>
                  <a:pt x="111" y="184"/>
                  <a:pt x="111" y="184"/>
                </a:cubicBezTo>
                <a:cubicBezTo>
                  <a:pt x="1080" y="184"/>
                  <a:pt x="1080" y="184"/>
                  <a:pt x="1080" y="184"/>
                </a:cubicBezTo>
                <a:cubicBezTo>
                  <a:pt x="1080" y="1961"/>
                  <a:pt x="1080" y="1961"/>
                  <a:pt x="1080" y="1961"/>
                </a:cubicBezTo>
                <a:cubicBezTo>
                  <a:pt x="1080" y="1961"/>
                  <a:pt x="1080" y="1961"/>
                  <a:pt x="1080" y="1961"/>
                </a:cubicBezTo>
                <a:close/>
              </a:path>
            </a:pathLst>
          </a:custGeom>
          <a:solidFill>
            <a:srgbClr val="FFFFFF"/>
          </a:solidFill>
          <a:ln>
            <a:noFill/>
          </a:ln>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sp>
        <p:nvSpPr>
          <p:cNvPr id="133" name="Freeform 19"/>
          <p:cNvSpPr>
            <a:spLocks noEditPoints="1"/>
          </p:cNvSpPr>
          <p:nvPr/>
        </p:nvSpPr>
        <p:spPr bwMode="auto">
          <a:xfrm>
            <a:off x="8257463" y="1015564"/>
            <a:ext cx="377595" cy="722767"/>
          </a:xfrm>
          <a:custGeom>
            <a:avLst/>
            <a:gdLst>
              <a:gd name="T0" fmla="*/ 1104 w 1184"/>
              <a:gd name="T1" fmla="*/ 0 h 2267"/>
              <a:gd name="T2" fmla="*/ 74 w 1184"/>
              <a:gd name="T3" fmla="*/ 0 h 2267"/>
              <a:gd name="T4" fmla="*/ 0 w 1184"/>
              <a:gd name="T5" fmla="*/ 79 h 2267"/>
              <a:gd name="T6" fmla="*/ 0 w 1184"/>
              <a:gd name="T7" fmla="*/ 2193 h 2267"/>
              <a:gd name="T8" fmla="*/ 74 w 1184"/>
              <a:gd name="T9" fmla="*/ 2267 h 2267"/>
              <a:gd name="T10" fmla="*/ 1104 w 1184"/>
              <a:gd name="T11" fmla="*/ 2267 h 2267"/>
              <a:gd name="T12" fmla="*/ 1184 w 1184"/>
              <a:gd name="T13" fmla="*/ 2193 h 2267"/>
              <a:gd name="T14" fmla="*/ 1184 w 1184"/>
              <a:gd name="T15" fmla="*/ 79 h 2267"/>
              <a:gd name="T16" fmla="*/ 1104 w 1184"/>
              <a:gd name="T17" fmla="*/ 0 h 2267"/>
              <a:gd name="T18" fmla="*/ 580 w 1184"/>
              <a:gd name="T19" fmla="*/ 2163 h 2267"/>
              <a:gd name="T20" fmla="*/ 531 w 1184"/>
              <a:gd name="T21" fmla="*/ 2157 h 2267"/>
              <a:gd name="T22" fmla="*/ 531 w 1184"/>
              <a:gd name="T23" fmla="*/ 2114 h 2267"/>
              <a:gd name="T24" fmla="*/ 580 w 1184"/>
              <a:gd name="T25" fmla="*/ 2114 h 2267"/>
              <a:gd name="T26" fmla="*/ 580 w 1184"/>
              <a:gd name="T27" fmla="*/ 2163 h 2267"/>
              <a:gd name="T28" fmla="*/ 580 w 1184"/>
              <a:gd name="T29" fmla="*/ 2163 h 2267"/>
              <a:gd name="T30" fmla="*/ 580 w 1184"/>
              <a:gd name="T31" fmla="*/ 2108 h 2267"/>
              <a:gd name="T32" fmla="*/ 531 w 1184"/>
              <a:gd name="T33" fmla="*/ 2108 h 2267"/>
              <a:gd name="T34" fmla="*/ 531 w 1184"/>
              <a:gd name="T35" fmla="*/ 2065 h 2267"/>
              <a:gd name="T36" fmla="*/ 580 w 1184"/>
              <a:gd name="T37" fmla="*/ 2059 h 2267"/>
              <a:gd name="T38" fmla="*/ 580 w 1184"/>
              <a:gd name="T39" fmla="*/ 2108 h 2267"/>
              <a:gd name="T40" fmla="*/ 580 w 1184"/>
              <a:gd name="T41" fmla="*/ 2108 h 2267"/>
              <a:gd name="T42" fmla="*/ 654 w 1184"/>
              <a:gd name="T43" fmla="*/ 2175 h 2267"/>
              <a:gd name="T44" fmla="*/ 586 w 1184"/>
              <a:gd name="T45" fmla="*/ 2163 h 2267"/>
              <a:gd name="T46" fmla="*/ 586 w 1184"/>
              <a:gd name="T47" fmla="*/ 2114 h 2267"/>
              <a:gd name="T48" fmla="*/ 654 w 1184"/>
              <a:gd name="T49" fmla="*/ 2114 h 2267"/>
              <a:gd name="T50" fmla="*/ 654 w 1184"/>
              <a:gd name="T51" fmla="*/ 2175 h 2267"/>
              <a:gd name="T52" fmla="*/ 654 w 1184"/>
              <a:gd name="T53" fmla="*/ 2175 h 2267"/>
              <a:gd name="T54" fmla="*/ 654 w 1184"/>
              <a:gd name="T55" fmla="*/ 2108 h 2267"/>
              <a:gd name="T56" fmla="*/ 586 w 1184"/>
              <a:gd name="T57" fmla="*/ 2108 h 2267"/>
              <a:gd name="T58" fmla="*/ 586 w 1184"/>
              <a:gd name="T59" fmla="*/ 2059 h 2267"/>
              <a:gd name="T60" fmla="*/ 654 w 1184"/>
              <a:gd name="T61" fmla="*/ 2046 h 2267"/>
              <a:gd name="T62" fmla="*/ 654 w 1184"/>
              <a:gd name="T63" fmla="*/ 2108 h 2267"/>
              <a:gd name="T64" fmla="*/ 654 w 1184"/>
              <a:gd name="T65" fmla="*/ 2108 h 2267"/>
              <a:gd name="T66" fmla="*/ 1080 w 1184"/>
              <a:gd name="T67" fmla="*/ 1961 h 2267"/>
              <a:gd name="T68" fmla="*/ 111 w 1184"/>
              <a:gd name="T69" fmla="*/ 1961 h 2267"/>
              <a:gd name="T70" fmla="*/ 111 w 1184"/>
              <a:gd name="T71" fmla="*/ 184 h 2267"/>
              <a:gd name="T72" fmla="*/ 1080 w 1184"/>
              <a:gd name="T73" fmla="*/ 184 h 2267"/>
              <a:gd name="T74" fmla="*/ 1080 w 1184"/>
              <a:gd name="T75" fmla="*/ 1961 h 2267"/>
              <a:gd name="T76" fmla="*/ 1080 w 1184"/>
              <a:gd name="T77" fmla="*/ 1961 h 2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4" h="2267">
                <a:moveTo>
                  <a:pt x="1104" y="0"/>
                </a:moveTo>
                <a:cubicBezTo>
                  <a:pt x="74" y="0"/>
                  <a:pt x="74" y="0"/>
                  <a:pt x="74" y="0"/>
                </a:cubicBezTo>
                <a:cubicBezTo>
                  <a:pt x="31" y="0"/>
                  <a:pt x="0" y="36"/>
                  <a:pt x="0" y="79"/>
                </a:cubicBezTo>
                <a:cubicBezTo>
                  <a:pt x="0" y="2193"/>
                  <a:pt x="0" y="2193"/>
                  <a:pt x="0" y="2193"/>
                </a:cubicBezTo>
                <a:cubicBezTo>
                  <a:pt x="0" y="2230"/>
                  <a:pt x="31" y="2267"/>
                  <a:pt x="74" y="2267"/>
                </a:cubicBezTo>
                <a:cubicBezTo>
                  <a:pt x="1104" y="2267"/>
                  <a:pt x="1104" y="2267"/>
                  <a:pt x="1104" y="2267"/>
                </a:cubicBezTo>
                <a:cubicBezTo>
                  <a:pt x="1153" y="2267"/>
                  <a:pt x="1184" y="2230"/>
                  <a:pt x="1184" y="2193"/>
                </a:cubicBezTo>
                <a:cubicBezTo>
                  <a:pt x="1184" y="79"/>
                  <a:pt x="1184" y="79"/>
                  <a:pt x="1184" y="79"/>
                </a:cubicBezTo>
                <a:cubicBezTo>
                  <a:pt x="1184" y="36"/>
                  <a:pt x="1153" y="0"/>
                  <a:pt x="1104" y="0"/>
                </a:cubicBezTo>
                <a:close/>
                <a:moveTo>
                  <a:pt x="580" y="2163"/>
                </a:moveTo>
                <a:cubicBezTo>
                  <a:pt x="531" y="2157"/>
                  <a:pt x="531" y="2157"/>
                  <a:pt x="531" y="2157"/>
                </a:cubicBezTo>
                <a:cubicBezTo>
                  <a:pt x="531" y="2114"/>
                  <a:pt x="531" y="2114"/>
                  <a:pt x="531" y="2114"/>
                </a:cubicBezTo>
                <a:cubicBezTo>
                  <a:pt x="580" y="2114"/>
                  <a:pt x="580" y="2114"/>
                  <a:pt x="580" y="2114"/>
                </a:cubicBezTo>
                <a:cubicBezTo>
                  <a:pt x="580" y="2163"/>
                  <a:pt x="580" y="2163"/>
                  <a:pt x="580" y="2163"/>
                </a:cubicBezTo>
                <a:cubicBezTo>
                  <a:pt x="580" y="2163"/>
                  <a:pt x="580" y="2163"/>
                  <a:pt x="580" y="2163"/>
                </a:cubicBezTo>
                <a:close/>
                <a:moveTo>
                  <a:pt x="580" y="2108"/>
                </a:moveTo>
                <a:cubicBezTo>
                  <a:pt x="531" y="2108"/>
                  <a:pt x="531" y="2108"/>
                  <a:pt x="531" y="2108"/>
                </a:cubicBezTo>
                <a:cubicBezTo>
                  <a:pt x="531" y="2065"/>
                  <a:pt x="531" y="2065"/>
                  <a:pt x="531" y="2065"/>
                </a:cubicBezTo>
                <a:cubicBezTo>
                  <a:pt x="580" y="2059"/>
                  <a:pt x="580" y="2059"/>
                  <a:pt x="580" y="2059"/>
                </a:cubicBezTo>
                <a:cubicBezTo>
                  <a:pt x="580" y="2108"/>
                  <a:pt x="580" y="2108"/>
                  <a:pt x="580" y="2108"/>
                </a:cubicBezTo>
                <a:cubicBezTo>
                  <a:pt x="580" y="2108"/>
                  <a:pt x="580" y="2108"/>
                  <a:pt x="580" y="2108"/>
                </a:cubicBezTo>
                <a:close/>
                <a:moveTo>
                  <a:pt x="654" y="2175"/>
                </a:moveTo>
                <a:cubicBezTo>
                  <a:pt x="586" y="2163"/>
                  <a:pt x="586" y="2163"/>
                  <a:pt x="586" y="2163"/>
                </a:cubicBezTo>
                <a:cubicBezTo>
                  <a:pt x="586" y="2114"/>
                  <a:pt x="586" y="2114"/>
                  <a:pt x="586" y="2114"/>
                </a:cubicBezTo>
                <a:cubicBezTo>
                  <a:pt x="654" y="2114"/>
                  <a:pt x="654" y="2114"/>
                  <a:pt x="654" y="2114"/>
                </a:cubicBezTo>
                <a:cubicBezTo>
                  <a:pt x="654" y="2175"/>
                  <a:pt x="654" y="2175"/>
                  <a:pt x="654" y="2175"/>
                </a:cubicBezTo>
                <a:cubicBezTo>
                  <a:pt x="654" y="2175"/>
                  <a:pt x="654" y="2175"/>
                  <a:pt x="654" y="2175"/>
                </a:cubicBezTo>
                <a:close/>
                <a:moveTo>
                  <a:pt x="654" y="2108"/>
                </a:moveTo>
                <a:cubicBezTo>
                  <a:pt x="586" y="2108"/>
                  <a:pt x="586" y="2108"/>
                  <a:pt x="586" y="2108"/>
                </a:cubicBezTo>
                <a:cubicBezTo>
                  <a:pt x="586" y="2059"/>
                  <a:pt x="586" y="2059"/>
                  <a:pt x="586" y="2059"/>
                </a:cubicBezTo>
                <a:cubicBezTo>
                  <a:pt x="654" y="2046"/>
                  <a:pt x="654" y="2046"/>
                  <a:pt x="654" y="2046"/>
                </a:cubicBezTo>
                <a:cubicBezTo>
                  <a:pt x="654" y="2108"/>
                  <a:pt x="654" y="2108"/>
                  <a:pt x="654" y="2108"/>
                </a:cubicBezTo>
                <a:cubicBezTo>
                  <a:pt x="654" y="2108"/>
                  <a:pt x="654" y="2108"/>
                  <a:pt x="654" y="2108"/>
                </a:cubicBezTo>
                <a:close/>
                <a:moveTo>
                  <a:pt x="1080" y="1961"/>
                </a:moveTo>
                <a:cubicBezTo>
                  <a:pt x="111" y="1961"/>
                  <a:pt x="111" y="1961"/>
                  <a:pt x="111" y="1961"/>
                </a:cubicBezTo>
                <a:cubicBezTo>
                  <a:pt x="111" y="355"/>
                  <a:pt x="111" y="184"/>
                  <a:pt x="111" y="184"/>
                </a:cubicBezTo>
                <a:cubicBezTo>
                  <a:pt x="1080" y="184"/>
                  <a:pt x="1080" y="184"/>
                  <a:pt x="1080" y="184"/>
                </a:cubicBezTo>
                <a:cubicBezTo>
                  <a:pt x="1080" y="1961"/>
                  <a:pt x="1080" y="1961"/>
                  <a:pt x="1080" y="1961"/>
                </a:cubicBezTo>
                <a:cubicBezTo>
                  <a:pt x="1080" y="1961"/>
                  <a:pt x="1080" y="1961"/>
                  <a:pt x="1080" y="1961"/>
                </a:cubicBezTo>
                <a:close/>
              </a:path>
            </a:pathLst>
          </a:custGeom>
          <a:solidFill>
            <a:srgbClr val="FFFFFF"/>
          </a:solidFill>
          <a:ln>
            <a:noFill/>
          </a:ln>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sp>
        <p:nvSpPr>
          <p:cNvPr id="76" name="Freeform 75"/>
          <p:cNvSpPr/>
          <p:nvPr/>
        </p:nvSpPr>
        <p:spPr bwMode="auto">
          <a:xfrm rot="10800000">
            <a:off x="2049760" y="1836380"/>
            <a:ext cx="51288" cy="394352"/>
          </a:xfrm>
          <a:custGeom>
            <a:avLst/>
            <a:gdLst>
              <a:gd name="connsiteX0" fmla="*/ 0 w 0"/>
              <a:gd name="connsiteY0" fmla="*/ 0 h 312420"/>
              <a:gd name="connsiteX1" fmla="*/ 0 w 0"/>
              <a:gd name="connsiteY1" fmla="*/ 312420 h 312420"/>
            </a:gdLst>
            <a:ahLst/>
            <a:cxnLst>
              <a:cxn ang="0">
                <a:pos x="connsiteX0" y="connsiteY0"/>
              </a:cxn>
              <a:cxn ang="0">
                <a:pos x="connsiteX1" y="connsiteY1"/>
              </a:cxn>
            </a:cxnLst>
            <a:rect l="l" t="t" r="r" b="b"/>
            <a:pathLst>
              <a:path h="312420">
                <a:moveTo>
                  <a:pt x="0" y="0"/>
                </a:moveTo>
                <a:lnTo>
                  <a:pt x="0" y="312420"/>
                </a:lnTo>
              </a:path>
            </a:pathLst>
          </a:custGeom>
          <a:noFill/>
          <a:ln w="1905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71"/>
            <a:endParaRPr lang="en-US" sz="1764">
              <a:solidFill>
                <a:srgbClr val="EFEFEF"/>
              </a:solidFill>
            </a:endParaRPr>
          </a:p>
        </p:txBody>
      </p:sp>
      <p:grpSp>
        <p:nvGrpSpPr>
          <p:cNvPr id="32" name="Group 31"/>
          <p:cNvGrpSpPr/>
          <p:nvPr/>
        </p:nvGrpSpPr>
        <p:grpSpPr>
          <a:xfrm>
            <a:off x="1247240" y="5458778"/>
            <a:ext cx="1707616" cy="1042223"/>
            <a:chOff x="1270259" y="5568573"/>
            <a:chExt cx="1742558" cy="1063550"/>
          </a:xfrm>
        </p:grpSpPr>
        <p:grpSp>
          <p:nvGrpSpPr>
            <p:cNvPr id="8" name="Group 7"/>
            <p:cNvGrpSpPr/>
            <p:nvPr/>
          </p:nvGrpSpPr>
          <p:grpSpPr>
            <a:xfrm>
              <a:off x="1270259" y="5568573"/>
              <a:ext cx="1742558" cy="1063550"/>
              <a:chOff x="1270259" y="5568573"/>
              <a:chExt cx="1742558" cy="1063550"/>
            </a:xfrm>
          </p:grpSpPr>
          <p:sp>
            <p:nvSpPr>
              <p:cNvPr id="153" name="Isosceles Triangle 152"/>
              <p:cNvSpPr/>
              <p:nvPr/>
            </p:nvSpPr>
            <p:spPr bwMode="auto">
              <a:xfrm>
                <a:off x="1270259" y="5568573"/>
                <a:ext cx="1742558" cy="106355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3" rIns="91387" bIns="45693" numCol="1" rtlCol="0" anchor="ctr" anchorCtr="0" compatLnSpc="1">
                <a:prstTxWarp prst="textNoShape">
                  <a:avLst/>
                </a:prstTxWarp>
              </a:bodyPr>
              <a:lstStyle/>
              <a:p>
                <a:pPr algn="ctr" defTabSz="913249" fontAlgn="base">
                  <a:spcBef>
                    <a:spcPct val="0"/>
                  </a:spcBef>
                  <a:spcAft>
                    <a:spcPct val="0"/>
                  </a:spcAft>
                </a:pPr>
                <a:endParaRPr lang="en-US" sz="1600" dirty="0">
                  <a:gradFill>
                    <a:gsLst>
                      <a:gs pos="0">
                        <a:srgbClr val="FFFFFF"/>
                      </a:gs>
                      <a:gs pos="100000">
                        <a:srgbClr val="FFFFFF"/>
                      </a:gs>
                    </a:gsLst>
                    <a:lin ang="5400000" scaled="0"/>
                  </a:gradFill>
                </a:endParaRPr>
              </a:p>
            </p:txBody>
          </p:sp>
          <p:sp>
            <p:nvSpPr>
              <p:cNvPr id="154" name="TextBox 153"/>
              <p:cNvSpPr txBox="1"/>
              <p:nvPr/>
            </p:nvSpPr>
            <p:spPr>
              <a:xfrm>
                <a:off x="1378962" y="6301117"/>
                <a:ext cx="1525153" cy="295230"/>
              </a:xfrm>
              <a:prstGeom prst="rect">
                <a:avLst/>
              </a:prstGeom>
              <a:noFill/>
            </p:spPr>
            <p:txBody>
              <a:bodyPr wrap="square" lIns="0" tIns="0" rIns="0" bIns="0" rtlCol="0">
                <a:spAutoFit/>
              </a:bodyPr>
              <a:lstStyle/>
              <a:p>
                <a:pPr algn="ctr" defTabSz="1218068">
                  <a:lnSpc>
                    <a:spcPct val="80000"/>
                  </a:lnSpc>
                  <a:buSzPct val="80000"/>
                </a:pPr>
                <a:r>
                  <a:rPr lang="en-US" sz="1175" dirty="0">
                    <a:gradFill>
                      <a:gsLst>
                        <a:gs pos="0">
                          <a:srgbClr val="EFEFEF"/>
                        </a:gs>
                        <a:gs pos="100000">
                          <a:srgbClr val="EFEFEF"/>
                        </a:gs>
                      </a:gsLst>
                      <a:lin ang="5400000" scaled="0"/>
                    </a:gradFill>
                  </a:rPr>
                  <a:t>Windows Server </a:t>
                </a:r>
                <a:br>
                  <a:rPr lang="en-US" sz="1175" dirty="0">
                    <a:gradFill>
                      <a:gsLst>
                        <a:gs pos="0">
                          <a:srgbClr val="EFEFEF"/>
                        </a:gs>
                        <a:gs pos="100000">
                          <a:srgbClr val="EFEFEF"/>
                        </a:gs>
                      </a:gsLst>
                      <a:lin ang="5400000" scaled="0"/>
                    </a:gradFill>
                  </a:rPr>
                </a:br>
                <a:r>
                  <a:rPr lang="en-US" sz="1175" dirty="0">
                    <a:gradFill>
                      <a:gsLst>
                        <a:gs pos="0">
                          <a:srgbClr val="EFEFEF"/>
                        </a:gs>
                        <a:gs pos="100000">
                          <a:srgbClr val="EFEFEF"/>
                        </a:gs>
                      </a:gsLst>
                      <a:lin ang="5400000" scaled="0"/>
                    </a:gradFill>
                  </a:rPr>
                  <a:t>AD or Other LDAP</a:t>
                </a:r>
              </a:p>
            </p:txBody>
          </p:sp>
        </p:grpSp>
        <p:pic>
          <p:nvPicPr>
            <p:cNvPr id="79" name="Picture 7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799663" y="5776302"/>
              <a:ext cx="684852" cy="453161"/>
            </a:xfrm>
            <a:prstGeom prst="rect">
              <a:avLst/>
            </a:prstGeom>
          </p:spPr>
        </p:pic>
      </p:grpSp>
      <p:grpSp>
        <p:nvGrpSpPr>
          <p:cNvPr id="31" name="Group 30"/>
          <p:cNvGrpSpPr/>
          <p:nvPr/>
        </p:nvGrpSpPr>
        <p:grpSpPr>
          <a:xfrm>
            <a:off x="5478089" y="891361"/>
            <a:ext cx="1328942" cy="1012379"/>
            <a:chOff x="3408863" y="3980722"/>
            <a:chExt cx="1356135" cy="1033094"/>
          </a:xfrm>
        </p:grpSpPr>
        <p:sp>
          <p:nvSpPr>
            <p:cNvPr id="89" name="Freeform 25"/>
            <p:cNvSpPr>
              <a:spLocks noEditPoints="1"/>
            </p:cNvSpPr>
            <p:nvPr/>
          </p:nvSpPr>
          <p:spPr bwMode="auto">
            <a:xfrm>
              <a:off x="3408863" y="3980722"/>
              <a:ext cx="604157" cy="914400"/>
            </a:xfrm>
            <a:custGeom>
              <a:avLst/>
              <a:gdLst>
                <a:gd name="T0" fmla="*/ 1008 w 1739"/>
                <a:gd name="T1" fmla="*/ 18 h 2632"/>
                <a:gd name="T2" fmla="*/ 1173 w 1739"/>
                <a:gd name="T3" fmla="*/ 104 h 2632"/>
                <a:gd name="T4" fmla="*/ 1296 w 1739"/>
                <a:gd name="T5" fmla="*/ 236 h 2632"/>
                <a:gd name="T6" fmla="*/ 1365 w 1739"/>
                <a:gd name="T7" fmla="*/ 411 h 2632"/>
                <a:gd name="T8" fmla="*/ 1365 w 1739"/>
                <a:gd name="T9" fmla="*/ 603 h 2632"/>
                <a:gd name="T10" fmla="*/ 1296 w 1739"/>
                <a:gd name="T11" fmla="*/ 776 h 2632"/>
                <a:gd name="T12" fmla="*/ 1173 w 1739"/>
                <a:gd name="T13" fmla="*/ 911 h 2632"/>
                <a:gd name="T14" fmla="*/ 1008 w 1739"/>
                <a:gd name="T15" fmla="*/ 996 h 2632"/>
                <a:gd name="T16" fmla="*/ 816 w 1739"/>
                <a:gd name="T17" fmla="*/ 1013 h 2632"/>
                <a:gd name="T18" fmla="*/ 637 w 1739"/>
                <a:gd name="T19" fmla="*/ 960 h 2632"/>
                <a:gd name="T20" fmla="*/ 492 w 1739"/>
                <a:gd name="T21" fmla="*/ 849 h 2632"/>
                <a:gd name="T22" fmla="*/ 393 w 1739"/>
                <a:gd name="T23" fmla="*/ 693 h 2632"/>
                <a:gd name="T24" fmla="*/ 357 w 1739"/>
                <a:gd name="T25" fmla="*/ 508 h 2632"/>
                <a:gd name="T26" fmla="*/ 393 w 1739"/>
                <a:gd name="T27" fmla="*/ 321 h 2632"/>
                <a:gd name="T28" fmla="*/ 492 w 1739"/>
                <a:gd name="T29" fmla="*/ 165 h 2632"/>
                <a:gd name="T30" fmla="*/ 637 w 1739"/>
                <a:gd name="T31" fmla="*/ 54 h 2632"/>
                <a:gd name="T32" fmla="*/ 816 w 1739"/>
                <a:gd name="T33" fmla="*/ 2 h 2632"/>
                <a:gd name="T34" fmla="*/ 327 w 1739"/>
                <a:gd name="T35" fmla="*/ 1088 h 2632"/>
                <a:gd name="T36" fmla="*/ 185 w 1739"/>
                <a:gd name="T37" fmla="*/ 1342 h 2632"/>
                <a:gd name="T38" fmla="*/ 74 w 1739"/>
                <a:gd name="T39" fmla="*/ 1609 h 2632"/>
                <a:gd name="T40" fmla="*/ 10 w 1739"/>
                <a:gd name="T41" fmla="*/ 1888 h 2632"/>
                <a:gd name="T42" fmla="*/ 0 w 1739"/>
                <a:gd name="T43" fmla="*/ 2099 h 2632"/>
                <a:gd name="T44" fmla="*/ 10 w 1739"/>
                <a:gd name="T45" fmla="*/ 2229 h 2632"/>
                <a:gd name="T46" fmla="*/ 57 w 1739"/>
                <a:gd name="T47" fmla="*/ 2350 h 2632"/>
                <a:gd name="T48" fmla="*/ 142 w 1739"/>
                <a:gd name="T49" fmla="*/ 2435 h 2632"/>
                <a:gd name="T50" fmla="*/ 249 w 1739"/>
                <a:gd name="T51" fmla="*/ 2497 h 2632"/>
                <a:gd name="T52" fmla="*/ 431 w 1739"/>
                <a:gd name="T53" fmla="*/ 2570 h 2632"/>
                <a:gd name="T54" fmla="*/ 646 w 1739"/>
                <a:gd name="T55" fmla="*/ 2613 h 2632"/>
                <a:gd name="T56" fmla="*/ 866 w 1739"/>
                <a:gd name="T57" fmla="*/ 2632 h 2632"/>
                <a:gd name="T58" fmla="*/ 1036 w 1739"/>
                <a:gd name="T59" fmla="*/ 2617 h 2632"/>
                <a:gd name="T60" fmla="*/ 1256 w 1739"/>
                <a:gd name="T61" fmla="*/ 2584 h 2632"/>
                <a:gd name="T62" fmla="*/ 1462 w 1739"/>
                <a:gd name="T63" fmla="*/ 2511 h 2632"/>
                <a:gd name="T64" fmla="*/ 1571 w 1739"/>
                <a:gd name="T65" fmla="*/ 2452 h 2632"/>
                <a:gd name="T66" fmla="*/ 1663 w 1739"/>
                <a:gd name="T67" fmla="*/ 2376 h 2632"/>
                <a:gd name="T68" fmla="*/ 1722 w 1739"/>
                <a:gd name="T69" fmla="*/ 2260 h 2632"/>
                <a:gd name="T70" fmla="*/ 1739 w 1739"/>
                <a:gd name="T71" fmla="*/ 2130 h 2632"/>
                <a:gd name="T72" fmla="*/ 1736 w 1739"/>
                <a:gd name="T73" fmla="*/ 1962 h 2632"/>
                <a:gd name="T74" fmla="*/ 1687 w 1739"/>
                <a:gd name="T75" fmla="*/ 1678 h 2632"/>
                <a:gd name="T76" fmla="*/ 1585 w 1739"/>
                <a:gd name="T77" fmla="*/ 1408 h 2632"/>
                <a:gd name="T78" fmla="*/ 1450 w 1739"/>
                <a:gd name="T79" fmla="*/ 1150 h 2632"/>
                <a:gd name="T80" fmla="*/ 1304 w 1739"/>
                <a:gd name="T81" fmla="*/ 901 h 2632"/>
                <a:gd name="T82" fmla="*/ 1195 w 1739"/>
                <a:gd name="T83" fmla="*/ 989 h 2632"/>
                <a:gd name="T84" fmla="*/ 1093 w 1739"/>
                <a:gd name="T85" fmla="*/ 1043 h 2632"/>
                <a:gd name="T86" fmla="*/ 970 w 1739"/>
                <a:gd name="T87" fmla="*/ 1086 h 2632"/>
                <a:gd name="T88" fmla="*/ 788 w 1739"/>
                <a:gd name="T89" fmla="*/ 1100 h 2632"/>
                <a:gd name="T90" fmla="*/ 741 w 1739"/>
                <a:gd name="T91" fmla="*/ 1084 h 2632"/>
                <a:gd name="T92" fmla="*/ 651 w 1739"/>
                <a:gd name="T93" fmla="*/ 1041 h 2632"/>
                <a:gd name="T94" fmla="*/ 540 w 1739"/>
                <a:gd name="T95" fmla="*/ 979 h 2632"/>
                <a:gd name="T96" fmla="*/ 435 w 1739"/>
                <a:gd name="T97" fmla="*/ 901 h 2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39" h="2632">
                  <a:moveTo>
                    <a:pt x="866" y="0"/>
                  </a:moveTo>
                  <a:lnTo>
                    <a:pt x="916" y="2"/>
                  </a:lnTo>
                  <a:lnTo>
                    <a:pt x="963" y="9"/>
                  </a:lnTo>
                  <a:lnTo>
                    <a:pt x="1008" y="18"/>
                  </a:lnTo>
                  <a:lnTo>
                    <a:pt x="1053" y="35"/>
                  </a:lnTo>
                  <a:lnTo>
                    <a:pt x="1095" y="54"/>
                  </a:lnTo>
                  <a:lnTo>
                    <a:pt x="1136" y="75"/>
                  </a:lnTo>
                  <a:lnTo>
                    <a:pt x="1173" y="104"/>
                  </a:lnTo>
                  <a:lnTo>
                    <a:pt x="1209" y="132"/>
                  </a:lnTo>
                  <a:lnTo>
                    <a:pt x="1242" y="165"/>
                  </a:lnTo>
                  <a:lnTo>
                    <a:pt x="1270" y="201"/>
                  </a:lnTo>
                  <a:lnTo>
                    <a:pt x="1296" y="236"/>
                  </a:lnTo>
                  <a:lnTo>
                    <a:pt x="1320" y="276"/>
                  </a:lnTo>
                  <a:lnTo>
                    <a:pt x="1339" y="321"/>
                  </a:lnTo>
                  <a:lnTo>
                    <a:pt x="1353" y="364"/>
                  </a:lnTo>
                  <a:lnTo>
                    <a:pt x="1365" y="411"/>
                  </a:lnTo>
                  <a:lnTo>
                    <a:pt x="1372" y="459"/>
                  </a:lnTo>
                  <a:lnTo>
                    <a:pt x="1374" y="508"/>
                  </a:lnTo>
                  <a:lnTo>
                    <a:pt x="1372" y="556"/>
                  </a:lnTo>
                  <a:lnTo>
                    <a:pt x="1365" y="603"/>
                  </a:lnTo>
                  <a:lnTo>
                    <a:pt x="1353" y="650"/>
                  </a:lnTo>
                  <a:lnTo>
                    <a:pt x="1339" y="693"/>
                  </a:lnTo>
                  <a:lnTo>
                    <a:pt x="1320" y="736"/>
                  </a:lnTo>
                  <a:lnTo>
                    <a:pt x="1296" y="776"/>
                  </a:lnTo>
                  <a:lnTo>
                    <a:pt x="1270" y="816"/>
                  </a:lnTo>
                  <a:lnTo>
                    <a:pt x="1242" y="849"/>
                  </a:lnTo>
                  <a:lnTo>
                    <a:pt x="1209" y="882"/>
                  </a:lnTo>
                  <a:lnTo>
                    <a:pt x="1173" y="911"/>
                  </a:lnTo>
                  <a:lnTo>
                    <a:pt x="1136" y="937"/>
                  </a:lnTo>
                  <a:lnTo>
                    <a:pt x="1095" y="960"/>
                  </a:lnTo>
                  <a:lnTo>
                    <a:pt x="1053" y="979"/>
                  </a:lnTo>
                  <a:lnTo>
                    <a:pt x="1008" y="996"/>
                  </a:lnTo>
                  <a:lnTo>
                    <a:pt x="963" y="1008"/>
                  </a:lnTo>
                  <a:lnTo>
                    <a:pt x="916" y="1013"/>
                  </a:lnTo>
                  <a:lnTo>
                    <a:pt x="866" y="1015"/>
                  </a:lnTo>
                  <a:lnTo>
                    <a:pt x="816" y="1013"/>
                  </a:lnTo>
                  <a:lnTo>
                    <a:pt x="769" y="1008"/>
                  </a:lnTo>
                  <a:lnTo>
                    <a:pt x="724" y="996"/>
                  </a:lnTo>
                  <a:lnTo>
                    <a:pt x="679" y="979"/>
                  </a:lnTo>
                  <a:lnTo>
                    <a:pt x="637" y="960"/>
                  </a:lnTo>
                  <a:lnTo>
                    <a:pt x="596" y="937"/>
                  </a:lnTo>
                  <a:lnTo>
                    <a:pt x="558" y="911"/>
                  </a:lnTo>
                  <a:lnTo>
                    <a:pt x="523" y="882"/>
                  </a:lnTo>
                  <a:lnTo>
                    <a:pt x="492" y="849"/>
                  </a:lnTo>
                  <a:lnTo>
                    <a:pt x="462" y="816"/>
                  </a:lnTo>
                  <a:lnTo>
                    <a:pt x="435" y="776"/>
                  </a:lnTo>
                  <a:lnTo>
                    <a:pt x="412" y="736"/>
                  </a:lnTo>
                  <a:lnTo>
                    <a:pt x="393" y="693"/>
                  </a:lnTo>
                  <a:lnTo>
                    <a:pt x="379" y="650"/>
                  </a:lnTo>
                  <a:lnTo>
                    <a:pt x="367" y="603"/>
                  </a:lnTo>
                  <a:lnTo>
                    <a:pt x="360" y="556"/>
                  </a:lnTo>
                  <a:lnTo>
                    <a:pt x="357" y="508"/>
                  </a:lnTo>
                  <a:lnTo>
                    <a:pt x="360" y="459"/>
                  </a:lnTo>
                  <a:lnTo>
                    <a:pt x="367" y="411"/>
                  </a:lnTo>
                  <a:lnTo>
                    <a:pt x="379" y="364"/>
                  </a:lnTo>
                  <a:lnTo>
                    <a:pt x="393" y="321"/>
                  </a:lnTo>
                  <a:lnTo>
                    <a:pt x="412" y="276"/>
                  </a:lnTo>
                  <a:lnTo>
                    <a:pt x="435" y="236"/>
                  </a:lnTo>
                  <a:lnTo>
                    <a:pt x="462" y="201"/>
                  </a:lnTo>
                  <a:lnTo>
                    <a:pt x="492" y="165"/>
                  </a:lnTo>
                  <a:lnTo>
                    <a:pt x="523" y="132"/>
                  </a:lnTo>
                  <a:lnTo>
                    <a:pt x="558" y="104"/>
                  </a:lnTo>
                  <a:lnTo>
                    <a:pt x="596" y="75"/>
                  </a:lnTo>
                  <a:lnTo>
                    <a:pt x="637" y="54"/>
                  </a:lnTo>
                  <a:lnTo>
                    <a:pt x="679" y="35"/>
                  </a:lnTo>
                  <a:lnTo>
                    <a:pt x="724" y="18"/>
                  </a:lnTo>
                  <a:lnTo>
                    <a:pt x="769" y="9"/>
                  </a:lnTo>
                  <a:lnTo>
                    <a:pt x="816" y="2"/>
                  </a:lnTo>
                  <a:lnTo>
                    <a:pt x="866" y="0"/>
                  </a:lnTo>
                  <a:close/>
                  <a:moveTo>
                    <a:pt x="398" y="963"/>
                  </a:moveTo>
                  <a:lnTo>
                    <a:pt x="362" y="1024"/>
                  </a:lnTo>
                  <a:lnTo>
                    <a:pt x="327" y="1088"/>
                  </a:lnTo>
                  <a:lnTo>
                    <a:pt x="289" y="1150"/>
                  </a:lnTo>
                  <a:lnTo>
                    <a:pt x="253" y="1214"/>
                  </a:lnTo>
                  <a:lnTo>
                    <a:pt x="220" y="1278"/>
                  </a:lnTo>
                  <a:lnTo>
                    <a:pt x="185" y="1342"/>
                  </a:lnTo>
                  <a:lnTo>
                    <a:pt x="154" y="1408"/>
                  </a:lnTo>
                  <a:lnTo>
                    <a:pt x="126" y="1474"/>
                  </a:lnTo>
                  <a:lnTo>
                    <a:pt x="97" y="1540"/>
                  </a:lnTo>
                  <a:lnTo>
                    <a:pt x="74" y="1609"/>
                  </a:lnTo>
                  <a:lnTo>
                    <a:pt x="52" y="1678"/>
                  </a:lnTo>
                  <a:lnTo>
                    <a:pt x="33" y="1746"/>
                  </a:lnTo>
                  <a:lnTo>
                    <a:pt x="19" y="1817"/>
                  </a:lnTo>
                  <a:lnTo>
                    <a:pt x="10" y="1888"/>
                  </a:lnTo>
                  <a:lnTo>
                    <a:pt x="0" y="1962"/>
                  </a:lnTo>
                  <a:lnTo>
                    <a:pt x="0" y="2033"/>
                  </a:lnTo>
                  <a:lnTo>
                    <a:pt x="0" y="2066"/>
                  </a:lnTo>
                  <a:lnTo>
                    <a:pt x="0" y="2099"/>
                  </a:lnTo>
                  <a:lnTo>
                    <a:pt x="0" y="2130"/>
                  </a:lnTo>
                  <a:lnTo>
                    <a:pt x="0" y="2163"/>
                  </a:lnTo>
                  <a:lnTo>
                    <a:pt x="5" y="2196"/>
                  </a:lnTo>
                  <a:lnTo>
                    <a:pt x="10" y="2229"/>
                  </a:lnTo>
                  <a:lnTo>
                    <a:pt x="17" y="2260"/>
                  </a:lnTo>
                  <a:lnTo>
                    <a:pt x="26" y="2291"/>
                  </a:lnTo>
                  <a:lnTo>
                    <a:pt x="41" y="2321"/>
                  </a:lnTo>
                  <a:lnTo>
                    <a:pt x="57" y="2350"/>
                  </a:lnTo>
                  <a:lnTo>
                    <a:pt x="76" y="2376"/>
                  </a:lnTo>
                  <a:lnTo>
                    <a:pt x="97" y="2397"/>
                  </a:lnTo>
                  <a:lnTo>
                    <a:pt x="119" y="2418"/>
                  </a:lnTo>
                  <a:lnTo>
                    <a:pt x="142" y="2435"/>
                  </a:lnTo>
                  <a:lnTo>
                    <a:pt x="168" y="2452"/>
                  </a:lnTo>
                  <a:lnTo>
                    <a:pt x="194" y="2468"/>
                  </a:lnTo>
                  <a:lnTo>
                    <a:pt x="220" y="2482"/>
                  </a:lnTo>
                  <a:lnTo>
                    <a:pt x="249" y="2497"/>
                  </a:lnTo>
                  <a:lnTo>
                    <a:pt x="277" y="2511"/>
                  </a:lnTo>
                  <a:lnTo>
                    <a:pt x="327" y="2534"/>
                  </a:lnTo>
                  <a:lnTo>
                    <a:pt x="376" y="2553"/>
                  </a:lnTo>
                  <a:lnTo>
                    <a:pt x="431" y="2570"/>
                  </a:lnTo>
                  <a:lnTo>
                    <a:pt x="483" y="2584"/>
                  </a:lnTo>
                  <a:lnTo>
                    <a:pt x="537" y="2596"/>
                  </a:lnTo>
                  <a:lnTo>
                    <a:pt x="592" y="2603"/>
                  </a:lnTo>
                  <a:lnTo>
                    <a:pt x="646" y="2613"/>
                  </a:lnTo>
                  <a:lnTo>
                    <a:pt x="703" y="2617"/>
                  </a:lnTo>
                  <a:lnTo>
                    <a:pt x="757" y="2622"/>
                  </a:lnTo>
                  <a:lnTo>
                    <a:pt x="812" y="2627"/>
                  </a:lnTo>
                  <a:lnTo>
                    <a:pt x="866" y="2632"/>
                  </a:lnTo>
                  <a:lnTo>
                    <a:pt x="873" y="2632"/>
                  </a:lnTo>
                  <a:lnTo>
                    <a:pt x="927" y="2627"/>
                  </a:lnTo>
                  <a:lnTo>
                    <a:pt x="982" y="2622"/>
                  </a:lnTo>
                  <a:lnTo>
                    <a:pt x="1036" y="2617"/>
                  </a:lnTo>
                  <a:lnTo>
                    <a:pt x="1093" y="2613"/>
                  </a:lnTo>
                  <a:lnTo>
                    <a:pt x="1147" y="2603"/>
                  </a:lnTo>
                  <a:lnTo>
                    <a:pt x="1202" y="2596"/>
                  </a:lnTo>
                  <a:lnTo>
                    <a:pt x="1256" y="2584"/>
                  </a:lnTo>
                  <a:lnTo>
                    <a:pt x="1311" y="2570"/>
                  </a:lnTo>
                  <a:lnTo>
                    <a:pt x="1360" y="2553"/>
                  </a:lnTo>
                  <a:lnTo>
                    <a:pt x="1412" y="2534"/>
                  </a:lnTo>
                  <a:lnTo>
                    <a:pt x="1462" y="2511"/>
                  </a:lnTo>
                  <a:lnTo>
                    <a:pt x="1490" y="2497"/>
                  </a:lnTo>
                  <a:lnTo>
                    <a:pt x="1519" y="2482"/>
                  </a:lnTo>
                  <a:lnTo>
                    <a:pt x="1545" y="2468"/>
                  </a:lnTo>
                  <a:lnTo>
                    <a:pt x="1571" y="2452"/>
                  </a:lnTo>
                  <a:lnTo>
                    <a:pt x="1597" y="2435"/>
                  </a:lnTo>
                  <a:lnTo>
                    <a:pt x="1620" y="2418"/>
                  </a:lnTo>
                  <a:lnTo>
                    <a:pt x="1642" y="2397"/>
                  </a:lnTo>
                  <a:lnTo>
                    <a:pt x="1663" y="2376"/>
                  </a:lnTo>
                  <a:lnTo>
                    <a:pt x="1682" y="2350"/>
                  </a:lnTo>
                  <a:lnTo>
                    <a:pt x="1699" y="2321"/>
                  </a:lnTo>
                  <a:lnTo>
                    <a:pt x="1713" y="2291"/>
                  </a:lnTo>
                  <a:lnTo>
                    <a:pt x="1722" y="2260"/>
                  </a:lnTo>
                  <a:lnTo>
                    <a:pt x="1729" y="2229"/>
                  </a:lnTo>
                  <a:lnTo>
                    <a:pt x="1734" y="2196"/>
                  </a:lnTo>
                  <a:lnTo>
                    <a:pt x="1736" y="2163"/>
                  </a:lnTo>
                  <a:lnTo>
                    <a:pt x="1739" y="2130"/>
                  </a:lnTo>
                  <a:lnTo>
                    <a:pt x="1739" y="2099"/>
                  </a:lnTo>
                  <a:lnTo>
                    <a:pt x="1739" y="2066"/>
                  </a:lnTo>
                  <a:lnTo>
                    <a:pt x="1739" y="2033"/>
                  </a:lnTo>
                  <a:lnTo>
                    <a:pt x="1736" y="1962"/>
                  </a:lnTo>
                  <a:lnTo>
                    <a:pt x="1732" y="1888"/>
                  </a:lnTo>
                  <a:lnTo>
                    <a:pt x="1720" y="1817"/>
                  </a:lnTo>
                  <a:lnTo>
                    <a:pt x="1706" y="1746"/>
                  </a:lnTo>
                  <a:lnTo>
                    <a:pt x="1687" y="1678"/>
                  </a:lnTo>
                  <a:lnTo>
                    <a:pt x="1665" y="1609"/>
                  </a:lnTo>
                  <a:lnTo>
                    <a:pt x="1639" y="1540"/>
                  </a:lnTo>
                  <a:lnTo>
                    <a:pt x="1613" y="1474"/>
                  </a:lnTo>
                  <a:lnTo>
                    <a:pt x="1585" y="1408"/>
                  </a:lnTo>
                  <a:lnTo>
                    <a:pt x="1552" y="1342"/>
                  </a:lnTo>
                  <a:lnTo>
                    <a:pt x="1519" y="1278"/>
                  </a:lnTo>
                  <a:lnTo>
                    <a:pt x="1486" y="1214"/>
                  </a:lnTo>
                  <a:lnTo>
                    <a:pt x="1450" y="1150"/>
                  </a:lnTo>
                  <a:lnTo>
                    <a:pt x="1415" y="1088"/>
                  </a:lnTo>
                  <a:lnTo>
                    <a:pt x="1377" y="1024"/>
                  </a:lnTo>
                  <a:lnTo>
                    <a:pt x="1341" y="963"/>
                  </a:lnTo>
                  <a:lnTo>
                    <a:pt x="1304" y="901"/>
                  </a:lnTo>
                  <a:lnTo>
                    <a:pt x="1275" y="930"/>
                  </a:lnTo>
                  <a:lnTo>
                    <a:pt x="1247" y="951"/>
                  </a:lnTo>
                  <a:lnTo>
                    <a:pt x="1221" y="972"/>
                  </a:lnTo>
                  <a:lnTo>
                    <a:pt x="1195" y="989"/>
                  </a:lnTo>
                  <a:lnTo>
                    <a:pt x="1171" y="1005"/>
                  </a:lnTo>
                  <a:lnTo>
                    <a:pt x="1145" y="1020"/>
                  </a:lnTo>
                  <a:lnTo>
                    <a:pt x="1119" y="1034"/>
                  </a:lnTo>
                  <a:lnTo>
                    <a:pt x="1093" y="1043"/>
                  </a:lnTo>
                  <a:lnTo>
                    <a:pt x="1067" y="1055"/>
                  </a:lnTo>
                  <a:lnTo>
                    <a:pt x="1036" y="1065"/>
                  </a:lnTo>
                  <a:lnTo>
                    <a:pt x="1006" y="1074"/>
                  </a:lnTo>
                  <a:lnTo>
                    <a:pt x="970" y="1086"/>
                  </a:lnTo>
                  <a:lnTo>
                    <a:pt x="935" y="1098"/>
                  </a:lnTo>
                  <a:lnTo>
                    <a:pt x="866" y="1247"/>
                  </a:lnTo>
                  <a:lnTo>
                    <a:pt x="790" y="1102"/>
                  </a:lnTo>
                  <a:lnTo>
                    <a:pt x="788" y="1100"/>
                  </a:lnTo>
                  <a:lnTo>
                    <a:pt x="781" y="1098"/>
                  </a:lnTo>
                  <a:lnTo>
                    <a:pt x="771" y="1095"/>
                  </a:lnTo>
                  <a:lnTo>
                    <a:pt x="757" y="1088"/>
                  </a:lnTo>
                  <a:lnTo>
                    <a:pt x="741" y="1084"/>
                  </a:lnTo>
                  <a:lnTo>
                    <a:pt x="722" y="1074"/>
                  </a:lnTo>
                  <a:lnTo>
                    <a:pt x="698" y="1065"/>
                  </a:lnTo>
                  <a:lnTo>
                    <a:pt x="674" y="1053"/>
                  </a:lnTo>
                  <a:lnTo>
                    <a:pt x="651" y="1041"/>
                  </a:lnTo>
                  <a:lnTo>
                    <a:pt x="622" y="1027"/>
                  </a:lnTo>
                  <a:lnTo>
                    <a:pt x="594" y="1013"/>
                  </a:lnTo>
                  <a:lnTo>
                    <a:pt x="568" y="998"/>
                  </a:lnTo>
                  <a:lnTo>
                    <a:pt x="540" y="979"/>
                  </a:lnTo>
                  <a:lnTo>
                    <a:pt x="511" y="963"/>
                  </a:lnTo>
                  <a:lnTo>
                    <a:pt x="485" y="944"/>
                  </a:lnTo>
                  <a:lnTo>
                    <a:pt x="459" y="923"/>
                  </a:lnTo>
                  <a:lnTo>
                    <a:pt x="435" y="901"/>
                  </a:lnTo>
                  <a:lnTo>
                    <a:pt x="398" y="963"/>
                  </a:lnTo>
                  <a:close/>
                </a:path>
              </a:pathLst>
            </a:custGeom>
            <a:solidFill>
              <a:srgbClr val="00188F"/>
            </a:solidFill>
            <a:ln>
              <a:noFill/>
            </a:ln>
            <a:extLst/>
          </p:spPr>
          <p:txBody>
            <a:bodyPr vert="horz" wrap="square" lIns="89606" tIns="44804" rIns="89606" bIns="44804" numCol="1" anchor="t" anchorCtr="0" compatLnSpc="1">
              <a:prstTxWarp prst="textNoShape">
                <a:avLst/>
              </a:prstTxWarp>
            </a:bodyPr>
            <a:lstStyle/>
            <a:p>
              <a:pPr defTabSz="914004"/>
              <a:endParaRPr lang="en-US" sz="1764">
                <a:solidFill>
                  <a:srgbClr val="FFFFFF"/>
                </a:solidFill>
              </a:endParaRPr>
            </a:p>
          </p:txBody>
        </p:sp>
        <p:sp>
          <p:nvSpPr>
            <p:cNvPr id="88" name="Freeform 25"/>
            <p:cNvSpPr>
              <a:spLocks noEditPoints="1"/>
            </p:cNvSpPr>
            <p:nvPr/>
          </p:nvSpPr>
          <p:spPr bwMode="auto">
            <a:xfrm>
              <a:off x="4160841" y="3980722"/>
              <a:ext cx="604157" cy="914400"/>
            </a:xfrm>
            <a:custGeom>
              <a:avLst/>
              <a:gdLst>
                <a:gd name="T0" fmla="*/ 1008 w 1739"/>
                <a:gd name="T1" fmla="*/ 18 h 2632"/>
                <a:gd name="T2" fmla="*/ 1173 w 1739"/>
                <a:gd name="T3" fmla="*/ 104 h 2632"/>
                <a:gd name="T4" fmla="*/ 1296 w 1739"/>
                <a:gd name="T5" fmla="*/ 236 h 2632"/>
                <a:gd name="T6" fmla="*/ 1365 w 1739"/>
                <a:gd name="T7" fmla="*/ 411 h 2632"/>
                <a:gd name="T8" fmla="*/ 1365 w 1739"/>
                <a:gd name="T9" fmla="*/ 603 h 2632"/>
                <a:gd name="T10" fmla="*/ 1296 w 1739"/>
                <a:gd name="T11" fmla="*/ 776 h 2632"/>
                <a:gd name="T12" fmla="*/ 1173 w 1739"/>
                <a:gd name="T13" fmla="*/ 911 h 2632"/>
                <a:gd name="T14" fmla="*/ 1008 w 1739"/>
                <a:gd name="T15" fmla="*/ 996 h 2632"/>
                <a:gd name="T16" fmla="*/ 816 w 1739"/>
                <a:gd name="T17" fmla="*/ 1013 h 2632"/>
                <a:gd name="T18" fmla="*/ 637 w 1739"/>
                <a:gd name="T19" fmla="*/ 960 h 2632"/>
                <a:gd name="T20" fmla="*/ 492 w 1739"/>
                <a:gd name="T21" fmla="*/ 849 h 2632"/>
                <a:gd name="T22" fmla="*/ 393 w 1739"/>
                <a:gd name="T23" fmla="*/ 693 h 2632"/>
                <a:gd name="T24" fmla="*/ 357 w 1739"/>
                <a:gd name="T25" fmla="*/ 508 h 2632"/>
                <a:gd name="T26" fmla="*/ 393 w 1739"/>
                <a:gd name="T27" fmla="*/ 321 h 2632"/>
                <a:gd name="T28" fmla="*/ 492 w 1739"/>
                <a:gd name="T29" fmla="*/ 165 h 2632"/>
                <a:gd name="T30" fmla="*/ 637 w 1739"/>
                <a:gd name="T31" fmla="*/ 54 h 2632"/>
                <a:gd name="T32" fmla="*/ 816 w 1739"/>
                <a:gd name="T33" fmla="*/ 2 h 2632"/>
                <a:gd name="T34" fmla="*/ 327 w 1739"/>
                <a:gd name="T35" fmla="*/ 1088 h 2632"/>
                <a:gd name="T36" fmla="*/ 185 w 1739"/>
                <a:gd name="T37" fmla="*/ 1342 h 2632"/>
                <a:gd name="T38" fmla="*/ 74 w 1739"/>
                <a:gd name="T39" fmla="*/ 1609 h 2632"/>
                <a:gd name="T40" fmla="*/ 10 w 1739"/>
                <a:gd name="T41" fmla="*/ 1888 h 2632"/>
                <a:gd name="T42" fmla="*/ 0 w 1739"/>
                <a:gd name="T43" fmla="*/ 2099 h 2632"/>
                <a:gd name="T44" fmla="*/ 10 w 1739"/>
                <a:gd name="T45" fmla="*/ 2229 h 2632"/>
                <a:gd name="T46" fmla="*/ 57 w 1739"/>
                <a:gd name="T47" fmla="*/ 2350 h 2632"/>
                <a:gd name="T48" fmla="*/ 142 w 1739"/>
                <a:gd name="T49" fmla="*/ 2435 h 2632"/>
                <a:gd name="T50" fmla="*/ 249 w 1739"/>
                <a:gd name="T51" fmla="*/ 2497 h 2632"/>
                <a:gd name="T52" fmla="*/ 431 w 1739"/>
                <a:gd name="T53" fmla="*/ 2570 h 2632"/>
                <a:gd name="T54" fmla="*/ 646 w 1739"/>
                <a:gd name="T55" fmla="*/ 2613 h 2632"/>
                <a:gd name="T56" fmla="*/ 866 w 1739"/>
                <a:gd name="T57" fmla="*/ 2632 h 2632"/>
                <a:gd name="T58" fmla="*/ 1036 w 1739"/>
                <a:gd name="T59" fmla="*/ 2617 h 2632"/>
                <a:gd name="T60" fmla="*/ 1256 w 1739"/>
                <a:gd name="T61" fmla="*/ 2584 h 2632"/>
                <a:gd name="T62" fmla="*/ 1462 w 1739"/>
                <a:gd name="T63" fmla="*/ 2511 h 2632"/>
                <a:gd name="T64" fmla="*/ 1571 w 1739"/>
                <a:gd name="T65" fmla="*/ 2452 h 2632"/>
                <a:gd name="T66" fmla="*/ 1663 w 1739"/>
                <a:gd name="T67" fmla="*/ 2376 h 2632"/>
                <a:gd name="T68" fmla="*/ 1722 w 1739"/>
                <a:gd name="T69" fmla="*/ 2260 h 2632"/>
                <a:gd name="T70" fmla="*/ 1739 w 1739"/>
                <a:gd name="T71" fmla="*/ 2130 h 2632"/>
                <a:gd name="T72" fmla="*/ 1736 w 1739"/>
                <a:gd name="T73" fmla="*/ 1962 h 2632"/>
                <a:gd name="T74" fmla="*/ 1687 w 1739"/>
                <a:gd name="T75" fmla="*/ 1678 h 2632"/>
                <a:gd name="T76" fmla="*/ 1585 w 1739"/>
                <a:gd name="T77" fmla="*/ 1408 h 2632"/>
                <a:gd name="T78" fmla="*/ 1450 w 1739"/>
                <a:gd name="T79" fmla="*/ 1150 h 2632"/>
                <a:gd name="T80" fmla="*/ 1304 w 1739"/>
                <a:gd name="T81" fmla="*/ 901 h 2632"/>
                <a:gd name="T82" fmla="*/ 1195 w 1739"/>
                <a:gd name="T83" fmla="*/ 989 h 2632"/>
                <a:gd name="T84" fmla="*/ 1093 w 1739"/>
                <a:gd name="T85" fmla="*/ 1043 h 2632"/>
                <a:gd name="T86" fmla="*/ 970 w 1739"/>
                <a:gd name="T87" fmla="*/ 1086 h 2632"/>
                <a:gd name="T88" fmla="*/ 788 w 1739"/>
                <a:gd name="T89" fmla="*/ 1100 h 2632"/>
                <a:gd name="T90" fmla="*/ 741 w 1739"/>
                <a:gd name="T91" fmla="*/ 1084 h 2632"/>
                <a:gd name="T92" fmla="*/ 651 w 1739"/>
                <a:gd name="T93" fmla="*/ 1041 h 2632"/>
                <a:gd name="T94" fmla="*/ 540 w 1739"/>
                <a:gd name="T95" fmla="*/ 979 h 2632"/>
                <a:gd name="T96" fmla="*/ 435 w 1739"/>
                <a:gd name="T97" fmla="*/ 901 h 2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39" h="2632">
                  <a:moveTo>
                    <a:pt x="866" y="0"/>
                  </a:moveTo>
                  <a:lnTo>
                    <a:pt x="916" y="2"/>
                  </a:lnTo>
                  <a:lnTo>
                    <a:pt x="963" y="9"/>
                  </a:lnTo>
                  <a:lnTo>
                    <a:pt x="1008" y="18"/>
                  </a:lnTo>
                  <a:lnTo>
                    <a:pt x="1053" y="35"/>
                  </a:lnTo>
                  <a:lnTo>
                    <a:pt x="1095" y="54"/>
                  </a:lnTo>
                  <a:lnTo>
                    <a:pt x="1136" y="75"/>
                  </a:lnTo>
                  <a:lnTo>
                    <a:pt x="1173" y="104"/>
                  </a:lnTo>
                  <a:lnTo>
                    <a:pt x="1209" y="132"/>
                  </a:lnTo>
                  <a:lnTo>
                    <a:pt x="1242" y="165"/>
                  </a:lnTo>
                  <a:lnTo>
                    <a:pt x="1270" y="201"/>
                  </a:lnTo>
                  <a:lnTo>
                    <a:pt x="1296" y="236"/>
                  </a:lnTo>
                  <a:lnTo>
                    <a:pt x="1320" y="276"/>
                  </a:lnTo>
                  <a:lnTo>
                    <a:pt x="1339" y="321"/>
                  </a:lnTo>
                  <a:lnTo>
                    <a:pt x="1353" y="364"/>
                  </a:lnTo>
                  <a:lnTo>
                    <a:pt x="1365" y="411"/>
                  </a:lnTo>
                  <a:lnTo>
                    <a:pt x="1372" y="459"/>
                  </a:lnTo>
                  <a:lnTo>
                    <a:pt x="1374" y="508"/>
                  </a:lnTo>
                  <a:lnTo>
                    <a:pt x="1372" y="556"/>
                  </a:lnTo>
                  <a:lnTo>
                    <a:pt x="1365" y="603"/>
                  </a:lnTo>
                  <a:lnTo>
                    <a:pt x="1353" y="650"/>
                  </a:lnTo>
                  <a:lnTo>
                    <a:pt x="1339" y="693"/>
                  </a:lnTo>
                  <a:lnTo>
                    <a:pt x="1320" y="736"/>
                  </a:lnTo>
                  <a:lnTo>
                    <a:pt x="1296" y="776"/>
                  </a:lnTo>
                  <a:lnTo>
                    <a:pt x="1270" y="816"/>
                  </a:lnTo>
                  <a:lnTo>
                    <a:pt x="1242" y="849"/>
                  </a:lnTo>
                  <a:lnTo>
                    <a:pt x="1209" y="882"/>
                  </a:lnTo>
                  <a:lnTo>
                    <a:pt x="1173" y="911"/>
                  </a:lnTo>
                  <a:lnTo>
                    <a:pt x="1136" y="937"/>
                  </a:lnTo>
                  <a:lnTo>
                    <a:pt x="1095" y="960"/>
                  </a:lnTo>
                  <a:lnTo>
                    <a:pt x="1053" y="979"/>
                  </a:lnTo>
                  <a:lnTo>
                    <a:pt x="1008" y="996"/>
                  </a:lnTo>
                  <a:lnTo>
                    <a:pt x="963" y="1008"/>
                  </a:lnTo>
                  <a:lnTo>
                    <a:pt x="916" y="1013"/>
                  </a:lnTo>
                  <a:lnTo>
                    <a:pt x="866" y="1015"/>
                  </a:lnTo>
                  <a:lnTo>
                    <a:pt x="816" y="1013"/>
                  </a:lnTo>
                  <a:lnTo>
                    <a:pt x="769" y="1008"/>
                  </a:lnTo>
                  <a:lnTo>
                    <a:pt x="724" y="996"/>
                  </a:lnTo>
                  <a:lnTo>
                    <a:pt x="679" y="979"/>
                  </a:lnTo>
                  <a:lnTo>
                    <a:pt x="637" y="960"/>
                  </a:lnTo>
                  <a:lnTo>
                    <a:pt x="596" y="937"/>
                  </a:lnTo>
                  <a:lnTo>
                    <a:pt x="558" y="911"/>
                  </a:lnTo>
                  <a:lnTo>
                    <a:pt x="523" y="882"/>
                  </a:lnTo>
                  <a:lnTo>
                    <a:pt x="492" y="849"/>
                  </a:lnTo>
                  <a:lnTo>
                    <a:pt x="462" y="816"/>
                  </a:lnTo>
                  <a:lnTo>
                    <a:pt x="435" y="776"/>
                  </a:lnTo>
                  <a:lnTo>
                    <a:pt x="412" y="736"/>
                  </a:lnTo>
                  <a:lnTo>
                    <a:pt x="393" y="693"/>
                  </a:lnTo>
                  <a:lnTo>
                    <a:pt x="379" y="650"/>
                  </a:lnTo>
                  <a:lnTo>
                    <a:pt x="367" y="603"/>
                  </a:lnTo>
                  <a:lnTo>
                    <a:pt x="360" y="556"/>
                  </a:lnTo>
                  <a:lnTo>
                    <a:pt x="357" y="508"/>
                  </a:lnTo>
                  <a:lnTo>
                    <a:pt x="360" y="459"/>
                  </a:lnTo>
                  <a:lnTo>
                    <a:pt x="367" y="411"/>
                  </a:lnTo>
                  <a:lnTo>
                    <a:pt x="379" y="364"/>
                  </a:lnTo>
                  <a:lnTo>
                    <a:pt x="393" y="321"/>
                  </a:lnTo>
                  <a:lnTo>
                    <a:pt x="412" y="276"/>
                  </a:lnTo>
                  <a:lnTo>
                    <a:pt x="435" y="236"/>
                  </a:lnTo>
                  <a:lnTo>
                    <a:pt x="462" y="201"/>
                  </a:lnTo>
                  <a:lnTo>
                    <a:pt x="492" y="165"/>
                  </a:lnTo>
                  <a:lnTo>
                    <a:pt x="523" y="132"/>
                  </a:lnTo>
                  <a:lnTo>
                    <a:pt x="558" y="104"/>
                  </a:lnTo>
                  <a:lnTo>
                    <a:pt x="596" y="75"/>
                  </a:lnTo>
                  <a:lnTo>
                    <a:pt x="637" y="54"/>
                  </a:lnTo>
                  <a:lnTo>
                    <a:pt x="679" y="35"/>
                  </a:lnTo>
                  <a:lnTo>
                    <a:pt x="724" y="18"/>
                  </a:lnTo>
                  <a:lnTo>
                    <a:pt x="769" y="9"/>
                  </a:lnTo>
                  <a:lnTo>
                    <a:pt x="816" y="2"/>
                  </a:lnTo>
                  <a:lnTo>
                    <a:pt x="866" y="0"/>
                  </a:lnTo>
                  <a:close/>
                  <a:moveTo>
                    <a:pt x="398" y="963"/>
                  </a:moveTo>
                  <a:lnTo>
                    <a:pt x="362" y="1024"/>
                  </a:lnTo>
                  <a:lnTo>
                    <a:pt x="327" y="1088"/>
                  </a:lnTo>
                  <a:lnTo>
                    <a:pt x="289" y="1150"/>
                  </a:lnTo>
                  <a:lnTo>
                    <a:pt x="253" y="1214"/>
                  </a:lnTo>
                  <a:lnTo>
                    <a:pt x="220" y="1278"/>
                  </a:lnTo>
                  <a:lnTo>
                    <a:pt x="185" y="1342"/>
                  </a:lnTo>
                  <a:lnTo>
                    <a:pt x="154" y="1408"/>
                  </a:lnTo>
                  <a:lnTo>
                    <a:pt x="126" y="1474"/>
                  </a:lnTo>
                  <a:lnTo>
                    <a:pt x="97" y="1540"/>
                  </a:lnTo>
                  <a:lnTo>
                    <a:pt x="74" y="1609"/>
                  </a:lnTo>
                  <a:lnTo>
                    <a:pt x="52" y="1678"/>
                  </a:lnTo>
                  <a:lnTo>
                    <a:pt x="33" y="1746"/>
                  </a:lnTo>
                  <a:lnTo>
                    <a:pt x="19" y="1817"/>
                  </a:lnTo>
                  <a:lnTo>
                    <a:pt x="10" y="1888"/>
                  </a:lnTo>
                  <a:lnTo>
                    <a:pt x="0" y="1962"/>
                  </a:lnTo>
                  <a:lnTo>
                    <a:pt x="0" y="2033"/>
                  </a:lnTo>
                  <a:lnTo>
                    <a:pt x="0" y="2066"/>
                  </a:lnTo>
                  <a:lnTo>
                    <a:pt x="0" y="2099"/>
                  </a:lnTo>
                  <a:lnTo>
                    <a:pt x="0" y="2130"/>
                  </a:lnTo>
                  <a:lnTo>
                    <a:pt x="0" y="2163"/>
                  </a:lnTo>
                  <a:lnTo>
                    <a:pt x="5" y="2196"/>
                  </a:lnTo>
                  <a:lnTo>
                    <a:pt x="10" y="2229"/>
                  </a:lnTo>
                  <a:lnTo>
                    <a:pt x="17" y="2260"/>
                  </a:lnTo>
                  <a:lnTo>
                    <a:pt x="26" y="2291"/>
                  </a:lnTo>
                  <a:lnTo>
                    <a:pt x="41" y="2321"/>
                  </a:lnTo>
                  <a:lnTo>
                    <a:pt x="57" y="2350"/>
                  </a:lnTo>
                  <a:lnTo>
                    <a:pt x="76" y="2376"/>
                  </a:lnTo>
                  <a:lnTo>
                    <a:pt x="97" y="2397"/>
                  </a:lnTo>
                  <a:lnTo>
                    <a:pt x="119" y="2418"/>
                  </a:lnTo>
                  <a:lnTo>
                    <a:pt x="142" y="2435"/>
                  </a:lnTo>
                  <a:lnTo>
                    <a:pt x="168" y="2452"/>
                  </a:lnTo>
                  <a:lnTo>
                    <a:pt x="194" y="2468"/>
                  </a:lnTo>
                  <a:lnTo>
                    <a:pt x="220" y="2482"/>
                  </a:lnTo>
                  <a:lnTo>
                    <a:pt x="249" y="2497"/>
                  </a:lnTo>
                  <a:lnTo>
                    <a:pt x="277" y="2511"/>
                  </a:lnTo>
                  <a:lnTo>
                    <a:pt x="327" y="2534"/>
                  </a:lnTo>
                  <a:lnTo>
                    <a:pt x="376" y="2553"/>
                  </a:lnTo>
                  <a:lnTo>
                    <a:pt x="431" y="2570"/>
                  </a:lnTo>
                  <a:lnTo>
                    <a:pt x="483" y="2584"/>
                  </a:lnTo>
                  <a:lnTo>
                    <a:pt x="537" y="2596"/>
                  </a:lnTo>
                  <a:lnTo>
                    <a:pt x="592" y="2603"/>
                  </a:lnTo>
                  <a:lnTo>
                    <a:pt x="646" y="2613"/>
                  </a:lnTo>
                  <a:lnTo>
                    <a:pt x="703" y="2617"/>
                  </a:lnTo>
                  <a:lnTo>
                    <a:pt x="757" y="2622"/>
                  </a:lnTo>
                  <a:lnTo>
                    <a:pt x="812" y="2627"/>
                  </a:lnTo>
                  <a:lnTo>
                    <a:pt x="866" y="2632"/>
                  </a:lnTo>
                  <a:lnTo>
                    <a:pt x="873" y="2632"/>
                  </a:lnTo>
                  <a:lnTo>
                    <a:pt x="927" y="2627"/>
                  </a:lnTo>
                  <a:lnTo>
                    <a:pt x="982" y="2622"/>
                  </a:lnTo>
                  <a:lnTo>
                    <a:pt x="1036" y="2617"/>
                  </a:lnTo>
                  <a:lnTo>
                    <a:pt x="1093" y="2613"/>
                  </a:lnTo>
                  <a:lnTo>
                    <a:pt x="1147" y="2603"/>
                  </a:lnTo>
                  <a:lnTo>
                    <a:pt x="1202" y="2596"/>
                  </a:lnTo>
                  <a:lnTo>
                    <a:pt x="1256" y="2584"/>
                  </a:lnTo>
                  <a:lnTo>
                    <a:pt x="1311" y="2570"/>
                  </a:lnTo>
                  <a:lnTo>
                    <a:pt x="1360" y="2553"/>
                  </a:lnTo>
                  <a:lnTo>
                    <a:pt x="1412" y="2534"/>
                  </a:lnTo>
                  <a:lnTo>
                    <a:pt x="1462" y="2511"/>
                  </a:lnTo>
                  <a:lnTo>
                    <a:pt x="1490" y="2497"/>
                  </a:lnTo>
                  <a:lnTo>
                    <a:pt x="1519" y="2482"/>
                  </a:lnTo>
                  <a:lnTo>
                    <a:pt x="1545" y="2468"/>
                  </a:lnTo>
                  <a:lnTo>
                    <a:pt x="1571" y="2452"/>
                  </a:lnTo>
                  <a:lnTo>
                    <a:pt x="1597" y="2435"/>
                  </a:lnTo>
                  <a:lnTo>
                    <a:pt x="1620" y="2418"/>
                  </a:lnTo>
                  <a:lnTo>
                    <a:pt x="1642" y="2397"/>
                  </a:lnTo>
                  <a:lnTo>
                    <a:pt x="1663" y="2376"/>
                  </a:lnTo>
                  <a:lnTo>
                    <a:pt x="1682" y="2350"/>
                  </a:lnTo>
                  <a:lnTo>
                    <a:pt x="1699" y="2321"/>
                  </a:lnTo>
                  <a:lnTo>
                    <a:pt x="1713" y="2291"/>
                  </a:lnTo>
                  <a:lnTo>
                    <a:pt x="1722" y="2260"/>
                  </a:lnTo>
                  <a:lnTo>
                    <a:pt x="1729" y="2229"/>
                  </a:lnTo>
                  <a:lnTo>
                    <a:pt x="1734" y="2196"/>
                  </a:lnTo>
                  <a:lnTo>
                    <a:pt x="1736" y="2163"/>
                  </a:lnTo>
                  <a:lnTo>
                    <a:pt x="1739" y="2130"/>
                  </a:lnTo>
                  <a:lnTo>
                    <a:pt x="1739" y="2099"/>
                  </a:lnTo>
                  <a:lnTo>
                    <a:pt x="1739" y="2066"/>
                  </a:lnTo>
                  <a:lnTo>
                    <a:pt x="1739" y="2033"/>
                  </a:lnTo>
                  <a:lnTo>
                    <a:pt x="1736" y="1962"/>
                  </a:lnTo>
                  <a:lnTo>
                    <a:pt x="1732" y="1888"/>
                  </a:lnTo>
                  <a:lnTo>
                    <a:pt x="1720" y="1817"/>
                  </a:lnTo>
                  <a:lnTo>
                    <a:pt x="1706" y="1746"/>
                  </a:lnTo>
                  <a:lnTo>
                    <a:pt x="1687" y="1678"/>
                  </a:lnTo>
                  <a:lnTo>
                    <a:pt x="1665" y="1609"/>
                  </a:lnTo>
                  <a:lnTo>
                    <a:pt x="1639" y="1540"/>
                  </a:lnTo>
                  <a:lnTo>
                    <a:pt x="1613" y="1474"/>
                  </a:lnTo>
                  <a:lnTo>
                    <a:pt x="1585" y="1408"/>
                  </a:lnTo>
                  <a:lnTo>
                    <a:pt x="1552" y="1342"/>
                  </a:lnTo>
                  <a:lnTo>
                    <a:pt x="1519" y="1278"/>
                  </a:lnTo>
                  <a:lnTo>
                    <a:pt x="1486" y="1214"/>
                  </a:lnTo>
                  <a:lnTo>
                    <a:pt x="1450" y="1150"/>
                  </a:lnTo>
                  <a:lnTo>
                    <a:pt x="1415" y="1088"/>
                  </a:lnTo>
                  <a:lnTo>
                    <a:pt x="1377" y="1024"/>
                  </a:lnTo>
                  <a:lnTo>
                    <a:pt x="1341" y="963"/>
                  </a:lnTo>
                  <a:lnTo>
                    <a:pt x="1304" y="901"/>
                  </a:lnTo>
                  <a:lnTo>
                    <a:pt x="1275" y="930"/>
                  </a:lnTo>
                  <a:lnTo>
                    <a:pt x="1247" y="951"/>
                  </a:lnTo>
                  <a:lnTo>
                    <a:pt x="1221" y="972"/>
                  </a:lnTo>
                  <a:lnTo>
                    <a:pt x="1195" y="989"/>
                  </a:lnTo>
                  <a:lnTo>
                    <a:pt x="1171" y="1005"/>
                  </a:lnTo>
                  <a:lnTo>
                    <a:pt x="1145" y="1020"/>
                  </a:lnTo>
                  <a:lnTo>
                    <a:pt x="1119" y="1034"/>
                  </a:lnTo>
                  <a:lnTo>
                    <a:pt x="1093" y="1043"/>
                  </a:lnTo>
                  <a:lnTo>
                    <a:pt x="1067" y="1055"/>
                  </a:lnTo>
                  <a:lnTo>
                    <a:pt x="1036" y="1065"/>
                  </a:lnTo>
                  <a:lnTo>
                    <a:pt x="1006" y="1074"/>
                  </a:lnTo>
                  <a:lnTo>
                    <a:pt x="970" y="1086"/>
                  </a:lnTo>
                  <a:lnTo>
                    <a:pt x="935" y="1098"/>
                  </a:lnTo>
                  <a:lnTo>
                    <a:pt x="866" y="1247"/>
                  </a:lnTo>
                  <a:lnTo>
                    <a:pt x="790" y="1102"/>
                  </a:lnTo>
                  <a:lnTo>
                    <a:pt x="788" y="1100"/>
                  </a:lnTo>
                  <a:lnTo>
                    <a:pt x="781" y="1098"/>
                  </a:lnTo>
                  <a:lnTo>
                    <a:pt x="771" y="1095"/>
                  </a:lnTo>
                  <a:lnTo>
                    <a:pt x="757" y="1088"/>
                  </a:lnTo>
                  <a:lnTo>
                    <a:pt x="741" y="1084"/>
                  </a:lnTo>
                  <a:lnTo>
                    <a:pt x="722" y="1074"/>
                  </a:lnTo>
                  <a:lnTo>
                    <a:pt x="698" y="1065"/>
                  </a:lnTo>
                  <a:lnTo>
                    <a:pt x="674" y="1053"/>
                  </a:lnTo>
                  <a:lnTo>
                    <a:pt x="651" y="1041"/>
                  </a:lnTo>
                  <a:lnTo>
                    <a:pt x="622" y="1027"/>
                  </a:lnTo>
                  <a:lnTo>
                    <a:pt x="594" y="1013"/>
                  </a:lnTo>
                  <a:lnTo>
                    <a:pt x="568" y="998"/>
                  </a:lnTo>
                  <a:lnTo>
                    <a:pt x="540" y="979"/>
                  </a:lnTo>
                  <a:lnTo>
                    <a:pt x="511" y="963"/>
                  </a:lnTo>
                  <a:lnTo>
                    <a:pt x="485" y="944"/>
                  </a:lnTo>
                  <a:lnTo>
                    <a:pt x="459" y="923"/>
                  </a:lnTo>
                  <a:lnTo>
                    <a:pt x="435" y="901"/>
                  </a:lnTo>
                  <a:lnTo>
                    <a:pt x="398" y="963"/>
                  </a:lnTo>
                  <a:close/>
                </a:path>
              </a:pathLst>
            </a:custGeom>
            <a:solidFill>
              <a:srgbClr val="00188F"/>
            </a:solidFill>
            <a:ln>
              <a:noFill/>
            </a:ln>
            <a:extLst/>
          </p:spPr>
          <p:txBody>
            <a:bodyPr vert="horz" wrap="square" lIns="89606" tIns="44804" rIns="89606" bIns="44804" numCol="1" anchor="t" anchorCtr="0" compatLnSpc="1">
              <a:prstTxWarp prst="textNoShape">
                <a:avLst/>
              </a:prstTxWarp>
            </a:bodyPr>
            <a:lstStyle/>
            <a:p>
              <a:pPr defTabSz="914004"/>
              <a:endParaRPr lang="en-US" sz="1764">
                <a:solidFill>
                  <a:srgbClr val="FFFFFF"/>
                </a:solidFill>
              </a:endParaRPr>
            </a:p>
          </p:txBody>
        </p:sp>
        <p:sp>
          <p:nvSpPr>
            <p:cNvPr id="87" name="Freeform 37"/>
            <p:cNvSpPr>
              <a:spLocks noEditPoints="1"/>
            </p:cNvSpPr>
            <p:nvPr/>
          </p:nvSpPr>
          <p:spPr bwMode="auto">
            <a:xfrm>
              <a:off x="3774203" y="4109735"/>
              <a:ext cx="601663" cy="904081"/>
            </a:xfrm>
            <a:custGeom>
              <a:avLst/>
              <a:gdLst>
                <a:gd name="T0" fmla="*/ 369 w 741"/>
                <a:gd name="T1" fmla="*/ 909 h 1112"/>
                <a:gd name="T2" fmla="*/ 327 w 741"/>
                <a:gd name="T3" fmla="*/ 852 h 1112"/>
                <a:gd name="T4" fmla="*/ 344 w 741"/>
                <a:gd name="T5" fmla="*/ 593 h 1112"/>
                <a:gd name="T6" fmla="*/ 369 w 741"/>
                <a:gd name="T7" fmla="*/ 561 h 1112"/>
                <a:gd name="T8" fmla="*/ 394 w 741"/>
                <a:gd name="T9" fmla="*/ 593 h 1112"/>
                <a:gd name="T10" fmla="*/ 412 w 741"/>
                <a:gd name="T11" fmla="*/ 852 h 1112"/>
                <a:gd name="T12" fmla="*/ 369 w 741"/>
                <a:gd name="T13" fmla="*/ 909 h 1112"/>
                <a:gd name="T14" fmla="*/ 369 w 741"/>
                <a:gd name="T15" fmla="*/ 527 h 1112"/>
                <a:gd name="T16" fmla="*/ 337 w 741"/>
                <a:gd name="T17" fmla="*/ 465 h 1112"/>
                <a:gd name="T18" fmla="*/ 187 w 741"/>
                <a:gd name="T19" fmla="*/ 381 h 1112"/>
                <a:gd name="T20" fmla="*/ 3 w 741"/>
                <a:gd name="T21" fmla="*/ 859 h 1112"/>
                <a:gd name="T22" fmla="*/ 20 w 741"/>
                <a:gd name="T23" fmla="*/ 981 h 1112"/>
                <a:gd name="T24" fmla="*/ 120 w 741"/>
                <a:gd name="T25" fmla="*/ 1061 h 1112"/>
                <a:gd name="T26" fmla="*/ 369 w 741"/>
                <a:gd name="T27" fmla="*/ 1112 h 1112"/>
                <a:gd name="T28" fmla="*/ 372 w 741"/>
                <a:gd name="T29" fmla="*/ 1112 h 1112"/>
                <a:gd name="T30" fmla="*/ 622 w 741"/>
                <a:gd name="T31" fmla="*/ 1061 h 1112"/>
                <a:gd name="T32" fmla="*/ 722 w 741"/>
                <a:gd name="T33" fmla="*/ 981 h 1112"/>
                <a:gd name="T34" fmla="*/ 739 w 741"/>
                <a:gd name="T35" fmla="*/ 859 h 1112"/>
                <a:gd name="T36" fmla="*/ 555 w 741"/>
                <a:gd name="T37" fmla="*/ 381 h 1112"/>
                <a:gd name="T38" fmla="*/ 398 w 741"/>
                <a:gd name="T39" fmla="*/ 463 h 1112"/>
                <a:gd name="T40" fmla="*/ 369 w 741"/>
                <a:gd name="T41" fmla="*/ 527 h 1112"/>
                <a:gd name="T42" fmla="*/ 584 w 741"/>
                <a:gd name="T43" fmla="*/ 215 h 1112"/>
                <a:gd name="T44" fmla="*/ 369 w 741"/>
                <a:gd name="T45" fmla="*/ 429 h 1112"/>
                <a:gd name="T46" fmla="*/ 155 w 741"/>
                <a:gd name="T47" fmla="*/ 215 h 1112"/>
                <a:gd name="T48" fmla="*/ 369 w 741"/>
                <a:gd name="T49" fmla="*/ 0 h 1112"/>
                <a:gd name="T50" fmla="*/ 584 w 741"/>
                <a:gd name="T51" fmla="*/ 215 h 1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1" h="1112">
                  <a:moveTo>
                    <a:pt x="369" y="909"/>
                  </a:moveTo>
                  <a:cubicBezTo>
                    <a:pt x="327" y="852"/>
                    <a:pt x="327" y="852"/>
                    <a:pt x="327" y="852"/>
                  </a:cubicBezTo>
                  <a:cubicBezTo>
                    <a:pt x="344" y="593"/>
                    <a:pt x="344" y="593"/>
                    <a:pt x="344" y="593"/>
                  </a:cubicBezTo>
                  <a:cubicBezTo>
                    <a:pt x="369" y="561"/>
                    <a:pt x="369" y="561"/>
                    <a:pt x="369" y="561"/>
                  </a:cubicBezTo>
                  <a:cubicBezTo>
                    <a:pt x="394" y="593"/>
                    <a:pt x="394" y="593"/>
                    <a:pt x="394" y="593"/>
                  </a:cubicBezTo>
                  <a:cubicBezTo>
                    <a:pt x="412" y="852"/>
                    <a:pt x="412" y="852"/>
                    <a:pt x="412" y="852"/>
                  </a:cubicBezTo>
                  <a:lnTo>
                    <a:pt x="369" y="909"/>
                  </a:lnTo>
                  <a:close/>
                  <a:moveTo>
                    <a:pt x="369" y="527"/>
                  </a:moveTo>
                  <a:cubicBezTo>
                    <a:pt x="337" y="465"/>
                    <a:pt x="337" y="465"/>
                    <a:pt x="337" y="465"/>
                  </a:cubicBezTo>
                  <a:cubicBezTo>
                    <a:pt x="337" y="465"/>
                    <a:pt x="243" y="432"/>
                    <a:pt x="187" y="381"/>
                  </a:cubicBezTo>
                  <a:cubicBezTo>
                    <a:pt x="100" y="527"/>
                    <a:pt x="3" y="683"/>
                    <a:pt x="3" y="859"/>
                  </a:cubicBezTo>
                  <a:cubicBezTo>
                    <a:pt x="3" y="899"/>
                    <a:pt x="0" y="944"/>
                    <a:pt x="20" y="981"/>
                  </a:cubicBezTo>
                  <a:cubicBezTo>
                    <a:pt x="42" y="1023"/>
                    <a:pt x="80" y="1040"/>
                    <a:pt x="120" y="1061"/>
                  </a:cubicBezTo>
                  <a:cubicBezTo>
                    <a:pt x="196" y="1100"/>
                    <a:pt x="285" y="1104"/>
                    <a:pt x="369" y="1112"/>
                  </a:cubicBezTo>
                  <a:cubicBezTo>
                    <a:pt x="372" y="1112"/>
                    <a:pt x="372" y="1112"/>
                    <a:pt x="372" y="1112"/>
                  </a:cubicBezTo>
                  <a:cubicBezTo>
                    <a:pt x="456" y="1104"/>
                    <a:pt x="546" y="1100"/>
                    <a:pt x="622" y="1061"/>
                  </a:cubicBezTo>
                  <a:cubicBezTo>
                    <a:pt x="662" y="1040"/>
                    <a:pt x="700" y="1023"/>
                    <a:pt x="722" y="981"/>
                  </a:cubicBezTo>
                  <a:cubicBezTo>
                    <a:pt x="741" y="944"/>
                    <a:pt x="739" y="899"/>
                    <a:pt x="739" y="859"/>
                  </a:cubicBezTo>
                  <a:cubicBezTo>
                    <a:pt x="739" y="683"/>
                    <a:pt x="642" y="527"/>
                    <a:pt x="555" y="381"/>
                  </a:cubicBezTo>
                  <a:cubicBezTo>
                    <a:pt x="499" y="432"/>
                    <a:pt x="470" y="443"/>
                    <a:pt x="398" y="463"/>
                  </a:cubicBezTo>
                  <a:lnTo>
                    <a:pt x="369" y="527"/>
                  </a:lnTo>
                  <a:close/>
                  <a:moveTo>
                    <a:pt x="584" y="215"/>
                  </a:moveTo>
                  <a:cubicBezTo>
                    <a:pt x="584" y="333"/>
                    <a:pt x="488" y="429"/>
                    <a:pt x="369" y="429"/>
                  </a:cubicBezTo>
                  <a:cubicBezTo>
                    <a:pt x="251" y="429"/>
                    <a:pt x="155" y="333"/>
                    <a:pt x="155" y="215"/>
                  </a:cubicBezTo>
                  <a:cubicBezTo>
                    <a:pt x="155" y="96"/>
                    <a:pt x="251" y="0"/>
                    <a:pt x="369" y="0"/>
                  </a:cubicBezTo>
                  <a:cubicBezTo>
                    <a:pt x="488" y="0"/>
                    <a:pt x="584" y="96"/>
                    <a:pt x="584" y="215"/>
                  </a:cubicBezTo>
                  <a:close/>
                </a:path>
              </a:pathLst>
            </a:custGeom>
            <a:solidFill>
              <a:srgbClr val="00188F"/>
            </a:solidFill>
            <a:ln w="9525">
              <a:solidFill>
                <a:srgbClr val="FFFFFF"/>
              </a:solidFill>
              <a:round/>
              <a:headEnd/>
              <a:tailEnd/>
            </a:ln>
            <a:extLst/>
          </p:spPr>
          <p:txBody>
            <a:bodyPr vert="horz" wrap="square" lIns="89606" tIns="44804" rIns="89606" bIns="44804" numCol="1" anchor="t" anchorCtr="0" compatLnSpc="1">
              <a:prstTxWarp prst="textNoShape">
                <a:avLst/>
              </a:prstTxWarp>
            </a:bodyPr>
            <a:lstStyle/>
            <a:p>
              <a:pPr defTabSz="914004"/>
              <a:endParaRPr lang="en-US" sz="1764">
                <a:solidFill>
                  <a:srgbClr val="FFFFFF"/>
                </a:solidFill>
              </a:endParaRPr>
            </a:p>
          </p:txBody>
        </p:sp>
      </p:grpSp>
      <p:grpSp>
        <p:nvGrpSpPr>
          <p:cNvPr id="13" name="Group 12"/>
          <p:cNvGrpSpPr/>
          <p:nvPr/>
        </p:nvGrpSpPr>
        <p:grpSpPr>
          <a:xfrm>
            <a:off x="6571025" y="3786544"/>
            <a:ext cx="1267969" cy="1417526"/>
            <a:chOff x="4103660" y="3996643"/>
            <a:chExt cx="1293915" cy="1446532"/>
          </a:xfrm>
        </p:grpSpPr>
        <p:grpSp>
          <p:nvGrpSpPr>
            <p:cNvPr id="2" name="Group 1"/>
            <p:cNvGrpSpPr/>
            <p:nvPr/>
          </p:nvGrpSpPr>
          <p:grpSpPr>
            <a:xfrm>
              <a:off x="4229245" y="3996643"/>
              <a:ext cx="1069150" cy="1062285"/>
              <a:chOff x="9600354" y="2339758"/>
              <a:chExt cx="1069150" cy="1062285"/>
            </a:xfrm>
            <a:solidFill>
              <a:schemeClr val="accent1"/>
            </a:solidFill>
          </p:grpSpPr>
          <p:sp>
            <p:nvSpPr>
              <p:cNvPr id="70" name="Freeform 5"/>
              <p:cNvSpPr>
                <a:spLocks/>
              </p:cNvSpPr>
              <p:nvPr/>
            </p:nvSpPr>
            <p:spPr bwMode="auto">
              <a:xfrm>
                <a:off x="10149405" y="2735642"/>
                <a:ext cx="188775" cy="341511"/>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sp>
            <p:nvSpPr>
              <p:cNvPr id="71" name="Freeform 6"/>
              <p:cNvSpPr>
                <a:spLocks/>
              </p:cNvSpPr>
              <p:nvPr/>
            </p:nvSpPr>
            <p:spPr bwMode="auto">
              <a:xfrm>
                <a:off x="9911674" y="2738342"/>
                <a:ext cx="189918" cy="336361"/>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sp>
            <p:nvSpPr>
              <p:cNvPr id="72" name="Freeform 7"/>
              <p:cNvSpPr>
                <a:spLocks noEditPoints="1"/>
              </p:cNvSpPr>
              <p:nvPr/>
            </p:nvSpPr>
            <p:spPr bwMode="auto">
              <a:xfrm>
                <a:off x="9600354" y="2339758"/>
                <a:ext cx="1069150" cy="1062285"/>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4" rIns="89606" bIns="44804" numCol="1" anchor="t" anchorCtr="0" compatLnSpc="1">
                <a:prstTxWarp prst="textNoShape">
                  <a:avLst/>
                </a:prstTxWarp>
              </a:bodyPr>
              <a:lstStyle/>
              <a:p>
                <a:pPr defTabSz="913771"/>
                <a:endParaRPr lang="en-US" sz="1764">
                  <a:solidFill>
                    <a:srgbClr val="505050"/>
                  </a:solidFill>
                </a:endParaRPr>
              </a:p>
            </p:txBody>
          </p:sp>
        </p:grpSp>
        <p:grpSp>
          <p:nvGrpSpPr>
            <p:cNvPr id="12" name="Group 11"/>
            <p:cNvGrpSpPr/>
            <p:nvPr/>
          </p:nvGrpSpPr>
          <p:grpSpPr>
            <a:xfrm>
              <a:off x="4103660" y="5105177"/>
              <a:ext cx="1293915" cy="337998"/>
              <a:chOff x="4732009" y="3439438"/>
              <a:chExt cx="1754057" cy="458197"/>
            </a:xfrm>
          </p:grpSpPr>
          <p:sp>
            <p:nvSpPr>
              <p:cNvPr id="74" name="Rectangle 73"/>
              <p:cNvSpPr/>
              <p:nvPr/>
            </p:nvSpPr>
            <p:spPr>
              <a:xfrm>
                <a:off x="4732009" y="3647497"/>
                <a:ext cx="1459136" cy="250138"/>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096069" fontAlgn="base">
                  <a:spcAft>
                    <a:spcPct val="0"/>
                  </a:spcAft>
                </a:pPr>
                <a:r>
                  <a:rPr lang="en-US" sz="1175" dirty="0">
                    <a:ln>
                      <a:solidFill>
                        <a:srgbClr val="FFFFFF">
                          <a:alpha val="0"/>
                        </a:srgbClr>
                      </a:solidFill>
                    </a:ln>
                    <a:gradFill>
                      <a:gsLst>
                        <a:gs pos="86726">
                          <a:srgbClr val="002050"/>
                        </a:gs>
                        <a:gs pos="52000">
                          <a:srgbClr val="002050"/>
                        </a:gs>
                      </a:gsLst>
                      <a:lin ang="5400000" scaled="0"/>
                    </a:gradFill>
                  </a:rPr>
                  <a:t>Active Directory</a:t>
                </a:r>
              </a:p>
            </p:txBody>
          </p:sp>
          <p:sp>
            <p:nvSpPr>
              <p:cNvPr id="81" name="Freeform 5"/>
              <p:cNvSpPr>
                <a:spLocks noEditPoints="1"/>
              </p:cNvSpPr>
              <p:nvPr/>
            </p:nvSpPr>
            <p:spPr bwMode="auto">
              <a:xfrm>
                <a:off x="4760519" y="3439438"/>
                <a:ext cx="1725547" cy="224595"/>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chemeClr val="accent1"/>
              </a:solidFill>
              <a:ln>
                <a:noFill/>
              </a:ln>
            </p:spPr>
            <p:txBody>
              <a:bodyPr vert="horz" wrap="square" lIns="89606" tIns="44804" rIns="89606" bIns="44804" numCol="1" anchor="t" anchorCtr="0" compatLnSpc="1">
                <a:prstTxWarp prst="textNoShape">
                  <a:avLst/>
                </a:prstTxWarp>
              </a:bodyPr>
              <a:lstStyle/>
              <a:p>
                <a:pPr defTabSz="914004"/>
                <a:endParaRPr lang="en-US" sz="1764">
                  <a:solidFill>
                    <a:srgbClr val="FFFFFF"/>
                  </a:solidFill>
                </a:endParaRPr>
              </a:p>
            </p:txBody>
          </p:sp>
        </p:grpSp>
      </p:grpSp>
    </p:spTree>
    <p:extLst>
      <p:ext uri="{BB962C8B-B14F-4D97-AF65-F5344CB8AC3E}">
        <p14:creationId xmlns:p14="http://schemas.microsoft.com/office/powerpoint/2010/main" val="1792967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p:cTn id="11" dur="250" fill="hold"/>
                                        <p:tgtEl>
                                          <p:spTgt spid="53"/>
                                        </p:tgtEl>
                                        <p:attrNameLst>
                                          <p:attrName>ppt_w</p:attrName>
                                        </p:attrNameLst>
                                      </p:cBhvr>
                                      <p:tavLst>
                                        <p:tav tm="0">
                                          <p:val>
                                            <p:fltVal val="0"/>
                                          </p:val>
                                        </p:tav>
                                        <p:tav tm="100000">
                                          <p:val>
                                            <p:strVal val="#ppt_w"/>
                                          </p:val>
                                        </p:tav>
                                      </p:tavLst>
                                    </p:anim>
                                    <p:anim calcmode="lin" valueType="num">
                                      <p:cBhvr>
                                        <p:cTn id="12" dur="250" fill="hold"/>
                                        <p:tgtEl>
                                          <p:spTgt spid="53"/>
                                        </p:tgtEl>
                                        <p:attrNameLst>
                                          <p:attrName>ppt_h</p:attrName>
                                        </p:attrNameLst>
                                      </p:cBhvr>
                                      <p:tavLst>
                                        <p:tav tm="0">
                                          <p:val>
                                            <p:fltVal val="0"/>
                                          </p:val>
                                        </p:tav>
                                        <p:tav tm="100000">
                                          <p:val>
                                            <p:strVal val="#ppt_h"/>
                                          </p:val>
                                        </p:tav>
                                      </p:tavLst>
                                    </p:anim>
                                    <p:animEffect transition="in" filter="fade">
                                      <p:cBhvr>
                                        <p:cTn id="13" dur="250"/>
                                        <p:tgtEl>
                                          <p:spTgt spid="53"/>
                                        </p:tgtEl>
                                      </p:cBhvr>
                                    </p:animEffect>
                                  </p:childTnLst>
                                </p:cTn>
                              </p:par>
                              <p:par>
                                <p:cTn id="14" presetID="6" presetClass="emph" presetSubtype="0" decel="100000" fill="hold" nodeType="withEffect">
                                  <p:stCondLst>
                                    <p:cond delay="200"/>
                                  </p:stCondLst>
                                  <p:childTnLst>
                                    <p:animScale>
                                      <p:cBhvr>
                                        <p:cTn id="15" dur="250" fill="hold"/>
                                        <p:tgtEl>
                                          <p:spTgt spid="53"/>
                                        </p:tgtEl>
                                      </p:cBhvr>
                                      <p:by x="110000" y="110000"/>
                                    </p:animScale>
                                  </p:childTnLst>
                                </p:cTn>
                              </p:par>
                              <p:par>
                                <p:cTn id="16" presetID="6" presetClass="emph" presetSubtype="0" decel="100000" fill="hold" nodeType="withEffect">
                                  <p:stCondLst>
                                    <p:cond delay="300"/>
                                  </p:stCondLst>
                                  <p:childTnLst>
                                    <p:animScale>
                                      <p:cBhvr>
                                        <p:cTn id="17" dur="250" fill="hold"/>
                                        <p:tgtEl>
                                          <p:spTgt spid="53"/>
                                        </p:tgtEl>
                                      </p:cBhvr>
                                      <p:by x="91000" y="91000"/>
                                    </p:animScale>
                                  </p:childTnLst>
                                </p:cTn>
                              </p:par>
                              <p:par>
                                <p:cTn id="18" presetID="10" presetClass="entr" presetSubtype="0" fill="hold" grpId="0" nodeType="withEffect">
                                  <p:stCondLst>
                                    <p:cond delay="300"/>
                                  </p:stCondLst>
                                  <p:childTnLst>
                                    <p:set>
                                      <p:cBhvr>
                                        <p:cTn id="19" dur="1" fill="hold">
                                          <p:stCondLst>
                                            <p:cond delay="0"/>
                                          </p:stCondLst>
                                        </p:cTn>
                                        <p:tgtEl>
                                          <p:spTgt spid="120"/>
                                        </p:tgtEl>
                                        <p:attrNameLst>
                                          <p:attrName>style.visibility</p:attrName>
                                        </p:attrNameLst>
                                      </p:cBhvr>
                                      <p:to>
                                        <p:strVal val="visible"/>
                                      </p:to>
                                    </p:set>
                                    <p:animEffect transition="in" filter="fade">
                                      <p:cBhvr>
                                        <p:cTn id="20" dur="500"/>
                                        <p:tgtEl>
                                          <p:spTgt spid="120"/>
                                        </p:tgtEl>
                                      </p:cBhvr>
                                    </p:animEffect>
                                  </p:childTnLst>
                                </p:cTn>
                              </p:par>
                            </p:childTnLst>
                          </p:cTn>
                        </p:par>
                        <p:par>
                          <p:cTn id="21" fill="hold">
                            <p:stCondLst>
                              <p:cond delay="1300"/>
                            </p:stCondLst>
                            <p:childTnLst>
                              <p:par>
                                <p:cTn id="22" presetID="2" presetClass="entr" presetSubtype="8" decel="100000" fill="hold" grpId="0" nodeType="afterEffect">
                                  <p:stCondLst>
                                    <p:cond delay="0"/>
                                  </p:stCondLst>
                                  <p:childTnLst>
                                    <p:set>
                                      <p:cBhvr>
                                        <p:cTn id="23" dur="1" fill="hold">
                                          <p:stCondLst>
                                            <p:cond delay="0"/>
                                          </p:stCondLst>
                                        </p:cTn>
                                        <p:tgtEl>
                                          <p:spTgt spid="98"/>
                                        </p:tgtEl>
                                        <p:attrNameLst>
                                          <p:attrName>style.visibility</p:attrName>
                                        </p:attrNameLst>
                                      </p:cBhvr>
                                      <p:to>
                                        <p:strVal val="visible"/>
                                      </p:to>
                                    </p:set>
                                    <p:anim calcmode="lin" valueType="num">
                                      <p:cBhvr additive="base">
                                        <p:cTn id="24" dur="500" fill="hold"/>
                                        <p:tgtEl>
                                          <p:spTgt spid="98"/>
                                        </p:tgtEl>
                                        <p:attrNameLst>
                                          <p:attrName>ppt_x</p:attrName>
                                        </p:attrNameLst>
                                      </p:cBhvr>
                                      <p:tavLst>
                                        <p:tav tm="0">
                                          <p:val>
                                            <p:strVal val="0-#ppt_w/2"/>
                                          </p:val>
                                        </p:tav>
                                        <p:tav tm="100000">
                                          <p:val>
                                            <p:strVal val="#ppt_x"/>
                                          </p:val>
                                        </p:tav>
                                      </p:tavLst>
                                    </p:anim>
                                    <p:anim calcmode="lin" valueType="num">
                                      <p:cBhvr additive="base">
                                        <p:cTn id="25" dur="500" fill="hold"/>
                                        <p:tgtEl>
                                          <p:spTgt spid="98"/>
                                        </p:tgtEl>
                                        <p:attrNameLst>
                                          <p:attrName>ppt_y</p:attrName>
                                        </p:attrNameLst>
                                      </p:cBhvr>
                                      <p:tavLst>
                                        <p:tav tm="0">
                                          <p:val>
                                            <p:strVal val="#ppt_y"/>
                                          </p:val>
                                        </p:tav>
                                        <p:tav tm="100000">
                                          <p:val>
                                            <p:strVal val="#ppt_y"/>
                                          </p:val>
                                        </p:tav>
                                      </p:tavLst>
                                    </p:anim>
                                  </p:childTnLst>
                                </p:cTn>
                              </p:par>
                            </p:childTnLst>
                          </p:cTn>
                        </p:par>
                        <p:par>
                          <p:cTn id="26" fill="hold">
                            <p:stCondLst>
                              <p:cond delay="1800"/>
                            </p:stCondLst>
                            <p:childTnLst>
                              <p:par>
                                <p:cTn id="27" presetID="10" presetClass="entr" presetSubtype="0" fill="hold" nodeType="afterEffect">
                                  <p:stCondLst>
                                    <p:cond delay="0"/>
                                  </p:stCondLst>
                                  <p:childTnLst>
                                    <p:set>
                                      <p:cBhvr>
                                        <p:cTn id="28" dur="1" fill="hold">
                                          <p:stCondLst>
                                            <p:cond delay="0"/>
                                          </p:stCondLst>
                                        </p:cTn>
                                        <p:tgtEl>
                                          <p:spTgt spid="99"/>
                                        </p:tgtEl>
                                        <p:attrNameLst>
                                          <p:attrName>style.visibility</p:attrName>
                                        </p:attrNameLst>
                                      </p:cBhvr>
                                      <p:to>
                                        <p:strVal val="visible"/>
                                      </p:to>
                                    </p:set>
                                    <p:animEffect transition="in" filter="fade">
                                      <p:cBhvr>
                                        <p:cTn id="29" dur="500"/>
                                        <p:tgtEl>
                                          <p:spTgt spid="99"/>
                                        </p:tgtEl>
                                      </p:cBhvr>
                                    </p:animEffect>
                                  </p:childTnLst>
                                </p:cTn>
                              </p:par>
                              <p:par>
                                <p:cTn id="30" presetID="10" presetClass="entr" presetSubtype="0" fill="hold" nodeType="withEffect">
                                  <p:stCondLst>
                                    <p:cond delay="0"/>
                                  </p:stCondLst>
                                  <p:childTnLst>
                                    <p:set>
                                      <p:cBhvr>
                                        <p:cTn id="31" dur="1" fill="hold">
                                          <p:stCondLst>
                                            <p:cond delay="0"/>
                                          </p:stCondLst>
                                        </p:cTn>
                                        <p:tgtEl>
                                          <p:spTgt spid="104"/>
                                        </p:tgtEl>
                                        <p:attrNameLst>
                                          <p:attrName>style.visibility</p:attrName>
                                        </p:attrNameLst>
                                      </p:cBhvr>
                                      <p:to>
                                        <p:strVal val="visible"/>
                                      </p:to>
                                    </p:set>
                                    <p:animEffect transition="in" filter="fade">
                                      <p:cBhvr>
                                        <p:cTn id="32" dur="500"/>
                                        <p:tgtEl>
                                          <p:spTgt spid="104"/>
                                        </p:tgtEl>
                                      </p:cBhvr>
                                    </p:animEffect>
                                  </p:childTnLst>
                                </p:cTn>
                              </p:par>
                              <p:par>
                                <p:cTn id="33" presetID="10" presetClass="entr" presetSubtype="0" fill="hold" nodeType="withEffect">
                                  <p:stCondLst>
                                    <p:cond delay="0"/>
                                  </p:stCondLst>
                                  <p:childTnLst>
                                    <p:set>
                                      <p:cBhvr>
                                        <p:cTn id="34" dur="1" fill="hold">
                                          <p:stCondLst>
                                            <p:cond delay="0"/>
                                          </p:stCondLst>
                                        </p:cTn>
                                        <p:tgtEl>
                                          <p:spTgt spid="112"/>
                                        </p:tgtEl>
                                        <p:attrNameLst>
                                          <p:attrName>style.visibility</p:attrName>
                                        </p:attrNameLst>
                                      </p:cBhvr>
                                      <p:to>
                                        <p:strVal val="visible"/>
                                      </p:to>
                                    </p:set>
                                    <p:animEffect transition="in" filter="fade">
                                      <p:cBhvr>
                                        <p:cTn id="35" dur="500"/>
                                        <p:tgtEl>
                                          <p:spTgt spid="11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22"/>
                                        </p:tgtEl>
                                        <p:attrNameLst>
                                          <p:attrName>style.visibility</p:attrName>
                                        </p:attrNameLst>
                                      </p:cBhvr>
                                      <p:to>
                                        <p:strVal val="visible"/>
                                      </p:to>
                                    </p:set>
                                    <p:animEffect transition="in" filter="fade">
                                      <p:cBhvr>
                                        <p:cTn id="38" dur="500"/>
                                        <p:tgtEl>
                                          <p:spTgt spid="122"/>
                                        </p:tgtEl>
                                      </p:cBhvr>
                                    </p:animEffect>
                                  </p:childTnLst>
                                </p:cTn>
                              </p:par>
                            </p:childTnLst>
                          </p:cTn>
                        </p:par>
                        <p:par>
                          <p:cTn id="39" fill="hold">
                            <p:stCondLst>
                              <p:cond delay="2300"/>
                            </p:stCondLst>
                            <p:childTnLst>
                              <p:par>
                                <p:cTn id="40" presetID="10" presetClass="entr" presetSubtype="0" fill="hold" grpId="0" nodeType="after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childTnLst>
                          </p:cTn>
                        </p:par>
                        <p:par>
                          <p:cTn id="43" fill="hold">
                            <p:stCondLst>
                              <p:cond delay="2800"/>
                            </p:stCondLst>
                            <p:childTnLst>
                              <p:par>
                                <p:cTn id="44" presetID="53" presetClass="entr" presetSubtype="16" fill="hold" nodeType="afterEffect">
                                  <p:stCondLst>
                                    <p:cond delay="0"/>
                                  </p:stCondLst>
                                  <p:childTnLst>
                                    <p:set>
                                      <p:cBhvr>
                                        <p:cTn id="45" dur="1" fill="hold">
                                          <p:stCondLst>
                                            <p:cond delay="0"/>
                                          </p:stCondLst>
                                        </p:cTn>
                                        <p:tgtEl>
                                          <p:spTgt spid="4"/>
                                        </p:tgtEl>
                                        <p:attrNameLst>
                                          <p:attrName>style.visibility</p:attrName>
                                        </p:attrNameLst>
                                      </p:cBhvr>
                                      <p:to>
                                        <p:strVal val="visible"/>
                                      </p:to>
                                    </p:set>
                                    <p:anim calcmode="lin" valueType="num">
                                      <p:cBhvr>
                                        <p:cTn id="46" dur="250" fill="hold"/>
                                        <p:tgtEl>
                                          <p:spTgt spid="4"/>
                                        </p:tgtEl>
                                        <p:attrNameLst>
                                          <p:attrName>ppt_w</p:attrName>
                                        </p:attrNameLst>
                                      </p:cBhvr>
                                      <p:tavLst>
                                        <p:tav tm="0">
                                          <p:val>
                                            <p:fltVal val="0"/>
                                          </p:val>
                                        </p:tav>
                                        <p:tav tm="100000">
                                          <p:val>
                                            <p:strVal val="#ppt_w"/>
                                          </p:val>
                                        </p:tav>
                                      </p:tavLst>
                                    </p:anim>
                                    <p:anim calcmode="lin" valueType="num">
                                      <p:cBhvr>
                                        <p:cTn id="47" dur="250" fill="hold"/>
                                        <p:tgtEl>
                                          <p:spTgt spid="4"/>
                                        </p:tgtEl>
                                        <p:attrNameLst>
                                          <p:attrName>ppt_h</p:attrName>
                                        </p:attrNameLst>
                                      </p:cBhvr>
                                      <p:tavLst>
                                        <p:tav tm="0">
                                          <p:val>
                                            <p:fltVal val="0"/>
                                          </p:val>
                                        </p:tav>
                                        <p:tav tm="100000">
                                          <p:val>
                                            <p:strVal val="#ppt_h"/>
                                          </p:val>
                                        </p:tav>
                                      </p:tavLst>
                                    </p:anim>
                                    <p:animEffect transition="in" filter="fade">
                                      <p:cBhvr>
                                        <p:cTn id="48" dur="250"/>
                                        <p:tgtEl>
                                          <p:spTgt spid="4"/>
                                        </p:tgtEl>
                                      </p:cBhvr>
                                    </p:animEffect>
                                  </p:childTnLst>
                                </p:cTn>
                              </p:par>
                              <p:par>
                                <p:cTn id="49" presetID="6" presetClass="emph" presetSubtype="0" decel="100000" fill="hold" nodeType="withEffect">
                                  <p:stCondLst>
                                    <p:cond delay="200"/>
                                  </p:stCondLst>
                                  <p:childTnLst>
                                    <p:animScale>
                                      <p:cBhvr>
                                        <p:cTn id="50" dur="250" fill="hold"/>
                                        <p:tgtEl>
                                          <p:spTgt spid="4"/>
                                        </p:tgtEl>
                                      </p:cBhvr>
                                      <p:by x="110000" y="110000"/>
                                    </p:animScale>
                                  </p:childTnLst>
                                </p:cTn>
                              </p:par>
                              <p:par>
                                <p:cTn id="51" presetID="6" presetClass="emph" presetSubtype="0" decel="100000" fill="hold" nodeType="withEffect">
                                  <p:stCondLst>
                                    <p:cond delay="300"/>
                                  </p:stCondLst>
                                  <p:childTnLst>
                                    <p:animScale>
                                      <p:cBhvr>
                                        <p:cTn id="52" dur="250" fill="hold"/>
                                        <p:tgtEl>
                                          <p:spTgt spid="4"/>
                                        </p:tgtEl>
                                      </p:cBhvr>
                                      <p:by x="91000" y="91000"/>
                                    </p:animScale>
                                  </p:childTnLst>
                                </p:cTn>
                              </p:par>
                            </p:childTnLst>
                          </p:cTn>
                        </p:par>
                        <p:par>
                          <p:cTn id="53" fill="hold">
                            <p:stCondLst>
                              <p:cond delay="3350"/>
                            </p:stCondLst>
                            <p:childTnLst>
                              <p:par>
                                <p:cTn id="54" presetID="22" presetClass="entr" presetSubtype="1" fill="hold" grpId="0" nodeType="afterEffect">
                                  <p:stCondLst>
                                    <p:cond delay="500"/>
                                  </p:stCondLst>
                                  <p:childTnLst>
                                    <p:set>
                                      <p:cBhvr>
                                        <p:cTn id="55" dur="1" fill="hold">
                                          <p:stCondLst>
                                            <p:cond delay="0"/>
                                          </p:stCondLst>
                                        </p:cTn>
                                        <p:tgtEl>
                                          <p:spTgt spid="76"/>
                                        </p:tgtEl>
                                        <p:attrNameLst>
                                          <p:attrName>style.visibility</p:attrName>
                                        </p:attrNameLst>
                                      </p:cBhvr>
                                      <p:to>
                                        <p:strVal val="visible"/>
                                      </p:to>
                                    </p:set>
                                    <p:animEffect transition="in" filter="wipe(up)">
                                      <p:cBhvr>
                                        <p:cTn id="56" dur="500"/>
                                        <p:tgtEl>
                                          <p:spTgt spid="76"/>
                                        </p:tgtEl>
                                      </p:cBhvr>
                                    </p:animEffect>
                                  </p:childTnLst>
                                </p:cTn>
                              </p:par>
                            </p:childTnLst>
                          </p:cTn>
                        </p:par>
                        <p:par>
                          <p:cTn id="57" fill="hold">
                            <p:stCondLst>
                              <p:cond delay="4350"/>
                            </p:stCondLst>
                            <p:childTnLst>
                              <p:par>
                                <p:cTn id="58" presetID="22" presetClass="entr" presetSubtype="1" fill="hold" grpId="0" nodeType="afterEffect">
                                  <p:stCondLst>
                                    <p:cond delay="450"/>
                                  </p:stCondLst>
                                  <p:childTnLst>
                                    <p:set>
                                      <p:cBhvr>
                                        <p:cTn id="59" dur="1" fill="hold">
                                          <p:stCondLst>
                                            <p:cond delay="0"/>
                                          </p:stCondLst>
                                        </p:cTn>
                                        <p:tgtEl>
                                          <p:spTgt spid="7"/>
                                        </p:tgtEl>
                                        <p:attrNameLst>
                                          <p:attrName>style.visibility</p:attrName>
                                        </p:attrNameLst>
                                      </p:cBhvr>
                                      <p:to>
                                        <p:strVal val="visible"/>
                                      </p:to>
                                    </p:set>
                                    <p:animEffect transition="in" filter="wipe(up)">
                                      <p:cBhvr>
                                        <p:cTn id="60" dur="500"/>
                                        <p:tgtEl>
                                          <p:spTgt spid="7"/>
                                        </p:tgtEl>
                                      </p:cBhvr>
                                    </p:animEffect>
                                  </p:childTnLst>
                                </p:cTn>
                              </p:par>
                              <p:par>
                                <p:cTn id="61" presetID="10" presetClass="entr" presetSubtype="0" fill="hold" grpId="0" nodeType="withEffect">
                                  <p:stCondLst>
                                    <p:cond delay="500"/>
                                  </p:stCondLst>
                                  <p:childTnLst>
                                    <p:set>
                                      <p:cBhvr>
                                        <p:cTn id="62" dur="1" fill="hold">
                                          <p:stCondLst>
                                            <p:cond delay="0"/>
                                          </p:stCondLst>
                                        </p:cTn>
                                        <p:tgtEl>
                                          <p:spTgt spid="161"/>
                                        </p:tgtEl>
                                        <p:attrNameLst>
                                          <p:attrName>style.visibility</p:attrName>
                                        </p:attrNameLst>
                                      </p:cBhvr>
                                      <p:to>
                                        <p:strVal val="visible"/>
                                      </p:to>
                                    </p:set>
                                    <p:animEffect transition="in" filter="fade">
                                      <p:cBhvr>
                                        <p:cTn id="63" dur="500"/>
                                        <p:tgtEl>
                                          <p:spTgt spid="161"/>
                                        </p:tgtEl>
                                      </p:cBhvr>
                                    </p:animEffect>
                                  </p:childTnLst>
                                </p:cTn>
                              </p:par>
                            </p:childTnLst>
                          </p:cTn>
                        </p:par>
                        <p:par>
                          <p:cTn id="64" fill="hold">
                            <p:stCondLst>
                              <p:cond delay="5350"/>
                            </p:stCondLst>
                            <p:childTnLst>
                              <p:par>
                                <p:cTn id="65" presetID="53" presetClass="entr" presetSubtype="16" fill="hold" nodeType="afterEffect">
                                  <p:stCondLst>
                                    <p:cond delay="0"/>
                                  </p:stCondLst>
                                  <p:childTnLst>
                                    <p:set>
                                      <p:cBhvr>
                                        <p:cTn id="66" dur="1" fill="hold">
                                          <p:stCondLst>
                                            <p:cond delay="0"/>
                                          </p:stCondLst>
                                        </p:cTn>
                                        <p:tgtEl>
                                          <p:spTgt spid="6"/>
                                        </p:tgtEl>
                                        <p:attrNameLst>
                                          <p:attrName>style.visibility</p:attrName>
                                        </p:attrNameLst>
                                      </p:cBhvr>
                                      <p:to>
                                        <p:strVal val="visible"/>
                                      </p:to>
                                    </p:set>
                                    <p:anim calcmode="lin" valueType="num">
                                      <p:cBhvr>
                                        <p:cTn id="67" dur="250" fill="hold"/>
                                        <p:tgtEl>
                                          <p:spTgt spid="6"/>
                                        </p:tgtEl>
                                        <p:attrNameLst>
                                          <p:attrName>ppt_w</p:attrName>
                                        </p:attrNameLst>
                                      </p:cBhvr>
                                      <p:tavLst>
                                        <p:tav tm="0">
                                          <p:val>
                                            <p:fltVal val="0"/>
                                          </p:val>
                                        </p:tav>
                                        <p:tav tm="100000">
                                          <p:val>
                                            <p:strVal val="#ppt_w"/>
                                          </p:val>
                                        </p:tav>
                                      </p:tavLst>
                                    </p:anim>
                                    <p:anim calcmode="lin" valueType="num">
                                      <p:cBhvr>
                                        <p:cTn id="68" dur="250" fill="hold"/>
                                        <p:tgtEl>
                                          <p:spTgt spid="6"/>
                                        </p:tgtEl>
                                        <p:attrNameLst>
                                          <p:attrName>ppt_h</p:attrName>
                                        </p:attrNameLst>
                                      </p:cBhvr>
                                      <p:tavLst>
                                        <p:tav tm="0">
                                          <p:val>
                                            <p:fltVal val="0"/>
                                          </p:val>
                                        </p:tav>
                                        <p:tav tm="100000">
                                          <p:val>
                                            <p:strVal val="#ppt_h"/>
                                          </p:val>
                                        </p:tav>
                                      </p:tavLst>
                                    </p:anim>
                                    <p:animEffect transition="in" filter="fade">
                                      <p:cBhvr>
                                        <p:cTn id="69" dur="250"/>
                                        <p:tgtEl>
                                          <p:spTgt spid="6"/>
                                        </p:tgtEl>
                                      </p:cBhvr>
                                    </p:animEffect>
                                  </p:childTnLst>
                                </p:cTn>
                              </p:par>
                              <p:par>
                                <p:cTn id="70" presetID="6" presetClass="emph" presetSubtype="0" decel="100000" fill="hold" nodeType="withEffect">
                                  <p:stCondLst>
                                    <p:cond delay="200"/>
                                  </p:stCondLst>
                                  <p:childTnLst>
                                    <p:animScale>
                                      <p:cBhvr>
                                        <p:cTn id="71" dur="250" fill="hold"/>
                                        <p:tgtEl>
                                          <p:spTgt spid="6"/>
                                        </p:tgtEl>
                                      </p:cBhvr>
                                      <p:by x="110000" y="110000"/>
                                    </p:animScale>
                                  </p:childTnLst>
                                </p:cTn>
                              </p:par>
                              <p:par>
                                <p:cTn id="72" presetID="6" presetClass="emph" presetSubtype="0" decel="100000" fill="hold" nodeType="withEffect">
                                  <p:stCondLst>
                                    <p:cond delay="300"/>
                                  </p:stCondLst>
                                  <p:childTnLst>
                                    <p:animScale>
                                      <p:cBhvr>
                                        <p:cTn id="73" dur="250" fill="hold"/>
                                        <p:tgtEl>
                                          <p:spTgt spid="6"/>
                                        </p:tgtEl>
                                      </p:cBhvr>
                                      <p:by x="91000" y="91000"/>
                                    </p:animScale>
                                  </p:childTnLst>
                                </p:cTn>
                              </p:par>
                            </p:childTnLst>
                          </p:cTn>
                        </p:par>
                        <p:par>
                          <p:cTn id="74" fill="hold">
                            <p:stCondLst>
                              <p:cond delay="5900"/>
                            </p:stCondLst>
                            <p:childTnLst>
                              <p:par>
                                <p:cTn id="75" presetID="22" presetClass="entr" presetSubtype="1" fill="hold" grpId="0" nodeType="afterEffect">
                                  <p:stCondLst>
                                    <p:cond delay="500"/>
                                  </p:stCondLst>
                                  <p:childTnLst>
                                    <p:set>
                                      <p:cBhvr>
                                        <p:cTn id="76" dur="1" fill="hold">
                                          <p:stCondLst>
                                            <p:cond delay="0"/>
                                          </p:stCondLst>
                                        </p:cTn>
                                        <p:tgtEl>
                                          <p:spTgt spid="3"/>
                                        </p:tgtEl>
                                        <p:attrNameLst>
                                          <p:attrName>style.visibility</p:attrName>
                                        </p:attrNameLst>
                                      </p:cBhvr>
                                      <p:to>
                                        <p:strVal val="visible"/>
                                      </p:to>
                                    </p:set>
                                    <p:animEffect transition="in" filter="wipe(up)">
                                      <p:cBhvr>
                                        <p:cTn id="77" dur="500"/>
                                        <p:tgtEl>
                                          <p:spTgt spid="3"/>
                                        </p:tgtEl>
                                      </p:cBhvr>
                                    </p:animEffect>
                                  </p:childTnLst>
                                </p:cTn>
                              </p:par>
                            </p:childTnLst>
                          </p:cTn>
                        </p:par>
                        <p:par>
                          <p:cTn id="78" fill="hold">
                            <p:stCondLst>
                              <p:cond delay="6900"/>
                            </p:stCondLst>
                            <p:childTnLst>
                              <p:par>
                                <p:cTn id="79" presetID="53" presetClass="entr" presetSubtype="16" fill="hold" nodeType="afterEffect">
                                  <p:stCondLst>
                                    <p:cond delay="0"/>
                                  </p:stCondLst>
                                  <p:childTnLst>
                                    <p:set>
                                      <p:cBhvr>
                                        <p:cTn id="80" dur="1" fill="hold">
                                          <p:stCondLst>
                                            <p:cond delay="0"/>
                                          </p:stCondLst>
                                        </p:cTn>
                                        <p:tgtEl>
                                          <p:spTgt spid="32"/>
                                        </p:tgtEl>
                                        <p:attrNameLst>
                                          <p:attrName>style.visibility</p:attrName>
                                        </p:attrNameLst>
                                      </p:cBhvr>
                                      <p:to>
                                        <p:strVal val="visible"/>
                                      </p:to>
                                    </p:set>
                                    <p:anim calcmode="lin" valueType="num">
                                      <p:cBhvr>
                                        <p:cTn id="81" dur="250" fill="hold"/>
                                        <p:tgtEl>
                                          <p:spTgt spid="32"/>
                                        </p:tgtEl>
                                        <p:attrNameLst>
                                          <p:attrName>ppt_w</p:attrName>
                                        </p:attrNameLst>
                                      </p:cBhvr>
                                      <p:tavLst>
                                        <p:tav tm="0">
                                          <p:val>
                                            <p:fltVal val="0"/>
                                          </p:val>
                                        </p:tav>
                                        <p:tav tm="100000">
                                          <p:val>
                                            <p:strVal val="#ppt_w"/>
                                          </p:val>
                                        </p:tav>
                                      </p:tavLst>
                                    </p:anim>
                                    <p:anim calcmode="lin" valueType="num">
                                      <p:cBhvr>
                                        <p:cTn id="82" dur="250" fill="hold"/>
                                        <p:tgtEl>
                                          <p:spTgt spid="32"/>
                                        </p:tgtEl>
                                        <p:attrNameLst>
                                          <p:attrName>ppt_h</p:attrName>
                                        </p:attrNameLst>
                                      </p:cBhvr>
                                      <p:tavLst>
                                        <p:tav tm="0">
                                          <p:val>
                                            <p:fltVal val="0"/>
                                          </p:val>
                                        </p:tav>
                                        <p:tav tm="100000">
                                          <p:val>
                                            <p:strVal val="#ppt_h"/>
                                          </p:val>
                                        </p:tav>
                                      </p:tavLst>
                                    </p:anim>
                                    <p:animEffect transition="in" filter="fade">
                                      <p:cBhvr>
                                        <p:cTn id="83" dur="250"/>
                                        <p:tgtEl>
                                          <p:spTgt spid="32"/>
                                        </p:tgtEl>
                                      </p:cBhvr>
                                    </p:animEffect>
                                  </p:childTnLst>
                                </p:cTn>
                              </p:par>
                              <p:par>
                                <p:cTn id="84" presetID="6" presetClass="emph" presetSubtype="0" decel="100000" fill="hold" nodeType="withEffect">
                                  <p:stCondLst>
                                    <p:cond delay="200"/>
                                  </p:stCondLst>
                                  <p:childTnLst>
                                    <p:animScale>
                                      <p:cBhvr>
                                        <p:cTn id="85" dur="250" fill="hold"/>
                                        <p:tgtEl>
                                          <p:spTgt spid="32"/>
                                        </p:tgtEl>
                                      </p:cBhvr>
                                      <p:by x="110000" y="110000"/>
                                    </p:animScale>
                                  </p:childTnLst>
                                </p:cTn>
                              </p:par>
                              <p:par>
                                <p:cTn id="86" presetID="6" presetClass="emph" presetSubtype="0" decel="100000" fill="hold" nodeType="withEffect">
                                  <p:stCondLst>
                                    <p:cond delay="300"/>
                                  </p:stCondLst>
                                  <p:childTnLst>
                                    <p:animScale>
                                      <p:cBhvr>
                                        <p:cTn id="87" dur="250" fill="hold"/>
                                        <p:tgtEl>
                                          <p:spTgt spid="32"/>
                                        </p:tgtEl>
                                      </p:cBhvr>
                                      <p:by x="91000" y="91000"/>
                                    </p:animScale>
                                  </p:childTnLst>
                                </p:cTn>
                              </p:par>
                            </p:childTnLst>
                          </p:cTn>
                        </p:par>
                        <p:par>
                          <p:cTn id="88" fill="hold">
                            <p:stCondLst>
                              <p:cond delay="7450"/>
                            </p:stCondLst>
                            <p:childTnLst>
                              <p:par>
                                <p:cTn id="89" presetID="22" presetClass="entr" presetSubtype="8" fill="hold" grpId="0" nodeType="afterEffect">
                                  <p:stCondLst>
                                    <p:cond delay="500"/>
                                  </p:stCondLst>
                                  <p:childTnLst>
                                    <p:set>
                                      <p:cBhvr>
                                        <p:cTn id="90" dur="1" fill="hold">
                                          <p:stCondLst>
                                            <p:cond delay="0"/>
                                          </p:stCondLst>
                                        </p:cTn>
                                        <p:tgtEl>
                                          <p:spTgt spid="46"/>
                                        </p:tgtEl>
                                        <p:attrNameLst>
                                          <p:attrName>style.visibility</p:attrName>
                                        </p:attrNameLst>
                                      </p:cBhvr>
                                      <p:to>
                                        <p:strVal val="visible"/>
                                      </p:to>
                                    </p:set>
                                    <p:animEffect transition="in" filter="wipe(left)">
                                      <p:cBhvr>
                                        <p:cTn id="91" dur="500"/>
                                        <p:tgtEl>
                                          <p:spTgt spid="46"/>
                                        </p:tgtEl>
                                      </p:cBhvr>
                                    </p:animEffect>
                                  </p:childTnLst>
                                </p:cTn>
                              </p:par>
                            </p:childTnLst>
                          </p:cTn>
                        </p:par>
                        <p:par>
                          <p:cTn id="92" fill="hold">
                            <p:stCondLst>
                              <p:cond delay="8450"/>
                            </p:stCondLst>
                            <p:childTnLst>
                              <p:par>
                                <p:cTn id="93" presetID="10" presetClass="entr" presetSubtype="0" fill="hold" nodeType="afterEffect">
                                  <p:stCondLst>
                                    <p:cond delay="0"/>
                                  </p:stCondLst>
                                  <p:childTnLst>
                                    <p:set>
                                      <p:cBhvr>
                                        <p:cTn id="94" dur="1" fill="hold">
                                          <p:stCondLst>
                                            <p:cond delay="0"/>
                                          </p:stCondLst>
                                        </p:cTn>
                                        <p:tgtEl>
                                          <p:spTgt spid="9"/>
                                        </p:tgtEl>
                                        <p:attrNameLst>
                                          <p:attrName>style.visibility</p:attrName>
                                        </p:attrNameLst>
                                      </p:cBhvr>
                                      <p:to>
                                        <p:strVal val="visible"/>
                                      </p:to>
                                    </p:set>
                                    <p:animEffect transition="in" filter="fade">
                                      <p:cBhvr>
                                        <p:cTn id="95" dur="500"/>
                                        <p:tgtEl>
                                          <p:spTgt spid="9"/>
                                        </p:tgtEl>
                                      </p:cBhvr>
                                    </p:animEffect>
                                  </p:childTnLst>
                                </p:cTn>
                              </p:par>
                            </p:childTnLst>
                          </p:cTn>
                        </p:par>
                        <p:par>
                          <p:cTn id="96" fill="hold">
                            <p:stCondLst>
                              <p:cond delay="8950"/>
                            </p:stCondLst>
                            <p:childTnLst>
                              <p:par>
                                <p:cTn id="97" presetID="53" presetClass="entr" presetSubtype="16" fill="hold" nodeType="afterEffect">
                                  <p:stCondLst>
                                    <p:cond delay="0"/>
                                  </p:stCondLst>
                                  <p:childTnLst>
                                    <p:set>
                                      <p:cBhvr>
                                        <p:cTn id="98" dur="1" fill="hold">
                                          <p:stCondLst>
                                            <p:cond delay="0"/>
                                          </p:stCondLst>
                                        </p:cTn>
                                        <p:tgtEl>
                                          <p:spTgt spid="10"/>
                                        </p:tgtEl>
                                        <p:attrNameLst>
                                          <p:attrName>style.visibility</p:attrName>
                                        </p:attrNameLst>
                                      </p:cBhvr>
                                      <p:to>
                                        <p:strVal val="visible"/>
                                      </p:to>
                                    </p:set>
                                    <p:anim calcmode="lin" valueType="num">
                                      <p:cBhvr>
                                        <p:cTn id="99" dur="250" fill="hold"/>
                                        <p:tgtEl>
                                          <p:spTgt spid="10"/>
                                        </p:tgtEl>
                                        <p:attrNameLst>
                                          <p:attrName>ppt_w</p:attrName>
                                        </p:attrNameLst>
                                      </p:cBhvr>
                                      <p:tavLst>
                                        <p:tav tm="0">
                                          <p:val>
                                            <p:fltVal val="0"/>
                                          </p:val>
                                        </p:tav>
                                        <p:tav tm="100000">
                                          <p:val>
                                            <p:strVal val="#ppt_w"/>
                                          </p:val>
                                        </p:tav>
                                      </p:tavLst>
                                    </p:anim>
                                    <p:anim calcmode="lin" valueType="num">
                                      <p:cBhvr>
                                        <p:cTn id="100" dur="250" fill="hold"/>
                                        <p:tgtEl>
                                          <p:spTgt spid="10"/>
                                        </p:tgtEl>
                                        <p:attrNameLst>
                                          <p:attrName>ppt_h</p:attrName>
                                        </p:attrNameLst>
                                      </p:cBhvr>
                                      <p:tavLst>
                                        <p:tav tm="0">
                                          <p:val>
                                            <p:fltVal val="0"/>
                                          </p:val>
                                        </p:tav>
                                        <p:tav tm="100000">
                                          <p:val>
                                            <p:strVal val="#ppt_h"/>
                                          </p:val>
                                        </p:tav>
                                      </p:tavLst>
                                    </p:anim>
                                    <p:animEffect transition="in" filter="fade">
                                      <p:cBhvr>
                                        <p:cTn id="101" dur="250"/>
                                        <p:tgtEl>
                                          <p:spTgt spid="10"/>
                                        </p:tgtEl>
                                      </p:cBhvr>
                                    </p:animEffect>
                                  </p:childTnLst>
                                </p:cTn>
                              </p:par>
                              <p:par>
                                <p:cTn id="102" presetID="6" presetClass="emph" presetSubtype="0" decel="100000" fill="hold" nodeType="withEffect">
                                  <p:stCondLst>
                                    <p:cond delay="200"/>
                                  </p:stCondLst>
                                  <p:childTnLst>
                                    <p:animScale>
                                      <p:cBhvr>
                                        <p:cTn id="103" dur="250" fill="hold"/>
                                        <p:tgtEl>
                                          <p:spTgt spid="10"/>
                                        </p:tgtEl>
                                      </p:cBhvr>
                                      <p:by x="110000" y="110000"/>
                                    </p:animScale>
                                  </p:childTnLst>
                                </p:cTn>
                              </p:par>
                              <p:par>
                                <p:cTn id="104" presetID="6" presetClass="emph" presetSubtype="0" decel="100000" fill="hold" nodeType="withEffect">
                                  <p:stCondLst>
                                    <p:cond delay="300"/>
                                  </p:stCondLst>
                                  <p:childTnLst>
                                    <p:animScale>
                                      <p:cBhvr>
                                        <p:cTn id="105" dur="250" fill="hold"/>
                                        <p:tgtEl>
                                          <p:spTgt spid="10"/>
                                        </p:tgtEl>
                                      </p:cBhvr>
                                      <p:by x="91000" y="91000"/>
                                    </p:animScale>
                                  </p:childTnLst>
                                </p:cTn>
                              </p:par>
                            </p:childTnLst>
                          </p:cTn>
                        </p:par>
                        <p:par>
                          <p:cTn id="106" fill="hold">
                            <p:stCondLst>
                              <p:cond delay="9500"/>
                            </p:stCondLst>
                            <p:childTnLst>
                              <p:par>
                                <p:cTn id="107" presetID="22" presetClass="entr" presetSubtype="4" fill="hold" grpId="0" nodeType="afterEffect">
                                  <p:stCondLst>
                                    <p:cond delay="500"/>
                                  </p:stCondLst>
                                  <p:childTnLst>
                                    <p:set>
                                      <p:cBhvr>
                                        <p:cTn id="108" dur="1" fill="hold">
                                          <p:stCondLst>
                                            <p:cond delay="0"/>
                                          </p:stCondLst>
                                        </p:cTn>
                                        <p:tgtEl>
                                          <p:spTgt spid="80"/>
                                        </p:tgtEl>
                                        <p:attrNameLst>
                                          <p:attrName>style.visibility</p:attrName>
                                        </p:attrNameLst>
                                      </p:cBhvr>
                                      <p:to>
                                        <p:strVal val="visible"/>
                                      </p:to>
                                    </p:set>
                                    <p:animEffect transition="in" filter="wipe(down)">
                                      <p:cBhvr>
                                        <p:cTn id="109" dur="500"/>
                                        <p:tgtEl>
                                          <p:spTgt spid="80"/>
                                        </p:tgtEl>
                                      </p:cBhvr>
                                    </p:animEffect>
                                  </p:childTnLst>
                                </p:cTn>
                              </p:par>
                              <p:par>
                                <p:cTn id="110" presetID="2" presetClass="entr" presetSubtype="2" decel="100000" fill="hold" grpId="0" nodeType="withEffect">
                                  <p:stCondLst>
                                    <p:cond delay="500"/>
                                  </p:stCondLst>
                                  <p:childTnLst>
                                    <p:set>
                                      <p:cBhvr>
                                        <p:cTn id="111" dur="1" fill="hold">
                                          <p:stCondLst>
                                            <p:cond delay="0"/>
                                          </p:stCondLst>
                                        </p:cTn>
                                        <p:tgtEl>
                                          <p:spTgt spid="123"/>
                                        </p:tgtEl>
                                        <p:attrNameLst>
                                          <p:attrName>style.visibility</p:attrName>
                                        </p:attrNameLst>
                                      </p:cBhvr>
                                      <p:to>
                                        <p:strVal val="visible"/>
                                      </p:to>
                                    </p:set>
                                    <p:anim calcmode="lin" valueType="num">
                                      <p:cBhvr additive="base">
                                        <p:cTn id="112" dur="500" fill="hold"/>
                                        <p:tgtEl>
                                          <p:spTgt spid="123"/>
                                        </p:tgtEl>
                                        <p:attrNameLst>
                                          <p:attrName>ppt_x</p:attrName>
                                        </p:attrNameLst>
                                      </p:cBhvr>
                                      <p:tavLst>
                                        <p:tav tm="0">
                                          <p:val>
                                            <p:strVal val="1+#ppt_w/2"/>
                                          </p:val>
                                        </p:tav>
                                        <p:tav tm="100000">
                                          <p:val>
                                            <p:strVal val="#ppt_x"/>
                                          </p:val>
                                        </p:tav>
                                      </p:tavLst>
                                    </p:anim>
                                    <p:anim calcmode="lin" valueType="num">
                                      <p:cBhvr additive="base">
                                        <p:cTn id="113" dur="500" fill="hold"/>
                                        <p:tgtEl>
                                          <p:spTgt spid="123"/>
                                        </p:tgtEl>
                                        <p:attrNameLst>
                                          <p:attrName>ppt_y</p:attrName>
                                        </p:attrNameLst>
                                      </p:cBhvr>
                                      <p:tavLst>
                                        <p:tav tm="0">
                                          <p:val>
                                            <p:strVal val="#ppt_y"/>
                                          </p:val>
                                        </p:tav>
                                        <p:tav tm="100000">
                                          <p:val>
                                            <p:strVal val="#ppt_y"/>
                                          </p:val>
                                        </p:tav>
                                      </p:tavLst>
                                    </p:anim>
                                  </p:childTnLst>
                                </p:cTn>
                              </p:par>
                            </p:childTnLst>
                          </p:cTn>
                        </p:par>
                        <p:par>
                          <p:cTn id="114" fill="hold">
                            <p:stCondLst>
                              <p:cond delay="10500"/>
                            </p:stCondLst>
                            <p:childTnLst>
                              <p:par>
                                <p:cTn id="115" presetID="10" presetClass="entr" presetSubtype="0" fill="hold" grpId="0" nodeType="afterEffect">
                                  <p:stCondLst>
                                    <p:cond delay="0"/>
                                  </p:stCondLst>
                                  <p:childTnLst>
                                    <p:set>
                                      <p:cBhvr>
                                        <p:cTn id="116" dur="1" fill="hold">
                                          <p:stCondLst>
                                            <p:cond delay="0"/>
                                          </p:stCondLst>
                                        </p:cTn>
                                        <p:tgtEl>
                                          <p:spTgt spid="133"/>
                                        </p:tgtEl>
                                        <p:attrNameLst>
                                          <p:attrName>style.visibility</p:attrName>
                                        </p:attrNameLst>
                                      </p:cBhvr>
                                      <p:to>
                                        <p:strVal val="visible"/>
                                      </p:to>
                                    </p:set>
                                    <p:animEffect transition="in" filter="fade">
                                      <p:cBhvr>
                                        <p:cTn id="117" dur="500"/>
                                        <p:tgtEl>
                                          <p:spTgt spid="133"/>
                                        </p:tgtEl>
                                      </p:cBhvr>
                                    </p:animEffect>
                                  </p:childTnLst>
                                </p:cTn>
                              </p:par>
                              <p:par>
                                <p:cTn id="118" presetID="10" presetClass="entr" presetSubtype="0" fill="hold" nodeType="withEffect">
                                  <p:stCondLst>
                                    <p:cond delay="0"/>
                                  </p:stCondLst>
                                  <p:childTnLst>
                                    <p:set>
                                      <p:cBhvr>
                                        <p:cTn id="119" dur="1" fill="hold">
                                          <p:stCondLst>
                                            <p:cond delay="0"/>
                                          </p:stCondLst>
                                        </p:cTn>
                                        <p:tgtEl>
                                          <p:spTgt spid="127"/>
                                        </p:tgtEl>
                                        <p:attrNameLst>
                                          <p:attrName>style.visibility</p:attrName>
                                        </p:attrNameLst>
                                      </p:cBhvr>
                                      <p:to>
                                        <p:strVal val="visible"/>
                                      </p:to>
                                    </p:set>
                                    <p:animEffect transition="in" filter="fade">
                                      <p:cBhvr>
                                        <p:cTn id="120" dur="500"/>
                                        <p:tgtEl>
                                          <p:spTgt spid="127"/>
                                        </p:tgtEl>
                                      </p:cBhvr>
                                    </p:animEffect>
                                  </p:childTnLst>
                                </p:cTn>
                              </p:par>
                              <p:par>
                                <p:cTn id="121" presetID="10" presetClass="entr" presetSubtype="0" fill="hold" nodeType="withEffect">
                                  <p:stCondLst>
                                    <p:cond delay="0"/>
                                  </p:stCondLst>
                                  <p:childTnLst>
                                    <p:set>
                                      <p:cBhvr>
                                        <p:cTn id="122" dur="1" fill="hold">
                                          <p:stCondLst>
                                            <p:cond delay="0"/>
                                          </p:stCondLst>
                                        </p:cTn>
                                        <p:tgtEl>
                                          <p:spTgt spid="125"/>
                                        </p:tgtEl>
                                        <p:attrNameLst>
                                          <p:attrName>style.visibility</p:attrName>
                                        </p:attrNameLst>
                                      </p:cBhvr>
                                      <p:to>
                                        <p:strVal val="visible"/>
                                      </p:to>
                                    </p:set>
                                    <p:animEffect transition="in" filter="fade">
                                      <p:cBhvr>
                                        <p:cTn id="123" dur="500"/>
                                        <p:tgtEl>
                                          <p:spTgt spid="125"/>
                                        </p:tgtEl>
                                      </p:cBhvr>
                                    </p:animEffect>
                                  </p:childTnLst>
                                </p:cTn>
                              </p:par>
                              <p:par>
                                <p:cTn id="124" presetID="10" presetClass="entr" presetSubtype="0" fill="hold" nodeType="withEffect">
                                  <p:stCondLst>
                                    <p:cond delay="0"/>
                                  </p:stCondLst>
                                  <p:childTnLst>
                                    <p:set>
                                      <p:cBhvr>
                                        <p:cTn id="125" dur="1" fill="hold">
                                          <p:stCondLst>
                                            <p:cond delay="0"/>
                                          </p:stCondLst>
                                        </p:cTn>
                                        <p:tgtEl>
                                          <p:spTgt spid="126"/>
                                        </p:tgtEl>
                                        <p:attrNameLst>
                                          <p:attrName>style.visibility</p:attrName>
                                        </p:attrNameLst>
                                      </p:cBhvr>
                                      <p:to>
                                        <p:strVal val="visible"/>
                                      </p:to>
                                    </p:set>
                                    <p:animEffect transition="in" filter="fade">
                                      <p:cBhvr>
                                        <p:cTn id="126" dur="500"/>
                                        <p:tgtEl>
                                          <p:spTgt spid="126"/>
                                        </p:tgtEl>
                                      </p:cBhvr>
                                    </p:animEffect>
                                  </p:childTnLst>
                                </p:cTn>
                              </p:par>
                            </p:childTnLst>
                          </p:cTn>
                        </p:par>
                        <p:par>
                          <p:cTn id="127" fill="hold">
                            <p:stCondLst>
                              <p:cond delay="11000"/>
                            </p:stCondLst>
                            <p:childTnLst>
                              <p:par>
                                <p:cTn id="128" presetID="53" presetClass="entr" presetSubtype="16" fill="hold" nodeType="afterEffect">
                                  <p:stCondLst>
                                    <p:cond delay="0"/>
                                  </p:stCondLst>
                                  <p:childTnLst>
                                    <p:set>
                                      <p:cBhvr>
                                        <p:cTn id="129" dur="1" fill="hold">
                                          <p:stCondLst>
                                            <p:cond delay="0"/>
                                          </p:stCondLst>
                                        </p:cTn>
                                        <p:tgtEl>
                                          <p:spTgt spid="54"/>
                                        </p:tgtEl>
                                        <p:attrNameLst>
                                          <p:attrName>style.visibility</p:attrName>
                                        </p:attrNameLst>
                                      </p:cBhvr>
                                      <p:to>
                                        <p:strVal val="visible"/>
                                      </p:to>
                                    </p:set>
                                    <p:anim calcmode="lin" valueType="num">
                                      <p:cBhvr>
                                        <p:cTn id="130" dur="250" fill="hold"/>
                                        <p:tgtEl>
                                          <p:spTgt spid="54"/>
                                        </p:tgtEl>
                                        <p:attrNameLst>
                                          <p:attrName>ppt_w</p:attrName>
                                        </p:attrNameLst>
                                      </p:cBhvr>
                                      <p:tavLst>
                                        <p:tav tm="0">
                                          <p:val>
                                            <p:fltVal val="0"/>
                                          </p:val>
                                        </p:tav>
                                        <p:tav tm="100000">
                                          <p:val>
                                            <p:strVal val="#ppt_w"/>
                                          </p:val>
                                        </p:tav>
                                      </p:tavLst>
                                    </p:anim>
                                    <p:anim calcmode="lin" valueType="num">
                                      <p:cBhvr>
                                        <p:cTn id="131" dur="250" fill="hold"/>
                                        <p:tgtEl>
                                          <p:spTgt spid="54"/>
                                        </p:tgtEl>
                                        <p:attrNameLst>
                                          <p:attrName>ppt_h</p:attrName>
                                        </p:attrNameLst>
                                      </p:cBhvr>
                                      <p:tavLst>
                                        <p:tav tm="0">
                                          <p:val>
                                            <p:fltVal val="0"/>
                                          </p:val>
                                        </p:tav>
                                        <p:tav tm="100000">
                                          <p:val>
                                            <p:strVal val="#ppt_h"/>
                                          </p:val>
                                        </p:tav>
                                      </p:tavLst>
                                    </p:anim>
                                    <p:animEffect transition="in" filter="fade">
                                      <p:cBhvr>
                                        <p:cTn id="132" dur="250"/>
                                        <p:tgtEl>
                                          <p:spTgt spid="54"/>
                                        </p:tgtEl>
                                      </p:cBhvr>
                                    </p:animEffect>
                                  </p:childTnLst>
                                </p:cTn>
                              </p:par>
                              <p:par>
                                <p:cTn id="133" presetID="6" presetClass="emph" presetSubtype="0" decel="100000" fill="hold" nodeType="withEffect">
                                  <p:stCondLst>
                                    <p:cond delay="200"/>
                                  </p:stCondLst>
                                  <p:childTnLst>
                                    <p:animScale>
                                      <p:cBhvr>
                                        <p:cTn id="134" dur="250" fill="hold"/>
                                        <p:tgtEl>
                                          <p:spTgt spid="54"/>
                                        </p:tgtEl>
                                      </p:cBhvr>
                                      <p:by x="110000" y="110000"/>
                                    </p:animScale>
                                  </p:childTnLst>
                                </p:cTn>
                              </p:par>
                              <p:par>
                                <p:cTn id="135" presetID="6" presetClass="emph" presetSubtype="0" decel="100000" fill="hold" nodeType="withEffect">
                                  <p:stCondLst>
                                    <p:cond delay="300"/>
                                  </p:stCondLst>
                                  <p:childTnLst>
                                    <p:animScale>
                                      <p:cBhvr>
                                        <p:cTn id="136" dur="250" fill="hold"/>
                                        <p:tgtEl>
                                          <p:spTgt spid="54"/>
                                        </p:tgtEl>
                                      </p:cBhvr>
                                      <p:by x="91000" y="91000"/>
                                    </p:animScale>
                                  </p:childTnLst>
                                </p:cTn>
                              </p:par>
                              <p:par>
                                <p:cTn id="137" presetID="10" presetClass="entr" presetSubtype="0" fill="hold" grpId="0" nodeType="withEffect">
                                  <p:stCondLst>
                                    <p:cond delay="300"/>
                                  </p:stCondLst>
                                  <p:childTnLst>
                                    <p:set>
                                      <p:cBhvr>
                                        <p:cTn id="138" dur="1" fill="hold">
                                          <p:stCondLst>
                                            <p:cond delay="0"/>
                                          </p:stCondLst>
                                        </p:cTn>
                                        <p:tgtEl>
                                          <p:spTgt spid="128"/>
                                        </p:tgtEl>
                                        <p:attrNameLst>
                                          <p:attrName>style.visibility</p:attrName>
                                        </p:attrNameLst>
                                      </p:cBhvr>
                                      <p:to>
                                        <p:strVal val="visible"/>
                                      </p:to>
                                    </p:set>
                                    <p:animEffect transition="in" filter="fade">
                                      <p:cBhvr>
                                        <p:cTn id="139" dur="500"/>
                                        <p:tgtEl>
                                          <p:spTgt spid="128"/>
                                        </p:tgtEl>
                                      </p:cBhvr>
                                    </p:animEffect>
                                  </p:childTnLst>
                                </p:cTn>
                              </p:par>
                            </p:childTnLst>
                          </p:cTn>
                        </p:par>
                      </p:childTnLst>
                    </p:cTn>
                  </p:par>
                  <p:par>
                    <p:cTn id="140" fill="hold">
                      <p:stCondLst>
                        <p:cond delay="indefinite"/>
                      </p:stCondLst>
                      <p:childTnLst>
                        <p:par>
                          <p:cTn id="141" fill="hold">
                            <p:stCondLst>
                              <p:cond delay="0"/>
                            </p:stCondLst>
                            <p:childTnLst>
                              <p:par>
                                <p:cTn id="142" presetID="22" presetClass="entr" presetSubtype="1" fill="hold" grpId="1" nodeType="clickEffect">
                                  <p:stCondLst>
                                    <p:cond delay="0"/>
                                  </p:stCondLst>
                                  <p:childTnLst>
                                    <p:set>
                                      <p:cBhvr>
                                        <p:cTn id="143" dur="1" fill="hold">
                                          <p:stCondLst>
                                            <p:cond delay="0"/>
                                          </p:stCondLst>
                                        </p:cTn>
                                        <p:tgtEl>
                                          <p:spTgt spid="80"/>
                                        </p:tgtEl>
                                        <p:attrNameLst>
                                          <p:attrName>style.visibility</p:attrName>
                                        </p:attrNameLst>
                                      </p:cBhvr>
                                      <p:to>
                                        <p:strVal val="visible"/>
                                      </p:to>
                                    </p:set>
                                    <p:animEffect transition="in" filter="wipe(up)">
                                      <p:cBhvr>
                                        <p:cTn id="144" dur="500"/>
                                        <p:tgtEl>
                                          <p:spTgt spid="80"/>
                                        </p:tgtEl>
                                      </p:cBhvr>
                                    </p:animEffect>
                                  </p:childTnLst>
                                </p:cTn>
                              </p:par>
                            </p:childTnLst>
                          </p:cTn>
                        </p:par>
                        <p:par>
                          <p:cTn id="145" fill="hold">
                            <p:stCondLst>
                              <p:cond delay="500"/>
                            </p:stCondLst>
                            <p:childTnLst>
                              <p:par>
                                <p:cTn id="146" presetID="22" presetClass="entr" presetSubtype="8" fill="hold" grpId="1" nodeType="afterEffect">
                                  <p:stCondLst>
                                    <p:cond delay="0"/>
                                  </p:stCondLst>
                                  <p:childTnLst>
                                    <p:set>
                                      <p:cBhvr>
                                        <p:cTn id="147" dur="1" fill="hold">
                                          <p:stCondLst>
                                            <p:cond delay="0"/>
                                          </p:stCondLst>
                                        </p:cTn>
                                        <p:tgtEl>
                                          <p:spTgt spid="46"/>
                                        </p:tgtEl>
                                        <p:attrNameLst>
                                          <p:attrName>style.visibility</p:attrName>
                                        </p:attrNameLst>
                                      </p:cBhvr>
                                      <p:to>
                                        <p:strVal val="visible"/>
                                      </p:to>
                                    </p:set>
                                    <p:animEffect transition="in" filter="wipe(left)">
                                      <p:cBhvr>
                                        <p:cTn id="148" dur="500"/>
                                        <p:tgtEl>
                                          <p:spTgt spid="46"/>
                                        </p:tgtEl>
                                      </p:cBhvr>
                                    </p:animEffect>
                                  </p:childTnLst>
                                </p:cTn>
                              </p:par>
                            </p:childTnLst>
                          </p:cTn>
                        </p:par>
                        <p:par>
                          <p:cTn id="149" fill="hold">
                            <p:stCondLst>
                              <p:cond delay="1000"/>
                            </p:stCondLst>
                            <p:childTnLst>
                              <p:par>
                                <p:cTn id="150" presetID="22" presetClass="entr" presetSubtype="4" fill="hold" grpId="1" nodeType="afterEffect">
                                  <p:stCondLst>
                                    <p:cond delay="0"/>
                                  </p:stCondLst>
                                  <p:childTnLst>
                                    <p:set>
                                      <p:cBhvr>
                                        <p:cTn id="151" dur="1" fill="hold">
                                          <p:stCondLst>
                                            <p:cond delay="0"/>
                                          </p:stCondLst>
                                        </p:cTn>
                                        <p:tgtEl>
                                          <p:spTgt spid="7"/>
                                        </p:tgtEl>
                                        <p:attrNameLst>
                                          <p:attrName>style.visibility</p:attrName>
                                        </p:attrNameLst>
                                      </p:cBhvr>
                                      <p:to>
                                        <p:strVal val="visible"/>
                                      </p:to>
                                    </p:set>
                                    <p:animEffect transition="in" filter="wipe(down)">
                                      <p:cBhvr>
                                        <p:cTn id="152" dur="500"/>
                                        <p:tgtEl>
                                          <p:spTgt spid="7"/>
                                        </p:tgtEl>
                                      </p:cBhvr>
                                    </p:animEffect>
                                  </p:childTnLst>
                                </p:cTn>
                              </p:par>
                            </p:childTnLst>
                          </p:cTn>
                        </p:par>
                        <p:par>
                          <p:cTn id="153" fill="hold">
                            <p:stCondLst>
                              <p:cond delay="1500"/>
                            </p:stCondLst>
                            <p:childTnLst>
                              <p:par>
                                <p:cTn id="154" presetID="22" presetClass="entr" presetSubtype="4" fill="hold" grpId="1" nodeType="afterEffect">
                                  <p:stCondLst>
                                    <p:cond delay="0"/>
                                  </p:stCondLst>
                                  <p:childTnLst>
                                    <p:set>
                                      <p:cBhvr>
                                        <p:cTn id="155" dur="1" fill="hold">
                                          <p:stCondLst>
                                            <p:cond delay="0"/>
                                          </p:stCondLst>
                                        </p:cTn>
                                        <p:tgtEl>
                                          <p:spTgt spid="76"/>
                                        </p:tgtEl>
                                        <p:attrNameLst>
                                          <p:attrName>style.visibility</p:attrName>
                                        </p:attrNameLst>
                                      </p:cBhvr>
                                      <p:to>
                                        <p:strVal val="visible"/>
                                      </p:to>
                                    </p:set>
                                    <p:animEffect transition="in" filter="wipe(down)">
                                      <p:cBhvr>
                                        <p:cTn id="156" dur="500"/>
                                        <p:tgtEl>
                                          <p:spTgt spid="76"/>
                                        </p:tgtEl>
                                      </p:cBhvr>
                                    </p:animEffect>
                                  </p:childTnLst>
                                </p:cTn>
                              </p:par>
                            </p:childTnLst>
                          </p:cTn>
                        </p:par>
                      </p:childTnLst>
                    </p:cTn>
                  </p:par>
                  <p:par>
                    <p:cTn id="157" fill="hold">
                      <p:stCondLst>
                        <p:cond delay="indefinite"/>
                      </p:stCondLst>
                      <p:childTnLst>
                        <p:par>
                          <p:cTn id="158" fill="hold">
                            <p:stCondLst>
                              <p:cond delay="0"/>
                            </p:stCondLst>
                            <p:childTnLst>
                              <p:par>
                                <p:cTn id="159" presetID="53" presetClass="entr" presetSubtype="16" fill="hold" nodeType="clickEffect">
                                  <p:stCondLst>
                                    <p:cond delay="0"/>
                                  </p:stCondLst>
                                  <p:childTnLst>
                                    <p:set>
                                      <p:cBhvr>
                                        <p:cTn id="160" dur="1" fill="hold">
                                          <p:stCondLst>
                                            <p:cond delay="0"/>
                                          </p:stCondLst>
                                        </p:cTn>
                                        <p:tgtEl>
                                          <p:spTgt spid="50"/>
                                        </p:tgtEl>
                                        <p:attrNameLst>
                                          <p:attrName>style.visibility</p:attrName>
                                        </p:attrNameLst>
                                      </p:cBhvr>
                                      <p:to>
                                        <p:strVal val="visible"/>
                                      </p:to>
                                    </p:set>
                                    <p:anim calcmode="lin" valueType="num">
                                      <p:cBhvr>
                                        <p:cTn id="161" dur="250" fill="hold"/>
                                        <p:tgtEl>
                                          <p:spTgt spid="50"/>
                                        </p:tgtEl>
                                        <p:attrNameLst>
                                          <p:attrName>ppt_w</p:attrName>
                                        </p:attrNameLst>
                                      </p:cBhvr>
                                      <p:tavLst>
                                        <p:tav tm="0">
                                          <p:val>
                                            <p:fltVal val="0"/>
                                          </p:val>
                                        </p:tav>
                                        <p:tav tm="100000">
                                          <p:val>
                                            <p:strVal val="#ppt_w"/>
                                          </p:val>
                                        </p:tav>
                                      </p:tavLst>
                                    </p:anim>
                                    <p:anim calcmode="lin" valueType="num">
                                      <p:cBhvr>
                                        <p:cTn id="162" dur="250" fill="hold"/>
                                        <p:tgtEl>
                                          <p:spTgt spid="50"/>
                                        </p:tgtEl>
                                        <p:attrNameLst>
                                          <p:attrName>ppt_h</p:attrName>
                                        </p:attrNameLst>
                                      </p:cBhvr>
                                      <p:tavLst>
                                        <p:tav tm="0">
                                          <p:val>
                                            <p:fltVal val="0"/>
                                          </p:val>
                                        </p:tav>
                                        <p:tav tm="100000">
                                          <p:val>
                                            <p:strVal val="#ppt_h"/>
                                          </p:val>
                                        </p:tav>
                                      </p:tavLst>
                                    </p:anim>
                                    <p:animEffect transition="in" filter="fade">
                                      <p:cBhvr>
                                        <p:cTn id="163" dur="250"/>
                                        <p:tgtEl>
                                          <p:spTgt spid="50"/>
                                        </p:tgtEl>
                                      </p:cBhvr>
                                    </p:animEffect>
                                  </p:childTnLst>
                                </p:cTn>
                              </p:par>
                              <p:par>
                                <p:cTn id="164" presetID="6" presetClass="emph" presetSubtype="0" decel="100000" fill="hold" nodeType="withEffect">
                                  <p:stCondLst>
                                    <p:cond delay="200"/>
                                  </p:stCondLst>
                                  <p:childTnLst>
                                    <p:animScale>
                                      <p:cBhvr>
                                        <p:cTn id="165" dur="250" fill="hold"/>
                                        <p:tgtEl>
                                          <p:spTgt spid="50"/>
                                        </p:tgtEl>
                                      </p:cBhvr>
                                      <p:by x="110000" y="110000"/>
                                    </p:animScale>
                                  </p:childTnLst>
                                </p:cTn>
                              </p:par>
                              <p:par>
                                <p:cTn id="166" presetID="6" presetClass="emph" presetSubtype="0" decel="100000" fill="hold" nodeType="withEffect">
                                  <p:stCondLst>
                                    <p:cond delay="300"/>
                                  </p:stCondLst>
                                  <p:childTnLst>
                                    <p:animScale>
                                      <p:cBhvr>
                                        <p:cTn id="167" dur="250" fill="hold"/>
                                        <p:tgtEl>
                                          <p:spTgt spid="50"/>
                                        </p:tgtEl>
                                      </p:cBhvr>
                                      <p:by x="91000" y="91000"/>
                                    </p:animScale>
                                  </p:childTnLst>
                                </p:cTn>
                              </p:par>
                            </p:childTnLst>
                          </p:cTn>
                        </p:par>
                        <p:par>
                          <p:cTn id="168" fill="hold">
                            <p:stCondLst>
                              <p:cond delay="550"/>
                            </p:stCondLst>
                            <p:childTnLst>
                              <p:par>
                                <p:cTn id="169" presetID="22" presetClass="entr" presetSubtype="1" fill="hold" grpId="0" nodeType="afterEffect">
                                  <p:stCondLst>
                                    <p:cond delay="0"/>
                                  </p:stCondLst>
                                  <p:childTnLst>
                                    <p:set>
                                      <p:cBhvr>
                                        <p:cTn id="170" dur="1" fill="hold">
                                          <p:stCondLst>
                                            <p:cond delay="0"/>
                                          </p:stCondLst>
                                        </p:cTn>
                                        <p:tgtEl>
                                          <p:spTgt spid="91"/>
                                        </p:tgtEl>
                                        <p:attrNameLst>
                                          <p:attrName>style.visibility</p:attrName>
                                        </p:attrNameLst>
                                      </p:cBhvr>
                                      <p:to>
                                        <p:strVal val="visible"/>
                                      </p:to>
                                    </p:set>
                                    <p:animEffect transition="in" filter="wipe(up)">
                                      <p:cBhvr>
                                        <p:cTn id="171" dur="500"/>
                                        <p:tgtEl>
                                          <p:spTgt spid="91"/>
                                        </p:tgtEl>
                                      </p:cBhvr>
                                    </p:animEffect>
                                  </p:childTnLst>
                                </p:cTn>
                              </p:par>
                            </p:childTnLst>
                          </p:cTn>
                        </p:par>
                        <p:par>
                          <p:cTn id="172" fill="hold">
                            <p:stCondLst>
                              <p:cond delay="1050"/>
                            </p:stCondLst>
                            <p:childTnLst>
                              <p:par>
                                <p:cTn id="173" presetID="22" presetClass="entr" presetSubtype="2" fill="hold" nodeType="afterEffect">
                                  <p:stCondLst>
                                    <p:cond delay="500"/>
                                  </p:stCondLst>
                                  <p:childTnLst>
                                    <p:set>
                                      <p:cBhvr>
                                        <p:cTn id="174" dur="1" fill="hold">
                                          <p:stCondLst>
                                            <p:cond delay="0"/>
                                          </p:stCondLst>
                                        </p:cTn>
                                        <p:tgtEl>
                                          <p:spTgt spid="166"/>
                                        </p:tgtEl>
                                        <p:attrNameLst>
                                          <p:attrName>style.visibility</p:attrName>
                                        </p:attrNameLst>
                                      </p:cBhvr>
                                      <p:to>
                                        <p:strVal val="visible"/>
                                      </p:to>
                                    </p:set>
                                    <p:animEffect transition="in" filter="wipe(right)">
                                      <p:cBhvr>
                                        <p:cTn id="175" dur="500"/>
                                        <p:tgtEl>
                                          <p:spTgt spid="166"/>
                                        </p:tgtEl>
                                      </p:cBhvr>
                                    </p:animEffect>
                                  </p:childTnLst>
                                </p:cTn>
                              </p:par>
                              <p:par>
                                <p:cTn id="176" presetID="10" presetClass="entr" presetSubtype="0" fill="hold" grpId="0" nodeType="withEffect">
                                  <p:stCondLst>
                                    <p:cond delay="500"/>
                                  </p:stCondLst>
                                  <p:childTnLst>
                                    <p:set>
                                      <p:cBhvr>
                                        <p:cTn id="177" dur="1" fill="hold">
                                          <p:stCondLst>
                                            <p:cond delay="0"/>
                                          </p:stCondLst>
                                        </p:cTn>
                                        <p:tgtEl>
                                          <p:spTgt spid="167"/>
                                        </p:tgtEl>
                                        <p:attrNameLst>
                                          <p:attrName>style.visibility</p:attrName>
                                        </p:attrNameLst>
                                      </p:cBhvr>
                                      <p:to>
                                        <p:strVal val="visible"/>
                                      </p:to>
                                    </p:set>
                                    <p:animEffect transition="in" filter="fade">
                                      <p:cBhvr>
                                        <p:cTn id="178" dur="500"/>
                                        <p:tgtEl>
                                          <p:spTgt spid="167"/>
                                        </p:tgtEl>
                                      </p:cBhvr>
                                    </p:animEffect>
                                  </p:childTnLst>
                                </p:cTn>
                              </p:par>
                            </p:childTnLst>
                          </p:cTn>
                        </p:par>
                      </p:childTnLst>
                    </p:cTn>
                  </p:par>
                  <p:par>
                    <p:cTn id="179" fill="hold">
                      <p:stCondLst>
                        <p:cond delay="indefinite"/>
                      </p:stCondLst>
                      <p:childTnLst>
                        <p:par>
                          <p:cTn id="180" fill="hold">
                            <p:stCondLst>
                              <p:cond delay="0"/>
                            </p:stCondLst>
                            <p:childTnLst>
                              <p:par>
                                <p:cTn id="181" presetID="22" presetClass="entr" presetSubtype="8" fill="hold" nodeType="clickEffect">
                                  <p:stCondLst>
                                    <p:cond delay="0"/>
                                  </p:stCondLst>
                                  <p:childTnLst>
                                    <p:set>
                                      <p:cBhvr>
                                        <p:cTn id="182" dur="1" fill="hold">
                                          <p:stCondLst>
                                            <p:cond delay="0"/>
                                          </p:stCondLst>
                                        </p:cTn>
                                        <p:tgtEl>
                                          <p:spTgt spid="181"/>
                                        </p:tgtEl>
                                        <p:attrNameLst>
                                          <p:attrName>style.visibility</p:attrName>
                                        </p:attrNameLst>
                                      </p:cBhvr>
                                      <p:to>
                                        <p:strVal val="visible"/>
                                      </p:to>
                                    </p:set>
                                    <p:animEffect transition="in" filter="wipe(left)">
                                      <p:cBhvr>
                                        <p:cTn id="183" dur="500"/>
                                        <p:tgtEl>
                                          <p:spTgt spid="181"/>
                                        </p:tgtEl>
                                      </p:cBhvr>
                                    </p:animEffect>
                                  </p:childTnLst>
                                </p:cTn>
                              </p:par>
                            </p:childTnLst>
                          </p:cTn>
                        </p:par>
                        <p:par>
                          <p:cTn id="184" fill="hold">
                            <p:stCondLst>
                              <p:cond delay="500"/>
                            </p:stCondLst>
                            <p:childTnLst>
                              <p:par>
                                <p:cTn id="185" presetID="53" presetClass="entr" presetSubtype="16" fill="hold" nodeType="afterEffect">
                                  <p:stCondLst>
                                    <p:cond delay="0"/>
                                  </p:stCondLst>
                                  <p:childTnLst>
                                    <p:set>
                                      <p:cBhvr>
                                        <p:cTn id="186" dur="1" fill="hold">
                                          <p:stCondLst>
                                            <p:cond delay="0"/>
                                          </p:stCondLst>
                                        </p:cTn>
                                        <p:tgtEl>
                                          <p:spTgt spid="13"/>
                                        </p:tgtEl>
                                        <p:attrNameLst>
                                          <p:attrName>style.visibility</p:attrName>
                                        </p:attrNameLst>
                                      </p:cBhvr>
                                      <p:to>
                                        <p:strVal val="visible"/>
                                      </p:to>
                                    </p:set>
                                    <p:anim calcmode="lin" valueType="num">
                                      <p:cBhvr>
                                        <p:cTn id="187" dur="250" fill="hold"/>
                                        <p:tgtEl>
                                          <p:spTgt spid="13"/>
                                        </p:tgtEl>
                                        <p:attrNameLst>
                                          <p:attrName>ppt_w</p:attrName>
                                        </p:attrNameLst>
                                      </p:cBhvr>
                                      <p:tavLst>
                                        <p:tav tm="0">
                                          <p:val>
                                            <p:fltVal val="0"/>
                                          </p:val>
                                        </p:tav>
                                        <p:tav tm="100000">
                                          <p:val>
                                            <p:strVal val="#ppt_w"/>
                                          </p:val>
                                        </p:tav>
                                      </p:tavLst>
                                    </p:anim>
                                    <p:anim calcmode="lin" valueType="num">
                                      <p:cBhvr>
                                        <p:cTn id="188" dur="250" fill="hold"/>
                                        <p:tgtEl>
                                          <p:spTgt spid="13"/>
                                        </p:tgtEl>
                                        <p:attrNameLst>
                                          <p:attrName>ppt_h</p:attrName>
                                        </p:attrNameLst>
                                      </p:cBhvr>
                                      <p:tavLst>
                                        <p:tav tm="0">
                                          <p:val>
                                            <p:fltVal val="0"/>
                                          </p:val>
                                        </p:tav>
                                        <p:tav tm="100000">
                                          <p:val>
                                            <p:strVal val="#ppt_h"/>
                                          </p:val>
                                        </p:tav>
                                      </p:tavLst>
                                    </p:anim>
                                    <p:animEffect transition="in" filter="fade">
                                      <p:cBhvr>
                                        <p:cTn id="189" dur="250"/>
                                        <p:tgtEl>
                                          <p:spTgt spid="13"/>
                                        </p:tgtEl>
                                      </p:cBhvr>
                                    </p:animEffect>
                                  </p:childTnLst>
                                </p:cTn>
                              </p:par>
                              <p:par>
                                <p:cTn id="190" presetID="6" presetClass="emph" presetSubtype="0" decel="100000" fill="hold" nodeType="withEffect">
                                  <p:stCondLst>
                                    <p:cond delay="200"/>
                                  </p:stCondLst>
                                  <p:childTnLst>
                                    <p:animScale>
                                      <p:cBhvr>
                                        <p:cTn id="191" dur="250" fill="hold"/>
                                        <p:tgtEl>
                                          <p:spTgt spid="13"/>
                                        </p:tgtEl>
                                      </p:cBhvr>
                                      <p:by x="110000" y="110000"/>
                                    </p:animScale>
                                  </p:childTnLst>
                                </p:cTn>
                              </p:par>
                              <p:par>
                                <p:cTn id="192" presetID="6" presetClass="emph" presetSubtype="0" decel="100000" fill="hold" nodeType="withEffect">
                                  <p:stCondLst>
                                    <p:cond delay="300"/>
                                  </p:stCondLst>
                                  <p:childTnLst>
                                    <p:animScale>
                                      <p:cBhvr>
                                        <p:cTn id="193" dur="250" fill="hold"/>
                                        <p:tgtEl>
                                          <p:spTgt spid="13"/>
                                        </p:tgtEl>
                                      </p:cBhvr>
                                      <p:by x="91000" y="91000"/>
                                    </p:animScale>
                                  </p:childTnLst>
                                </p:cTn>
                              </p:par>
                              <p:par>
                                <p:cTn id="194" presetID="22" presetClass="entr" presetSubtype="8" fill="hold" nodeType="withEffect">
                                  <p:stCondLst>
                                    <p:cond delay="300"/>
                                  </p:stCondLst>
                                  <p:childTnLst>
                                    <p:set>
                                      <p:cBhvr>
                                        <p:cTn id="195" dur="1" fill="hold">
                                          <p:stCondLst>
                                            <p:cond delay="0"/>
                                          </p:stCondLst>
                                        </p:cTn>
                                        <p:tgtEl>
                                          <p:spTgt spid="171"/>
                                        </p:tgtEl>
                                        <p:attrNameLst>
                                          <p:attrName>style.visibility</p:attrName>
                                        </p:attrNameLst>
                                      </p:cBhvr>
                                      <p:to>
                                        <p:strVal val="visible"/>
                                      </p:to>
                                    </p:set>
                                    <p:animEffect transition="in" filter="wipe(left)">
                                      <p:cBhvr>
                                        <p:cTn id="196" dur="500"/>
                                        <p:tgtEl>
                                          <p:spTgt spid="171"/>
                                        </p:tgtEl>
                                      </p:cBhvr>
                                    </p:animEffect>
                                  </p:childTnLst>
                                </p:cTn>
                              </p:par>
                            </p:childTnLst>
                          </p:cTn>
                        </p:par>
                      </p:childTnLst>
                    </p:cTn>
                  </p:par>
                  <p:par>
                    <p:cTn id="197" fill="hold">
                      <p:stCondLst>
                        <p:cond delay="indefinite"/>
                      </p:stCondLst>
                      <p:childTnLst>
                        <p:par>
                          <p:cTn id="198" fill="hold">
                            <p:stCondLst>
                              <p:cond delay="0"/>
                            </p:stCondLst>
                            <p:childTnLst>
                              <p:par>
                                <p:cTn id="199" presetID="22" presetClass="entr" presetSubtype="8" fill="hold" nodeType="clickEffect">
                                  <p:stCondLst>
                                    <p:cond delay="0"/>
                                  </p:stCondLst>
                                  <p:childTnLst>
                                    <p:set>
                                      <p:cBhvr>
                                        <p:cTn id="200" dur="1" fill="hold">
                                          <p:stCondLst>
                                            <p:cond delay="0"/>
                                          </p:stCondLst>
                                        </p:cTn>
                                        <p:tgtEl>
                                          <p:spTgt spid="60"/>
                                        </p:tgtEl>
                                        <p:attrNameLst>
                                          <p:attrName>style.visibility</p:attrName>
                                        </p:attrNameLst>
                                      </p:cBhvr>
                                      <p:to>
                                        <p:strVal val="visible"/>
                                      </p:to>
                                    </p:set>
                                    <p:animEffect transition="in" filter="wipe(left)">
                                      <p:cBhvr>
                                        <p:cTn id="201" dur="500"/>
                                        <p:tgtEl>
                                          <p:spTgt spid="60"/>
                                        </p:tgtEl>
                                      </p:cBhvr>
                                    </p:animEffect>
                                  </p:childTnLst>
                                </p:cTn>
                              </p:par>
                              <p:par>
                                <p:cTn id="202" presetID="10" presetClass="entr" presetSubtype="0" fill="hold" grpId="0" nodeType="withEffect">
                                  <p:stCondLst>
                                    <p:cond delay="0"/>
                                  </p:stCondLst>
                                  <p:childTnLst>
                                    <p:set>
                                      <p:cBhvr>
                                        <p:cTn id="203" dur="1" fill="hold">
                                          <p:stCondLst>
                                            <p:cond delay="0"/>
                                          </p:stCondLst>
                                        </p:cTn>
                                        <p:tgtEl>
                                          <p:spTgt spid="61"/>
                                        </p:tgtEl>
                                        <p:attrNameLst>
                                          <p:attrName>style.visibility</p:attrName>
                                        </p:attrNameLst>
                                      </p:cBhvr>
                                      <p:to>
                                        <p:strVal val="visible"/>
                                      </p:to>
                                    </p:set>
                                    <p:animEffect transition="in" filter="fade">
                                      <p:cBhvr>
                                        <p:cTn id="20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61" grpId="0"/>
      <p:bldP spid="3" grpId="0" animBg="1"/>
      <p:bldP spid="7" grpId="0" animBg="1"/>
      <p:bldP spid="7" grpId="1" animBg="1"/>
      <p:bldP spid="167" grpId="0"/>
      <p:bldP spid="123" grpId="0" animBg="1"/>
      <p:bldP spid="128" grpId="0"/>
      <p:bldP spid="61" grpId="0"/>
      <p:bldP spid="120" grpId="0"/>
      <p:bldP spid="80" grpId="0" animBg="1"/>
      <p:bldP spid="80" grpId="1" animBg="1"/>
      <p:bldP spid="91" grpId="0" animBg="1"/>
      <p:bldP spid="98" grpId="0" animBg="1"/>
      <p:bldP spid="46" grpId="0" animBg="1"/>
      <p:bldP spid="46" grpId="1" animBg="1"/>
      <p:bldP spid="122" grpId="0" animBg="1"/>
      <p:bldP spid="133" grpId="0" animBg="1"/>
      <p:bldP spid="76" grpId="0" animBg="1"/>
      <p:bldP spid="76"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4592941" y="5292863"/>
            <a:ext cx="2645308" cy="932887"/>
            <a:chOff x="666836" y="5143164"/>
            <a:chExt cx="3539743" cy="1248316"/>
          </a:xfrm>
        </p:grpSpPr>
        <p:sp>
          <p:nvSpPr>
            <p:cNvPr id="21" name="Freeform 133"/>
            <p:cNvSpPr>
              <a:spLocks noEditPoints="1"/>
            </p:cNvSpPr>
            <p:nvPr/>
          </p:nvSpPr>
          <p:spPr bwMode="black">
            <a:xfrm>
              <a:off x="1716214" y="5539517"/>
              <a:ext cx="559156" cy="559953"/>
            </a:xfrm>
            <a:custGeom>
              <a:avLst/>
              <a:gdLst>
                <a:gd name="T0" fmla="*/ 902 w 1099"/>
                <a:gd name="T1" fmla="*/ 0 h 1099"/>
                <a:gd name="T2" fmla="*/ 197 w 1099"/>
                <a:gd name="T3" fmla="*/ 0 h 1099"/>
                <a:gd name="T4" fmla="*/ 0 w 1099"/>
                <a:gd name="T5" fmla="*/ 197 h 1099"/>
                <a:gd name="T6" fmla="*/ 0 w 1099"/>
                <a:gd name="T7" fmla="*/ 902 h 1099"/>
                <a:gd name="T8" fmla="*/ 197 w 1099"/>
                <a:gd name="T9" fmla="*/ 1099 h 1099"/>
                <a:gd name="T10" fmla="*/ 902 w 1099"/>
                <a:gd name="T11" fmla="*/ 1099 h 1099"/>
                <a:gd name="T12" fmla="*/ 1099 w 1099"/>
                <a:gd name="T13" fmla="*/ 902 h 1099"/>
                <a:gd name="T14" fmla="*/ 1099 w 1099"/>
                <a:gd name="T15" fmla="*/ 197 h 1099"/>
                <a:gd name="T16" fmla="*/ 902 w 1099"/>
                <a:gd name="T17" fmla="*/ 0 h 1099"/>
                <a:gd name="T18" fmla="*/ 932 w 1099"/>
                <a:gd name="T19" fmla="*/ 285 h 1099"/>
                <a:gd name="T20" fmla="*/ 859 w 1099"/>
                <a:gd name="T21" fmla="*/ 285 h 1099"/>
                <a:gd name="T22" fmla="*/ 793 w 1099"/>
                <a:gd name="T23" fmla="*/ 351 h 1099"/>
                <a:gd name="T24" fmla="*/ 793 w 1099"/>
                <a:gd name="T25" fmla="*/ 400 h 1099"/>
                <a:gd name="T26" fmla="*/ 932 w 1099"/>
                <a:gd name="T27" fmla="*/ 400 h 1099"/>
                <a:gd name="T28" fmla="*/ 932 w 1099"/>
                <a:gd name="T29" fmla="*/ 550 h 1099"/>
                <a:gd name="T30" fmla="*/ 793 w 1099"/>
                <a:gd name="T31" fmla="*/ 550 h 1099"/>
                <a:gd name="T32" fmla="*/ 793 w 1099"/>
                <a:gd name="T33" fmla="*/ 1010 h 1099"/>
                <a:gd name="T34" fmla="*/ 596 w 1099"/>
                <a:gd name="T35" fmla="*/ 1010 h 1099"/>
                <a:gd name="T36" fmla="*/ 596 w 1099"/>
                <a:gd name="T37" fmla="*/ 550 h 1099"/>
                <a:gd name="T38" fmla="*/ 470 w 1099"/>
                <a:gd name="T39" fmla="*/ 550 h 1099"/>
                <a:gd name="T40" fmla="*/ 470 w 1099"/>
                <a:gd name="T41" fmla="*/ 400 h 1099"/>
                <a:gd name="T42" fmla="*/ 596 w 1099"/>
                <a:gd name="T43" fmla="*/ 400 h 1099"/>
                <a:gd name="T44" fmla="*/ 596 w 1099"/>
                <a:gd name="T45" fmla="*/ 311 h 1099"/>
                <a:gd name="T46" fmla="*/ 772 w 1099"/>
                <a:gd name="T47" fmla="*/ 135 h 1099"/>
                <a:gd name="T48" fmla="*/ 932 w 1099"/>
                <a:gd name="T49" fmla="*/ 135 h 1099"/>
                <a:gd name="T50" fmla="*/ 932 w 1099"/>
                <a:gd name="T51" fmla="*/ 285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9" h="1099">
                  <a:moveTo>
                    <a:pt x="902" y="0"/>
                  </a:moveTo>
                  <a:cubicBezTo>
                    <a:pt x="197" y="0"/>
                    <a:pt x="197" y="0"/>
                    <a:pt x="197" y="0"/>
                  </a:cubicBezTo>
                  <a:cubicBezTo>
                    <a:pt x="88" y="0"/>
                    <a:pt x="0" y="88"/>
                    <a:pt x="0" y="197"/>
                  </a:cubicBezTo>
                  <a:cubicBezTo>
                    <a:pt x="0" y="902"/>
                    <a:pt x="0" y="902"/>
                    <a:pt x="0" y="902"/>
                  </a:cubicBezTo>
                  <a:cubicBezTo>
                    <a:pt x="0" y="1010"/>
                    <a:pt x="88" y="1099"/>
                    <a:pt x="197" y="1099"/>
                  </a:cubicBezTo>
                  <a:cubicBezTo>
                    <a:pt x="902" y="1099"/>
                    <a:pt x="902" y="1099"/>
                    <a:pt x="902" y="1099"/>
                  </a:cubicBezTo>
                  <a:cubicBezTo>
                    <a:pt x="1010" y="1099"/>
                    <a:pt x="1099" y="1010"/>
                    <a:pt x="1099" y="902"/>
                  </a:cubicBezTo>
                  <a:cubicBezTo>
                    <a:pt x="1099" y="197"/>
                    <a:pt x="1099" y="197"/>
                    <a:pt x="1099" y="197"/>
                  </a:cubicBezTo>
                  <a:cubicBezTo>
                    <a:pt x="1099" y="88"/>
                    <a:pt x="1010" y="0"/>
                    <a:pt x="902" y="0"/>
                  </a:cubicBezTo>
                  <a:close/>
                  <a:moveTo>
                    <a:pt x="932" y="285"/>
                  </a:moveTo>
                  <a:cubicBezTo>
                    <a:pt x="932" y="285"/>
                    <a:pt x="932" y="285"/>
                    <a:pt x="859" y="285"/>
                  </a:cubicBezTo>
                  <a:cubicBezTo>
                    <a:pt x="822" y="285"/>
                    <a:pt x="793" y="314"/>
                    <a:pt x="793" y="351"/>
                  </a:cubicBezTo>
                  <a:cubicBezTo>
                    <a:pt x="793" y="351"/>
                    <a:pt x="793" y="351"/>
                    <a:pt x="793" y="400"/>
                  </a:cubicBezTo>
                  <a:cubicBezTo>
                    <a:pt x="793" y="400"/>
                    <a:pt x="793" y="400"/>
                    <a:pt x="932" y="400"/>
                  </a:cubicBezTo>
                  <a:cubicBezTo>
                    <a:pt x="932" y="400"/>
                    <a:pt x="932" y="400"/>
                    <a:pt x="932" y="550"/>
                  </a:cubicBezTo>
                  <a:cubicBezTo>
                    <a:pt x="932" y="550"/>
                    <a:pt x="932" y="550"/>
                    <a:pt x="793" y="550"/>
                  </a:cubicBezTo>
                  <a:cubicBezTo>
                    <a:pt x="793" y="550"/>
                    <a:pt x="793" y="550"/>
                    <a:pt x="793" y="1010"/>
                  </a:cubicBezTo>
                  <a:cubicBezTo>
                    <a:pt x="793" y="1010"/>
                    <a:pt x="793" y="1010"/>
                    <a:pt x="596" y="1010"/>
                  </a:cubicBezTo>
                  <a:cubicBezTo>
                    <a:pt x="596" y="1010"/>
                    <a:pt x="596" y="1010"/>
                    <a:pt x="596" y="550"/>
                  </a:cubicBezTo>
                  <a:cubicBezTo>
                    <a:pt x="596" y="550"/>
                    <a:pt x="596" y="550"/>
                    <a:pt x="470" y="550"/>
                  </a:cubicBezTo>
                  <a:cubicBezTo>
                    <a:pt x="470" y="550"/>
                    <a:pt x="470" y="550"/>
                    <a:pt x="470" y="400"/>
                  </a:cubicBezTo>
                  <a:cubicBezTo>
                    <a:pt x="470" y="400"/>
                    <a:pt x="470" y="400"/>
                    <a:pt x="596" y="400"/>
                  </a:cubicBezTo>
                  <a:cubicBezTo>
                    <a:pt x="596" y="400"/>
                    <a:pt x="596" y="400"/>
                    <a:pt x="596" y="311"/>
                  </a:cubicBezTo>
                  <a:cubicBezTo>
                    <a:pt x="596" y="214"/>
                    <a:pt x="675" y="135"/>
                    <a:pt x="772" y="135"/>
                  </a:cubicBezTo>
                  <a:cubicBezTo>
                    <a:pt x="772" y="135"/>
                    <a:pt x="772" y="135"/>
                    <a:pt x="932" y="135"/>
                  </a:cubicBezTo>
                  <a:cubicBezTo>
                    <a:pt x="932" y="135"/>
                    <a:pt x="932" y="135"/>
                    <a:pt x="932" y="285"/>
                  </a:cubicBez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pPr defTabSz="914091"/>
              <a:endParaRPr lang="en-US" dirty="0">
                <a:solidFill>
                  <a:srgbClr val="292929"/>
                </a:solidFill>
              </a:endParaRPr>
            </a:p>
          </p:txBody>
        </p:sp>
        <p:pic>
          <p:nvPicPr>
            <p:cNvPr id="22" name="Picture 17" descr="C:\Users\Justin\Desktop\_Work_in_Progress\_MS\1463\yaho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48731" y="5566724"/>
              <a:ext cx="689234" cy="430598"/>
            </a:xfrm>
            <a:prstGeom prst="rect">
              <a:avLst/>
            </a:prstGeom>
            <a:ln>
              <a:noFill/>
            </a:ln>
            <a:effectLst/>
            <a:extLst/>
          </p:spPr>
        </p:pic>
        <p:pic>
          <p:nvPicPr>
            <p:cNvPr id="23" name="Picture 18" descr="C:\Users\Justin\Desktop\_Work_in_Progress\_MS\1463\google (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87337" y="5516697"/>
              <a:ext cx="539241" cy="530651"/>
            </a:xfrm>
            <a:prstGeom prst="rect">
              <a:avLst/>
            </a:prstGeom>
            <a:ln>
              <a:noFill/>
            </a:ln>
            <a:effectLst/>
            <a:extLst/>
          </p:spPr>
        </p:pic>
        <p:sp>
          <p:nvSpPr>
            <p:cNvPr id="24" name="Freeform 6"/>
            <p:cNvSpPr>
              <a:spLocks noEditPoints="1"/>
            </p:cNvSpPr>
            <p:nvPr/>
          </p:nvSpPr>
          <p:spPr bwMode="auto">
            <a:xfrm>
              <a:off x="987971" y="5539517"/>
              <a:ext cx="545365" cy="559953"/>
            </a:xfrm>
            <a:custGeom>
              <a:avLst/>
              <a:gdLst>
                <a:gd name="T0" fmla="*/ 2014 w 2229"/>
                <a:gd name="T1" fmla="*/ 21 h 2289"/>
                <a:gd name="T2" fmla="*/ 638 w 2229"/>
                <a:gd name="T3" fmla="*/ 21 h 2289"/>
                <a:gd name="T4" fmla="*/ 1062 w 2229"/>
                <a:gd name="T5" fmla="*/ 177 h 2289"/>
                <a:gd name="T6" fmla="*/ 1842 w 2229"/>
                <a:gd name="T7" fmla="*/ 177 h 2289"/>
                <a:gd name="T8" fmla="*/ 1982 w 2229"/>
                <a:gd name="T9" fmla="*/ 301 h 2289"/>
                <a:gd name="T10" fmla="*/ 1642 w 2229"/>
                <a:gd name="T11" fmla="*/ 1561 h 2289"/>
                <a:gd name="T12" fmla="*/ 1514 w 2229"/>
                <a:gd name="T13" fmla="*/ 1693 h 2289"/>
                <a:gd name="T14" fmla="*/ 1446 w 2229"/>
                <a:gd name="T15" fmla="*/ 1693 h 2289"/>
                <a:gd name="T16" fmla="*/ 1394 w 2229"/>
                <a:gd name="T17" fmla="*/ 1901 h 2289"/>
                <a:gd name="T18" fmla="*/ 1522 w 2229"/>
                <a:gd name="T19" fmla="*/ 1901 h 2289"/>
                <a:gd name="T20" fmla="*/ 1830 w 2229"/>
                <a:gd name="T21" fmla="*/ 1601 h 2289"/>
                <a:gd name="T22" fmla="*/ 2154 w 2229"/>
                <a:gd name="T23" fmla="*/ 313 h 2289"/>
                <a:gd name="T24" fmla="*/ 2014 w 2229"/>
                <a:gd name="T25" fmla="*/ 21 h 2289"/>
                <a:gd name="T26" fmla="*/ 1607 w 2229"/>
                <a:gd name="T27" fmla="*/ 426 h 2289"/>
                <a:gd name="T28" fmla="*/ 535 w 2229"/>
                <a:gd name="T29" fmla="*/ 13 h 2289"/>
                <a:gd name="T30" fmla="*/ 482 w 2229"/>
                <a:gd name="T31" fmla="*/ 37 h 2289"/>
                <a:gd name="T32" fmla="*/ 260 w 2229"/>
                <a:gd name="T33" fmla="*/ 856 h 2289"/>
                <a:gd name="T34" fmla="*/ 778 w 2229"/>
                <a:gd name="T35" fmla="*/ 856 h 2289"/>
                <a:gd name="T36" fmla="*/ 778 w 2229"/>
                <a:gd name="T37" fmla="*/ 447 h 2289"/>
                <a:gd name="T38" fmla="*/ 1442 w 2229"/>
                <a:gd name="T39" fmla="*/ 1111 h 2289"/>
                <a:gd name="T40" fmla="*/ 778 w 2229"/>
                <a:gd name="T41" fmla="*/ 1775 h 2289"/>
                <a:gd name="T42" fmla="*/ 778 w 2229"/>
                <a:gd name="T43" fmla="*/ 1336 h 2289"/>
                <a:gd name="T44" fmla="*/ 130 w 2229"/>
                <a:gd name="T45" fmla="*/ 1336 h 2289"/>
                <a:gd name="T46" fmla="*/ 18 w 2229"/>
                <a:gd name="T47" fmla="*/ 1746 h 2289"/>
                <a:gd name="T48" fmla="*/ 34 w 2229"/>
                <a:gd name="T49" fmla="*/ 1809 h 2289"/>
                <a:gd name="T50" fmla="*/ 1117 w 2229"/>
                <a:gd name="T51" fmla="*/ 2234 h 2289"/>
                <a:gd name="T52" fmla="*/ 1269 w 2229"/>
                <a:gd name="T53" fmla="*/ 2186 h 2289"/>
                <a:gd name="T54" fmla="*/ 1695 w 2229"/>
                <a:gd name="T55" fmla="*/ 661 h 2289"/>
                <a:gd name="T56" fmla="*/ 1607 w 2229"/>
                <a:gd name="T57" fmla="*/ 426 h 2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29" h="2289">
                  <a:moveTo>
                    <a:pt x="2014" y="21"/>
                  </a:moveTo>
                  <a:cubicBezTo>
                    <a:pt x="638" y="21"/>
                    <a:pt x="638" y="21"/>
                    <a:pt x="638" y="21"/>
                  </a:cubicBezTo>
                  <a:cubicBezTo>
                    <a:pt x="1062" y="177"/>
                    <a:pt x="1062" y="177"/>
                    <a:pt x="1062" y="177"/>
                  </a:cubicBezTo>
                  <a:cubicBezTo>
                    <a:pt x="1842" y="177"/>
                    <a:pt x="1842" y="177"/>
                    <a:pt x="1842" y="177"/>
                  </a:cubicBezTo>
                  <a:cubicBezTo>
                    <a:pt x="2026" y="177"/>
                    <a:pt x="1982" y="301"/>
                    <a:pt x="1982" y="301"/>
                  </a:cubicBezTo>
                  <a:cubicBezTo>
                    <a:pt x="1642" y="1561"/>
                    <a:pt x="1642" y="1561"/>
                    <a:pt x="1642" y="1561"/>
                  </a:cubicBezTo>
                  <a:cubicBezTo>
                    <a:pt x="1600" y="1696"/>
                    <a:pt x="1514" y="1693"/>
                    <a:pt x="1514" y="1693"/>
                  </a:cubicBezTo>
                  <a:cubicBezTo>
                    <a:pt x="1446" y="1693"/>
                    <a:pt x="1446" y="1693"/>
                    <a:pt x="1446" y="1693"/>
                  </a:cubicBezTo>
                  <a:cubicBezTo>
                    <a:pt x="1394" y="1901"/>
                    <a:pt x="1394" y="1901"/>
                    <a:pt x="1394" y="1901"/>
                  </a:cubicBezTo>
                  <a:cubicBezTo>
                    <a:pt x="1522" y="1901"/>
                    <a:pt x="1522" y="1901"/>
                    <a:pt x="1522" y="1901"/>
                  </a:cubicBezTo>
                  <a:cubicBezTo>
                    <a:pt x="1764" y="1900"/>
                    <a:pt x="1830" y="1601"/>
                    <a:pt x="1830" y="1601"/>
                  </a:cubicBezTo>
                  <a:cubicBezTo>
                    <a:pt x="2154" y="313"/>
                    <a:pt x="2154" y="313"/>
                    <a:pt x="2154" y="313"/>
                  </a:cubicBezTo>
                  <a:cubicBezTo>
                    <a:pt x="2229" y="15"/>
                    <a:pt x="2014" y="21"/>
                    <a:pt x="2014" y="21"/>
                  </a:cubicBezTo>
                  <a:close/>
                  <a:moveTo>
                    <a:pt x="1607" y="426"/>
                  </a:moveTo>
                  <a:cubicBezTo>
                    <a:pt x="535" y="13"/>
                    <a:pt x="535" y="13"/>
                    <a:pt x="535" y="13"/>
                  </a:cubicBezTo>
                  <a:cubicBezTo>
                    <a:pt x="493" y="0"/>
                    <a:pt x="482" y="37"/>
                    <a:pt x="482" y="37"/>
                  </a:cubicBezTo>
                  <a:cubicBezTo>
                    <a:pt x="260" y="856"/>
                    <a:pt x="260" y="856"/>
                    <a:pt x="260" y="856"/>
                  </a:cubicBezTo>
                  <a:cubicBezTo>
                    <a:pt x="778" y="856"/>
                    <a:pt x="778" y="856"/>
                    <a:pt x="778" y="856"/>
                  </a:cubicBezTo>
                  <a:cubicBezTo>
                    <a:pt x="778" y="447"/>
                    <a:pt x="778" y="447"/>
                    <a:pt x="778" y="447"/>
                  </a:cubicBezTo>
                  <a:cubicBezTo>
                    <a:pt x="1442" y="1111"/>
                    <a:pt x="1442" y="1111"/>
                    <a:pt x="1442" y="1111"/>
                  </a:cubicBezTo>
                  <a:cubicBezTo>
                    <a:pt x="778" y="1775"/>
                    <a:pt x="778" y="1775"/>
                    <a:pt x="778" y="1775"/>
                  </a:cubicBezTo>
                  <a:cubicBezTo>
                    <a:pt x="778" y="1336"/>
                    <a:pt x="778" y="1336"/>
                    <a:pt x="778" y="1336"/>
                  </a:cubicBezTo>
                  <a:cubicBezTo>
                    <a:pt x="130" y="1336"/>
                    <a:pt x="130" y="1336"/>
                    <a:pt x="130" y="1336"/>
                  </a:cubicBezTo>
                  <a:cubicBezTo>
                    <a:pt x="18" y="1746"/>
                    <a:pt x="18" y="1746"/>
                    <a:pt x="18" y="1746"/>
                  </a:cubicBezTo>
                  <a:cubicBezTo>
                    <a:pt x="0" y="1798"/>
                    <a:pt x="34" y="1809"/>
                    <a:pt x="34" y="1809"/>
                  </a:cubicBezTo>
                  <a:cubicBezTo>
                    <a:pt x="1117" y="2234"/>
                    <a:pt x="1117" y="2234"/>
                    <a:pt x="1117" y="2234"/>
                  </a:cubicBezTo>
                  <a:cubicBezTo>
                    <a:pt x="1245" y="2289"/>
                    <a:pt x="1269" y="2186"/>
                    <a:pt x="1269" y="2186"/>
                  </a:cubicBezTo>
                  <a:cubicBezTo>
                    <a:pt x="1695" y="661"/>
                    <a:pt x="1695" y="661"/>
                    <a:pt x="1695" y="661"/>
                  </a:cubicBezTo>
                  <a:cubicBezTo>
                    <a:pt x="1754" y="450"/>
                    <a:pt x="1607" y="426"/>
                    <a:pt x="1607" y="426"/>
                  </a:cubicBez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defTabSz="914091"/>
              <a:endParaRPr lang="en-US" dirty="0">
                <a:solidFill>
                  <a:srgbClr val="292929"/>
                </a:solidFill>
              </a:endParaRPr>
            </a:p>
          </p:txBody>
        </p:sp>
        <p:sp>
          <p:nvSpPr>
            <p:cNvPr id="4" name="Rectangle 3"/>
            <p:cNvSpPr/>
            <p:nvPr/>
          </p:nvSpPr>
          <p:spPr bwMode="auto">
            <a:xfrm>
              <a:off x="666836" y="5143164"/>
              <a:ext cx="3539743" cy="1248316"/>
            </a:xfrm>
            <a:prstGeom prst="rect">
              <a:avLst/>
            </a:prstGeom>
            <a:noFill/>
            <a:ln w="76200">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25" name="Picture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50772" y="5135438"/>
            <a:ext cx="1858673" cy="1247735"/>
          </a:xfrm>
          <a:prstGeom prst="rect">
            <a:avLst/>
          </a:prstGeom>
        </p:spPr>
      </p:pic>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50371" y="5117822"/>
            <a:ext cx="809680" cy="1323507"/>
          </a:xfrm>
          <a:prstGeom prst="rect">
            <a:avLst/>
          </a:prstGeom>
        </p:spPr>
      </p:pic>
      <p:pic>
        <p:nvPicPr>
          <p:cNvPr id="35" name="Picture 3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3735" y="5264187"/>
            <a:ext cx="990237" cy="990237"/>
          </a:xfrm>
          <a:prstGeom prst="rect">
            <a:avLst/>
          </a:prstGeom>
        </p:spPr>
      </p:pic>
      <p:pic>
        <p:nvPicPr>
          <p:cNvPr id="36" name="Picture 35"/>
          <p:cNvPicPr>
            <a:picLocks noChangeAspect="1"/>
          </p:cNvPicPr>
          <p:nvPr/>
        </p:nvPicPr>
        <p:blipFill rotWithShape="1">
          <a:blip r:embed="rId8" cstate="print">
            <a:extLst>
              <a:ext uri="{28A0092B-C50C-407E-A947-70E740481C1C}">
                <a14:useLocalDpi xmlns:a14="http://schemas.microsoft.com/office/drawing/2010/main" val="0"/>
              </a:ext>
            </a:extLst>
          </a:blip>
          <a:srcRect l="19038" r="18880"/>
          <a:stretch/>
        </p:blipFill>
        <p:spPr>
          <a:xfrm>
            <a:off x="9935820" y="5174081"/>
            <a:ext cx="726641" cy="1170448"/>
          </a:xfrm>
          <a:prstGeom prst="rect">
            <a:avLst/>
          </a:prstGeom>
        </p:spPr>
      </p:pic>
      <p:pic>
        <p:nvPicPr>
          <p:cNvPr id="38" name="Picture 3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86714" y="4988727"/>
            <a:ext cx="2073307" cy="1541157"/>
          </a:xfrm>
          <a:prstGeom prst="rect">
            <a:avLst/>
          </a:prstGeom>
        </p:spPr>
      </p:pic>
      <p:pic>
        <p:nvPicPr>
          <p:cNvPr id="39" name="Picture 3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97354" y="5241524"/>
            <a:ext cx="635013" cy="1035560"/>
          </a:xfrm>
          <a:prstGeom prst="rect">
            <a:avLst/>
          </a:prstGeom>
        </p:spPr>
      </p:pic>
      <p:sp>
        <p:nvSpPr>
          <p:cNvPr id="10" name="Rectangle 9"/>
          <p:cNvSpPr/>
          <p:nvPr/>
        </p:nvSpPr>
        <p:spPr bwMode="auto">
          <a:xfrm>
            <a:off x="1589" y="1380"/>
            <a:ext cx="12188825" cy="512556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gradFill>
                <a:gsLst>
                  <a:gs pos="1250">
                    <a:srgbClr val="EFEFEF"/>
                  </a:gs>
                  <a:gs pos="10417">
                    <a:srgbClr val="EFEFEF"/>
                  </a:gs>
                </a:gsLst>
                <a:lin ang="5400000" scaled="0"/>
              </a:gradFill>
            </a:endParaRPr>
          </a:p>
        </p:txBody>
      </p:sp>
      <p:sp>
        <p:nvSpPr>
          <p:cNvPr id="4098" name="Rectangle 2"/>
          <p:cNvSpPr>
            <a:spLocks noChangeArrowheads="1"/>
          </p:cNvSpPr>
          <p:nvPr/>
        </p:nvSpPr>
        <p:spPr bwMode="auto">
          <a:xfrm>
            <a:off x="509457" y="1039189"/>
            <a:ext cx="219819" cy="471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15" tIns="54408" rIns="108815" bIns="54408">
            <a:spAutoFit/>
          </a:bodyPr>
          <a:lstStyle/>
          <a:p>
            <a:pPr defTabSz="913946"/>
            <a:endParaRPr lang="en-US" sz="2352">
              <a:solidFill>
                <a:srgbClr val="C31A21"/>
              </a:solidFill>
            </a:endParaRPr>
          </a:p>
        </p:txBody>
      </p:sp>
      <p:sp>
        <p:nvSpPr>
          <p:cNvPr id="2" name="Title 1"/>
          <p:cNvSpPr>
            <a:spLocks noGrp="1"/>
          </p:cNvSpPr>
          <p:nvPr>
            <p:ph type="title"/>
          </p:nvPr>
        </p:nvSpPr>
        <p:spPr/>
        <p:txBody>
          <a:bodyPr/>
          <a:lstStyle/>
          <a:p>
            <a:r>
              <a:rPr lang="en-US" dirty="0" smtClean="0">
                <a:gradFill>
                  <a:gsLst>
                    <a:gs pos="1250">
                      <a:schemeClr val="bg1"/>
                    </a:gs>
                    <a:gs pos="100000">
                      <a:schemeClr val="bg1"/>
                    </a:gs>
                  </a:gsLst>
                  <a:lin ang="5400000" scaled="0"/>
                </a:gradFill>
              </a:rPr>
              <a:t>Authentication In Motion</a:t>
            </a:r>
            <a:endParaRPr lang="en-US" dirty="0">
              <a:gradFill>
                <a:gsLst>
                  <a:gs pos="1250">
                    <a:schemeClr val="bg1"/>
                  </a:gs>
                  <a:gs pos="100000">
                    <a:schemeClr val="bg1"/>
                  </a:gs>
                </a:gsLst>
                <a:lin ang="5400000" scaled="0"/>
              </a:gradFill>
            </a:endParaRPr>
          </a:p>
        </p:txBody>
      </p:sp>
      <p:grpSp>
        <p:nvGrpSpPr>
          <p:cNvPr id="11" name="Group 10"/>
          <p:cNvGrpSpPr/>
          <p:nvPr/>
        </p:nvGrpSpPr>
        <p:grpSpPr>
          <a:xfrm>
            <a:off x="8611069" y="2149272"/>
            <a:ext cx="2964500" cy="1790332"/>
            <a:chOff x="1411369" y="3975421"/>
            <a:chExt cx="1714604" cy="1035908"/>
          </a:xfrm>
          <a:solidFill>
            <a:srgbClr val="FFFFFF"/>
          </a:solidFill>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a:solidFill>
                  <a:srgbClr val="292929"/>
                </a:solidFill>
              </a:endParaRPr>
            </a:p>
          </p:txBody>
        </p:sp>
      </p:grpSp>
      <p:sp>
        <p:nvSpPr>
          <p:cNvPr id="9" name="Right Arrow 8"/>
          <p:cNvSpPr/>
          <p:nvPr/>
        </p:nvSpPr>
        <p:spPr bwMode="auto">
          <a:xfrm>
            <a:off x="7526535" y="2713830"/>
            <a:ext cx="596131" cy="806563"/>
          </a:xfrm>
          <a:prstGeom prst="right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Right Arrow 15"/>
          <p:cNvSpPr/>
          <p:nvPr/>
        </p:nvSpPr>
        <p:spPr bwMode="auto">
          <a:xfrm rot="10800000">
            <a:off x="4151659" y="2713829"/>
            <a:ext cx="596131" cy="806563"/>
          </a:xfrm>
          <a:prstGeom prst="right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ight Arrow 16"/>
          <p:cNvSpPr/>
          <p:nvPr/>
        </p:nvSpPr>
        <p:spPr bwMode="auto">
          <a:xfrm rot="5400000">
            <a:off x="5797936" y="4425595"/>
            <a:ext cx="596131" cy="806563"/>
          </a:xfrm>
          <a:prstGeom prst="right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13"/>
          <p:cNvGrpSpPr/>
          <p:nvPr/>
        </p:nvGrpSpPr>
        <p:grpSpPr>
          <a:xfrm>
            <a:off x="4698382" y="1719491"/>
            <a:ext cx="2795239" cy="2795239"/>
            <a:chOff x="4115140" y="2098199"/>
            <a:chExt cx="3657560" cy="3657560"/>
          </a:xfrm>
        </p:grpSpPr>
        <p:sp>
          <p:nvSpPr>
            <p:cNvPr id="8" name="Oval 7"/>
            <p:cNvSpPr/>
            <p:nvPr/>
          </p:nvSpPr>
          <p:spPr bwMode="auto">
            <a:xfrm>
              <a:off x="4115140" y="2098199"/>
              <a:ext cx="3657560" cy="3657560"/>
            </a:xfrm>
            <a:prstGeom prst="ellipse">
              <a:avLst/>
            </a:prstGeom>
            <a:solidFill>
              <a:schemeClr val="tx2"/>
            </a:solidFill>
            <a:ln w="107950">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a:lnSpc>
                  <a:spcPct val="90000"/>
                </a:lnSpc>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5303847" y="2306783"/>
              <a:ext cx="1303554" cy="3309975"/>
              <a:chOff x="7558088" y="1685925"/>
              <a:chExt cx="1322387" cy="3359150"/>
            </a:xfrm>
            <a:solidFill>
              <a:srgbClr val="FFFFFF"/>
            </a:solidFill>
          </p:grpSpPr>
          <p:sp>
            <p:nvSpPr>
              <p:cNvPr id="6"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a:solidFill>
                    <a:srgbClr val="292929"/>
                  </a:solidFill>
                </a:endParaRPr>
              </a:p>
            </p:txBody>
          </p:sp>
          <p:sp>
            <p:nvSpPr>
              <p:cNvPr id="7" name="Freeform 6"/>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a:solidFill>
                    <a:srgbClr val="292929"/>
                  </a:solidFill>
                </a:endParaRPr>
              </a:p>
            </p:txBody>
          </p:sp>
        </p:grpSp>
        <p:grpSp>
          <p:nvGrpSpPr>
            <p:cNvPr id="26" name="Group 25"/>
            <p:cNvGrpSpPr/>
            <p:nvPr/>
          </p:nvGrpSpPr>
          <p:grpSpPr>
            <a:xfrm>
              <a:off x="4400867" y="2919973"/>
              <a:ext cx="841346" cy="2136340"/>
              <a:chOff x="7558088" y="1685925"/>
              <a:chExt cx="1322387" cy="3359150"/>
            </a:xfrm>
            <a:solidFill>
              <a:srgbClr val="FFFFFF"/>
            </a:solidFill>
          </p:grpSpPr>
          <p:sp>
            <p:nvSpPr>
              <p:cNvPr id="27"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a:solidFill>
                    <a:srgbClr val="292929"/>
                  </a:solidFill>
                </a:endParaRPr>
              </a:p>
            </p:txBody>
          </p:sp>
          <p:sp>
            <p:nvSpPr>
              <p:cNvPr id="28" name="Freeform 27"/>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a:solidFill>
                    <a:srgbClr val="292929"/>
                  </a:solidFill>
                </a:endParaRPr>
              </a:p>
            </p:txBody>
          </p:sp>
        </p:grpSp>
        <p:grpSp>
          <p:nvGrpSpPr>
            <p:cNvPr id="29" name="Group 28"/>
            <p:cNvGrpSpPr/>
            <p:nvPr/>
          </p:nvGrpSpPr>
          <p:grpSpPr>
            <a:xfrm>
              <a:off x="6675432" y="2915385"/>
              <a:ext cx="841346" cy="2136340"/>
              <a:chOff x="7558088" y="1685925"/>
              <a:chExt cx="1322387" cy="3359150"/>
            </a:xfrm>
            <a:solidFill>
              <a:srgbClr val="FFFFFF"/>
            </a:solidFill>
          </p:grpSpPr>
          <p:sp>
            <p:nvSpPr>
              <p:cNvPr id="30"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a:solidFill>
                    <a:srgbClr val="292929"/>
                  </a:solidFill>
                </a:endParaRPr>
              </a:p>
            </p:txBody>
          </p:sp>
          <p:sp>
            <p:nvSpPr>
              <p:cNvPr id="31" name="Freeform 30"/>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a:solidFill>
                    <a:srgbClr val="292929"/>
                  </a:solidFill>
                </a:endParaRPr>
              </a:p>
            </p:txBody>
          </p:sp>
        </p:grpSp>
      </p:grpSp>
      <p:sp>
        <p:nvSpPr>
          <p:cNvPr id="43" name="Freeform 5"/>
          <p:cNvSpPr>
            <a:spLocks noEditPoints="1"/>
          </p:cNvSpPr>
          <p:nvPr/>
        </p:nvSpPr>
        <p:spPr bwMode="auto">
          <a:xfrm>
            <a:off x="1354799" y="1687138"/>
            <a:ext cx="1613289" cy="2481653"/>
          </a:xfrm>
          <a:custGeom>
            <a:avLst/>
            <a:gdLst>
              <a:gd name="T0" fmla="*/ 785 w 1503"/>
              <a:gd name="T1" fmla="*/ 824 h 2312"/>
              <a:gd name="T2" fmla="*/ 998 w 1503"/>
              <a:gd name="T3" fmla="*/ 824 h 2312"/>
              <a:gd name="T4" fmla="*/ 998 w 1503"/>
              <a:gd name="T5" fmla="*/ 2312 h 2312"/>
              <a:gd name="T6" fmla="*/ 592 w 1503"/>
              <a:gd name="T7" fmla="*/ 0 h 2312"/>
              <a:gd name="T8" fmla="*/ 998 w 1503"/>
              <a:gd name="T9" fmla="*/ 664 h 2312"/>
              <a:gd name="T10" fmla="*/ 998 w 1503"/>
              <a:gd name="T11" fmla="*/ 452 h 2312"/>
              <a:gd name="T12" fmla="*/ 998 w 1503"/>
              <a:gd name="T13" fmla="*/ 664 h 2312"/>
              <a:gd name="T14" fmla="*/ 785 w 1503"/>
              <a:gd name="T15" fmla="*/ 153 h 2312"/>
              <a:gd name="T16" fmla="*/ 998 w 1503"/>
              <a:gd name="T17" fmla="*/ 365 h 2312"/>
              <a:gd name="T18" fmla="*/ 1104 w 1503"/>
              <a:gd name="T19" fmla="*/ 1861 h 2312"/>
              <a:gd name="T20" fmla="*/ 1310 w 1503"/>
              <a:gd name="T21" fmla="*/ 1861 h 2312"/>
              <a:gd name="T22" fmla="*/ 1310 w 1503"/>
              <a:gd name="T23" fmla="*/ 1562 h 2312"/>
              <a:gd name="T24" fmla="*/ 1310 w 1503"/>
              <a:gd name="T25" fmla="*/ 1355 h 2312"/>
              <a:gd name="T26" fmla="*/ 1310 w 1503"/>
              <a:gd name="T27" fmla="*/ 1562 h 2312"/>
              <a:gd name="T28" fmla="*/ 1104 w 1503"/>
              <a:gd name="T29" fmla="*/ 1050 h 2312"/>
              <a:gd name="T30" fmla="*/ 1310 w 1503"/>
              <a:gd name="T31" fmla="*/ 1262 h 2312"/>
              <a:gd name="T32" fmla="*/ 1104 w 1503"/>
              <a:gd name="T33" fmla="*/ 963 h 2312"/>
              <a:gd name="T34" fmla="*/ 1310 w 1503"/>
              <a:gd name="T35" fmla="*/ 963 h 2312"/>
              <a:gd name="T36" fmla="*/ 1310 w 1503"/>
              <a:gd name="T37" fmla="*/ 664 h 2312"/>
              <a:gd name="T38" fmla="*/ 1310 w 1503"/>
              <a:gd name="T39" fmla="*/ 452 h 2312"/>
              <a:gd name="T40" fmla="*/ 1310 w 1503"/>
              <a:gd name="T41" fmla="*/ 664 h 2312"/>
              <a:gd name="T42" fmla="*/ 1104 w 1503"/>
              <a:gd name="T43" fmla="*/ 153 h 2312"/>
              <a:gd name="T44" fmla="*/ 1310 w 1503"/>
              <a:gd name="T45" fmla="*/ 365 h 2312"/>
              <a:gd name="T46" fmla="*/ 0 w 1503"/>
              <a:gd name="T47" fmla="*/ 2312 h 2312"/>
              <a:gd name="T48" fmla="*/ 0 w 1503"/>
              <a:gd name="T49" fmla="*/ 911 h 2312"/>
              <a:gd name="T50" fmla="*/ 399 w 1503"/>
              <a:gd name="T51" fmla="*/ 2166 h 2312"/>
              <a:gd name="T52" fmla="*/ 399 w 1503"/>
              <a:gd name="T53" fmla="*/ 1954 h 2312"/>
              <a:gd name="T54" fmla="*/ 399 w 1503"/>
              <a:gd name="T55" fmla="*/ 2166 h 2312"/>
              <a:gd name="T56" fmla="*/ 193 w 1503"/>
              <a:gd name="T57" fmla="*/ 1654 h 2312"/>
              <a:gd name="T58" fmla="*/ 399 w 1503"/>
              <a:gd name="T59" fmla="*/ 1861 h 2312"/>
              <a:gd name="T60" fmla="*/ 193 w 1503"/>
              <a:gd name="T61" fmla="*/ 1562 h 2312"/>
              <a:gd name="T62" fmla="*/ 399 w 1503"/>
              <a:gd name="T63" fmla="*/ 1562 h 2312"/>
              <a:gd name="T64" fmla="*/ 399 w 1503"/>
              <a:gd name="T65" fmla="*/ 1262 h 2312"/>
              <a:gd name="T66" fmla="*/ 399 w 1503"/>
              <a:gd name="T67" fmla="*/ 1050 h 2312"/>
              <a:gd name="T68" fmla="*/ 399 w 1503"/>
              <a:gd name="T69" fmla="*/ 1262 h 2312"/>
              <a:gd name="T70" fmla="*/ 506 w 1503"/>
              <a:gd name="T71" fmla="*/ 1954 h 2312"/>
              <a:gd name="T72" fmla="*/ 718 w 1503"/>
              <a:gd name="T73" fmla="*/ 2166 h 2312"/>
              <a:gd name="T74" fmla="*/ 506 w 1503"/>
              <a:gd name="T75" fmla="*/ 1861 h 2312"/>
              <a:gd name="T76" fmla="*/ 718 w 1503"/>
              <a:gd name="T77" fmla="*/ 1861 h 2312"/>
              <a:gd name="T78" fmla="*/ 718 w 1503"/>
              <a:gd name="T79" fmla="*/ 1562 h 2312"/>
              <a:gd name="T80" fmla="*/ 718 w 1503"/>
              <a:gd name="T81" fmla="*/ 1355 h 2312"/>
              <a:gd name="T82" fmla="*/ 718 w 1503"/>
              <a:gd name="T83" fmla="*/ 1562 h 2312"/>
              <a:gd name="T84" fmla="*/ 506 w 1503"/>
              <a:gd name="T85" fmla="*/ 1050 h 2312"/>
              <a:gd name="T86" fmla="*/ 718 w 1503"/>
              <a:gd name="T87" fmla="*/ 1262 h 2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03" h="2312">
                <a:moveTo>
                  <a:pt x="592" y="0"/>
                </a:moveTo>
                <a:lnTo>
                  <a:pt x="592" y="824"/>
                </a:lnTo>
                <a:lnTo>
                  <a:pt x="785" y="824"/>
                </a:lnTo>
                <a:lnTo>
                  <a:pt x="785" y="751"/>
                </a:lnTo>
                <a:lnTo>
                  <a:pt x="998" y="751"/>
                </a:lnTo>
                <a:lnTo>
                  <a:pt x="998" y="824"/>
                </a:lnTo>
                <a:lnTo>
                  <a:pt x="998" y="911"/>
                </a:lnTo>
                <a:lnTo>
                  <a:pt x="998" y="963"/>
                </a:lnTo>
                <a:lnTo>
                  <a:pt x="998" y="2312"/>
                </a:lnTo>
                <a:lnTo>
                  <a:pt x="1503" y="2312"/>
                </a:lnTo>
                <a:lnTo>
                  <a:pt x="1503" y="0"/>
                </a:lnTo>
                <a:lnTo>
                  <a:pt x="592" y="0"/>
                </a:lnTo>
                <a:lnTo>
                  <a:pt x="592" y="0"/>
                </a:lnTo>
                <a:lnTo>
                  <a:pt x="592" y="0"/>
                </a:lnTo>
                <a:close/>
                <a:moveTo>
                  <a:pt x="998" y="664"/>
                </a:moveTo>
                <a:lnTo>
                  <a:pt x="785" y="664"/>
                </a:lnTo>
                <a:lnTo>
                  <a:pt x="785" y="452"/>
                </a:lnTo>
                <a:lnTo>
                  <a:pt x="998" y="452"/>
                </a:lnTo>
                <a:lnTo>
                  <a:pt x="998" y="664"/>
                </a:lnTo>
                <a:lnTo>
                  <a:pt x="998" y="664"/>
                </a:lnTo>
                <a:lnTo>
                  <a:pt x="998" y="664"/>
                </a:lnTo>
                <a:close/>
                <a:moveTo>
                  <a:pt x="998" y="365"/>
                </a:moveTo>
                <a:lnTo>
                  <a:pt x="785" y="365"/>
                </a:lnTo>
                <a:lnTo>
                  <a:pt x="785" y="153"/>
                </a:lnTo>
                <a:lnTo>
                  <a:pt x="998" y="153"/>
                </a:lnTo>
                <a:lnTo>
                  <a:pt x="998" y="365"/>
                </a:lnTo>
                <a:lnTo>
                  <a:pt x="998" y="365"/>
                </a:lnTo>
                <a:lnTo>
                  <a:pt x="998" y="365"/>
                </a:lnTo>
                <a:close/>
                <a:moveTo>
                  <a:pt x="1310" y="1861"/>
                </a:moveTo>
                <a:lnTo>
                  <a:pt x="1104" y="1861"/>
                </a:lnTo>
                <a:lnTo>
                  <a:pt x="1104" y="1654"/>
                </a:lnTo>
                <a:lnTo>
                  <a:pt x="1310" y="1654"/>
                </a:lnTo>
                <a:lnTo>
                  <a:pt x="1310" y="1861"/>
                </a:lnTo>
                <a:lnTo>
                  <a:pt x="1310" y="1861"/>
                </a:lnTo>
                <a:lnTo>
                  <a:pt x="1310" y="1861"/>
                </a:lnTo>
                <a:close/>
                <a:moveTo>
                  <a:pt x="1310" y="1562"/>
                </a:moveTo>
                <a:lnTo>
                  <a:pt x="1104" y="1562"/>
                </a:lnTo>
                <a:lnTo>
                  <a:pt x="1104" y="1355"/>
                </a:lnTo>
                <a:lnTo>
                  <a:pt x="1310" y="1355"/>
                </a:lnTo>
                <a:lnTo>
                  <a:pt x="1310" y="1562"/>
                </a:lnTo>
                <a:lnTo>
                  <a:pt x="1310" y="1562"/>
                </a:lnTo>
                <a:lnTo>
                  <a:pt x="1310" y="1562"/>
                </a:lnTo>
                <a:close/>
                <a:moveTo>
                  <a:pt x="1310" y="1262"/>
                </a:moveTo>
                <a:lnTo>
                  <a:pt x="1104" y="1262"/>
                </a:lnTo>
                <a:lnTo>
                  <a:pt x="1104" y="1050"/>
                </a:lnTo>
                <a:lnTo>
                  <a:pt x="1310" y="1050"/>
                </a:lnTo>
                <a:lnTo>
                  <a:pt x="1310" y="1262"/>
                </a:lnTo>
                <a:lnTo>
                  <a:pt x="1310" y="1262"/>
                </a:lnTo>
                <a:lnTo>
                  <a:pt x="1310" y="1262"/>
                </a:lnTo>
                <a:close/>
                <a:moveTo>
                  <a:pt x="1310" y="963"/>
                </a:moveTo>
                <a:lnTo>
                  <a:pt x="1104" y="963"/>
                </a:lnTo>
                <a:lnTo>
                  <a:pt x="1104" y="751"/>
                </a:lnTo>
                <a:lnTo>
                  <a:pt x="1310" y="751"/>
                </a:lnTo>
                <a:lnTo>
                  <a:pt x="1310" y="963"/>
                </a:lnTo>
                <a:lnTo>
                  <a:pt x="1310" y="963"/>
                </a:lnTo>
                <a:lnTo>
                  <a:pt x="1310" y="963"/>
                </a:lnTo>
                <a:close/>
                <a:moveTo>
                  <a:pt x="1310" y="664"/>
                </a:moveTo>
                <a:lnTo>
                  <a:pt x="1104" y="664"/>
                </a:lnTo>
                <a:lnTo>
                  <a:pt x="1104" y="452"/>
                </a:lnTo>
                <a:lnTo>
                  <a:pt x="1310" y="452"/>
                </a:lnTo>
                <a:lnTo>
                  <a:pt x="1310" y="664"/>
                </a:lnTo>
                <a:lnTo>
                  <a:pt x="1310" y="664"/>
                </a:lnTo>
                <a:lnTo>
                  <a:pt x="1310" y="664"/>
                </a:lnTo>
                <a:close/>
                <a:moveTo>
                  <a:pt x="1310" y="365"/>
                </a:moveTo>
                <a:lnTo>
                  <a:pt x="1104" y="365"/>
                </a:lnTo>
                <a:lnTo>
                  <a:pt x="1104" y="153"/>
                </a:lnTo>
                <a:lnTo>
                  <a:pt x="1310" y="153"/>
                </a:lnTo>
                <a:lnTo>
                  <a:pt x="1310" y="365"/>
                </a:lnTo>
                <a:lnTo>
                  <a:pt x="1310" y="365"/>
                </a:lnTo>
                <a:lnTo>
                  <a:pt x="1310" y="365"/>
                </a:lnTo>
                <a:close/>
                <a:moveTo>
                  <a:pt x="0" y="911"/>
                </a:moveTo>
                <a:lnTo>
                  <a:pt x="0" y="2312"/>
                </a:lnTo>
                <a:lnTo>
                  <a:pt x="911" y="2312"/>
                </a:lnTo>
                <a:lnTo>
                  <a:pt x="911" y="911"/>
                </a:lnTo>
                <a:lnTo>
                  <a:pt x="0" y="911"/>
                </a:lnTo>
                <a:lnTo>
                  <a:pt x="0" y="911"/>
                </a:lnTo>
                <a:lnTo>
                  <a:pt x="0" y="911"/>
                </a:lnTo>
                <a:close/>
                <a:moveTo>
                  <a:pt x="399" y="2166"/>
                </a:moveTo>
                <a:lnTo>
                  <a:pt x="193" y="2166"/>
                </a:lnTo>
                <a:lnTo>
                  <a:pt x="193" y="1954"/>
                </a:lnTo>
                <a:lnTo>
                  <a:pt x="399" y="1954"/>
                </a:lnTo>
                <a:lnTo>
                  <a:pt x="399" y="2166"/>
                </a:lnTo>
                <a:lnTo>
                  <a:pt x="399" y="2166"/>
                </a:lnTo>
                <a:lnTo>
                  <a:pt x="399" y="2166"/>
                </a:lnTo>
                <a:close/>
                <a:moveTo>
                  <a:pt x="399" y="1861"/>
                </a:moveTo>
                <a:lnTo>
                  <a:pt x="193" y="1861"/>
                </a:lnTo>
                <a:lnTo>
                  <a:pt x="193" y="1654"/>
                </a:lnTo>
                <a:lnTo>
                  <a:pt x="399" y="1654"/>
                </a:lnTo>
                <a:lnTo>
                  <a:pt x="399" y="1861"/>
                </a:lnTo>
                <a:lnTo>
                  <a:pt x="399" y="1861"/>
                </a:lnTo>
                <a:lnTo>
                  <a:pt x="399" y="1861"/>
                </a:lnTo>
                <a:close/>
                <a:moveTo>
                  <a:pt x="399" y="1562"/>
                </a:moveTo>
                <a:lnTo>
                  <a:pt x="193" y="1562"/>
                </a:lnTo>
                <a:lnTo>
                  <a:pt x="193" y="1355"/>
                </a:lnTo>
                <a:lnTo>
                  <a:pt x="399" y="1355"/>
                </a:lnTo>
                <a:lnTo>
                  <a:pt x="399" y="1562"/>
                </a:lnTo>
                <a:lnTo>
                  <a:pt x="399" y="1562"/>
                </a:lnTo>
                <a:lnTo>
                  <a:pt x="399" y="1562"/>
                </a:lnTo>
                <a:close/>
                <a:moveTo>
                  <a:pt x="399" y="1262"/>
                </a:moveTo>
                <a:lnTo>
                  <a:pt x="193" y="1262"/>
                </a:lnTo>
                <a:lnTo>
                  <a:pt x="193" y="1050"/>
                </a:lnTo>
                <a:lnTo>
                  <a:pt x="399" y="1050"/>
                </a:lnTo>
                <a:lnTo>
                  <a:pt x="399" y="1262"/>
                </a:lnTo>
                <a:lnTo>
                  <a:pt x="399" y="1262"/>
                </a:lnTo>
                <a:lnTo>
                  <a:pt x="399" y="1262"/>
                </a:lnTo>
                <a:close/>
                <a:moveTo>
                  <a:pt x="718" y="2166"/>
                </a:moveTo>
                <a:lnTo>
                  <a:pt x="506" y="2166"/>
                </a:lnTo>
                <a:lnTo>
                  <a:pt x="506" y="1954"/>
                </a:lnTo>
                <a:lnTo>
                  <a:pt x="718" y="1954"/>
                </a:lnTo>
                <a:lnTo>
                  <a:pt x="718" y="2166"/>
                </a:lnTo>
                <a:lnTo>
                  <a:pt x="718" y="2166"/>
                </a:lnTo>
                <a:lnTo>
                  <a:pt x="718" y="2166"/>
                </a:lnTo>
                <a:close/>
                <a:moveTo>
                  <a:pt x="718" y="1861"/>
                </a:moveTo>
                <a:lnTo>
                  <a:pt x="506" y="1861"/>
                </a:lnTo>
                <a:lnTo>
                  <a:pt x="506" y="1654"/>
                </a:lnTo>
                <a:lnTo>
                  <a:pt x="718" y="1654"/>
                </a:lnTo>
                <a:lnTo>
                  <a:pt x="718" y="1861"/>
                </a:lnTo>
                <a:lnTo>
                  <a:pt x="718" y="1861"/>
                </a:lnTo>
                <a:lnTo>
                  <a:pt x="718" y="1861"/>
                </a:lnTo>
                <a:close/>
                <a:moveTo>
                  <a:pt x="718" y="1562"/>
                </a:moveTo>
                <a:lnTo>
                  <a:pt x="506" y="1562"/>
                </a:lnTo>
                <a:lnTo>
                  <a:pt x="506" y="1355"/>
                </a:lnTo>
                <a:lnTo>
                  <a:pt x="718" y="1355"/>
                </a:lnTo>
                <a:lnTo>
                  <a:pt x="718" y="1562"/>
                </a:lnTo>
                <a:lnTo>
                  <a:pt x="718" y="1562"/>
                </a:lnTo>
                <a:lnTo>
                  <a:pt x="718" y="1562"/>
                </a:lnTo>
                <a:close/>
                <a:moveTo>
                  <a:pt x="718" y="1262"/>
                </a:moveTo>
                <a:lnTo>
                  <a:pt x="506" y="1262"/>
                </a:lnTo>
                <a:lnTo>
                  <a:pt x="506" y="1050"/>
                </a:lnTo>
                <a:lnTo>
                  <a:pt x="718" y="1050"/>
                </a:lnTo>
                <a:lnTo>
                  <a:pt x="718" y="1262"/>
                </a:lnTo>
                <a:lnTo>
                  <a:pt x="718" y="1262"/>
                </a:lnTo>
                <a:lnTo>
                  <a:pt x="718" y="1262"/>
                </a:lnTo>
                <a:close/>
              </a:path>
            </a:pathLst>
          </a:custGeom>
          <a:solidFill>
            <a:srgbClr val="FFFFFF"/>
          </a:solidFill>
          <a:ln>
            <a:noFill/>
          </a:ln>
        </p:spPr>
        <p:txBody>
          <a:bodyPr vert="horz" wrap="square" lIns="89619" tIns="44810" rIns="89619" bIns="44810" numCol="1" anchor="t" anchorCtr="0" compatLnSpc="1">
            <a:prstTxWarp prst="textNoShape">
              <a:avLst/>
            </a:prstTxWarp>
          </a:bodyPr>
          <a:lstStyle/>
          <a:p>
            <a:pPr defTabSz="913946"/>
            <a:endParaRPr lang="en-US">
              <a:solidFill>
                <a:srgbClr val="505050"/>
              </a:solidFill>
            </a:endParaRPr>
          </a:p>
        </p:txBody>
      </p:sp>
      <p:sp>
        <p:nvSpPr>
          <p:cNvPr id="3" name="Rectangle 2"/>
          <p:cNvSpPr/>
          <p:nvPr/>
        </p:nvSpPr>
        <p:spPr bwMode="auto">
          <a:xfrm>
            <a:off x="1588" y="1039188"/>
            <a:ext cx="1353210" cy="349162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gradFill>
                <a:gsLst>
                  <a:gs pos="1250">
                    <a:srgbClr val="EFEFEF"/>
                  </a:gs>
                  <a:gs pos="10417">
                    <a:srgbClr val="EFEFEF"/>
                  </a:gs>
                </a:gsLst>
                <a:lin ang="5400000" scaled="0"/>
              </a:gradFill>
            </a:endParaRPr>
          </a:p>
        </p:txBody>
      </p:sp>
      <p:sp>
        <p:nvSpPr>
          <p:cNvPr id="37" name="Rectangle 36"/>
          <p:cNvSpPr/>
          <p:nvPr/>
        </p:nvSpPr>
        <p:spPr bwMode="auto">
          <a:xfrm>
            <a:off x="11638134" y="1188523"/>
            <a:ext cx="552279" cy="349162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a:lnSpc>
                <a:spcPct val="90000"/>
              </a:lnSpc>
            </a:pPr>
            <a:endParaRPr lang="en-US" sz="1960" spc="-49" dirty="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419357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250" fill="hold"/>
                                        <p:tgtEl>
                                          <p:spTgt spid="14"/>
                                        </p:tgtEl>
                                        <p:attrNameLst>
                                          <p:attrName>ppt_w</p:attrName>
                                        </p:attrNameLst>
                                      </p:cBhvr>
                                      <p:tavLst>
                                        <p:tav tm="0">
                                          <p:val>
                                            <p:fltVal val="0"/>
                                          </p:val>
                                        </p:tav>
                                        <p:tav tm="100000">
                                          <p:val>
                                            <p:strVal val="#ppt_w"/>
                                          </p:val>
                                        </p:tav>
                                      </p:tavLst>
                                    </p:anim>
                                    <p:anim calcmode="lin" valueType="num">
                                      <p:cBhvr>
                                        <p:cTn id="8" dur="250" fill="hold"/>
                                        <p:tgtEl>
                                          <p:spTgt spid="14"/>
                                        </p:tgtEl>
                                        <p:attrNameLst>
                                          <p:attrName>ppt_h</p:attrName>
                                        </p:attrNameLst>
                                      </p:cBhvr>
                                      <p:tavLst>
                                        <p:tav tm="0">
                                          <p:val>
                                            <p:fltVal val="0"/>
                                          </p:val>
                                        </p:tav>
                                        <p:tav tm="100000">
                                          <p:val>
                                            <p:strVal val="#ppt_h"/>
                                          </p:val>
                                        </p:tav>
                                      </p:tavLst>
                                    </p:anim>
                                    <p:animEffect transition="in" filter="fade">
                                      <p:cBhvr>
                                        <p:cTn id="9" dur="250"/>
                                        <p:tgtEl>
                                          <p:spTgt spid="14"/>
                                        </p:tgtEl>
                                      </p:cBhvr>
                                    </p:animEffect>
                                  </p:childTnLst>
                                </p:cTn>
                              </p:par>
                              <p:par>
                                <p:cTn id="10" presetID="6" presetClass="emph" presetSubtype="0" decel="100000" fill="hold" nodeType="withEffect">
                                  <p:stCondLst>
                                    <p:cond delay="200"/>
                                  </p:stCondLst>
                                  <p:childTnLst>
                                    <p:animScale>
                                      <p:cBhvr>
                                        <p:cTn id="11" dur="250" fill="hold"/>
                                        <p:tgtEl>
                                          <p:spTgt spid="14"/>
                                        </p:tgtEl>
                                      </p:cBhvr>
                                      <p:by x="110000" y="110000"/>
                                    </p:animScale>
                                  </p:childTnLst>
                                </p:cTn>
                              </p:par>
                              <p:par>
                                <p:cTn id="12" presetID="6" presetClass="emph" presetSubtype="0" decel="100000" fill="hold" nodeType="withEffect">
                                  <p:stCondLst>
                                    <p:cond delay="300"/>
                                  </p:stCondLst>
                                  <p:childTnLst>
                                    <p:animScale>
                                      <p:cBhvr>
                                        <p:cTn id="13" dur="250" fill="hold"/>
                                        <p:tgtEl>
                                          <p:spTgt spid="14"/>
                                        </p:tgtEl>
                                      </p:cBhvr>
                                      <p:by x="91000" y="91000"/>
                                    </p:animScale>
                                  </p:childTnLst>
                                </p:cTn>
                              </p:par>
                            </p:childTnLst>
                          </p:cTn>
                        </p:par>
                        <p:par>
                          <p:cTn id="14" fill="hold">
                            <p:stCondLst>
                              <p:cond delay="550"/>
                            </p:stCondLst>
                            <p:childTnLst>
                              <p:par>
                                <p:cTn id="15" presetID="10" presetClass="entr" presetSubtype="0" fill="hold" grpId="0" nodeType="afterEffect">
                                  <p:stCondLst>
                                    <p:cond delay="25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250"/>
                                        <p:tgtEl>
                                          <p:spTgt spid="16"/>
                                        </p:tgtEl>
                                      </p:cBhvr>
                                    </p:animEffect>
                                  </p:childTnLst>
                                </p:cTn>
                              </p:par>
                              <p:par>
                                <p:cTn id="18" presetID="10" presetClass="entr" presetSubtype="0" fill="hold" grpId="0" nodeType="withEffect">
                                  <p:stCondLst>
                                    <p:cond delay="25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250"/>
                                        <p:tgtEl>
                                          <p:spTgt spid="9"/>
                                        </p:tgtEl>
                                      </p:cBhvr>
                                    </p:animEffect>
                                  </p:childTnLst>
                                </p:cTn>
                              </p:par>
                              <p:par>
                                <p:cTn id="21" presetID="63" presetClass="path" presetSubtype="0" decel="100000" fill="hold" grpId="1" nodeType="withEffect">
                                  <p:stCondLst>
                                    <p:cond delay="0"/>
                                  </p:stCondLst>
                                  <p:childTnLst>
                                    <p:animMotion origin="layout" path="M -1.53178E-8 -3.90377E-7 L 0.13518 -3.90377E-7 " pathEditMode="relative" rAng="0" ptsTypes="AA">
                                      <p:cBhvr>
                                        <p:cTn id="22" dur="750" spd="-100000" fill="hold"/>
                                        <p:tgtEl>
                                          <p:spTgt spid="16"/>
                                        </p:tgtEl>
                                        <p:attrNameLst>
                                          <p:attrName>ppt_x</p:attrName>
                                          <p:attrName>ppt_y</p:attrName>
                                        </p:attrNameLst>
                                      </p:cBhvr>
                                      <p:rCtr x="6753" y="0"/>
                                    </p:animMotion>
                                  </p:childTnLst>
                                </p:cTn>
                              </p:par>
                              <p:par>
                                <p:cTn id="23" presetID="35" presetClass="path" presetSubtype="0" decel="100000" fill="hold" grpId="1" nodeType="withEffect">
                                  <p:stCondLst>
                                    <p:cond delay="0"/>
                                  </p:stCondLst>
                                  <p:childTnLst>
                                    <p:animMotion origin="layout" path="M 2.28236E-6 -3.90377E-7 L -0.14118 -3.90377E-7 " pathEditMode="relative" rAng="0" ptsTypes="AA">
                                      <p:cBhvr>
                                        <p:cTn id="24" dur="750" spd="-100000" fill="hold"/>
                                        <p:tgtEl>
                                          <p:spTgt spid="9"/>
                                        </p:tgtEl>
                                        <p:attrNameLst>
                                          <p:attrName>ppt_x</p:attrName>
                                          <p:attrName>ppt_y</p:attrName>
                                        </p:attrNameLst>
                                      </p:cBhvr>
                                      <p:rCtr x="-7059" y="0"/>
                                    </p:animMotion>
                                  </p:childTnLst>
                                </p:cTn>
                              </p:par>
                              <p:par>
                                <p:cTn id="25" presetID="10" presetClass="entr" presetSubtype="0" fill="hold" grpId="0" nodeType="withEffect">
                                  <p:stCondLst>
                                    <p:cond delay="25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250"/>
                                        <p:tgtEl>
                                          <p:spTgt spid="17"/>
                                        </p:tgtEl>
                                      </p:cBhvr>
                                    </p:animEffect>
                                  </p:childTnLst>
                                </p:cTn>
                              </p:par>
                              <p:par>
                                <p:cTn id="28" presetID="64" presetClass="path" presetSubtype="0" decel="100000" fill="hold" grpId="1" nodeType="withEffect">
                                  <p:stCondLst>
                                    <p:cond delay="0"/>
                                  </p:stCondLst>
                                  <p:childTnLst>
                                    <p:animMotion origin="layout" path="M 0 3.09124E-6 L 0 -0.24966 " pathEditMode="relative" rAng="0" ptsTypes="AA">
                                      <p:cBhvr>
                                        <p:cTn id="29" dur="750" spd="-100000" fill="hold"/>
                                        <p:tgtEl>
                                          <p:spTgt spid="17"/>
                                        </p:tgtEl>
                                        <p:attrNameLst>
                                          <p:attrName>ppt_x</p:attrName>
                                          <p:attrName>ppt_y</p:attrName>
                                        </p:attrNameLst>
                                      </p:cBhvr>
                                      <p:rCtr x="0" y="-12483"/>
                                    </p:animMotion>
                                  </p:childTnLst>
                                </p:cTn>
                              </p:par>
                            </p:childTnLst>
                          </p:cTn>
                        </p:par>
                        <p:par>
                          <p:cTn id="30" fill="hold">
                            <p:stCondLst>
                              <p:cond delay="1300"/>
                            </p:stCondLst>
                            <p:childTnLst>
                              <p:par>
                                <p:cTn id="31" presetID="2" presetClass="entr" presetSubtype="2" decel="100000" fill="hold" nodeType="afterEffect">
                                  <p:stCondLst>
                                    <p:cond delay="0"/>
                                  </p:stCondLst>
                                  <p:childTnLst>
                                    <p:set>
                                      <p:cBhvr>
                                        <p:cTn id="32" dur="1" fill="hold">
                                          <p:stCondLst>
                                            <p:cond delay="0"/>
                                          </p:stCondLst>
                                        </p:cTn>
                                        <p:tgtEl>
                                          <p:spTgt spid="11"/>
                                        </p:tgtEl>
                                        <p:attrNameLst>
                                          <p:attrName>style.visibility</p:attrName>
                                        </p:attrNameLst>
                                      </p:cBhvr>
                                      <p:to>
                                        <p:strVal val="visible"/>
                                      </p:to>
                                    </p:set>
                                    <p:anim calcmode="lin" valueType="num">
                                      <p:cBhvr additive="base">
                                        <p:cTn id="33" dur="700" fill="hold"/>
                                        <p:tgtEl>
                                          <p:spTgt spid="11"/>
                                        </p:tgtEl>
                                        <p:attrNameLst>
                                          <p:attrName>ppt_x</p:attrName>
                                        </p:attrNameLst>
                                      </p:cBhvr>
                                      <p:tavLst>
                                        <p:tav tm="0">
                                          <p:val>
                                            <p:strVal val="1+#ppt_w/2"/>
                                          </p:val>
                                        </p:tav>
                                        <p:tav tm="100000">
                                          <p:val>
                                            <p:strVal val="#ppt_x"/>
                                          </p:val>
                                        </p:tav>
                                      </p:tavLst>
                                    </p:anim>
                                    <p:anim calcmode="lin" valueType="num">
                                      <p:cBhvr additive="base">
                                        <p:cTn id="34" dur="700" fill="hold"/>
                                        <p:tgtEl>
                                          <p:spTgt spid="11"/>
                                        </p:tgtEl>
                                        <p:attrNameLst>
                                          <p:attrName>ppt_y</p:attrName>
                                        </p:attrNameLst>
                                      </p:cBhvr>
                                      <p:tavLst>
                                        <p:tav tm="0">
                                          <p:val>
                                            <p:strVal val="#ppt_y"/>
                                          </p:val>
                                        </p:tav>
                                        <p:tav tm="100000">
                                          <p:val>
                                            <p:strVal val="#ppt_y"/>
                                          </p:val>
                                        </p:tav>
                                      </p:tavLst>
                                    </p:anim>
                                  </p:childTnLst>
                                </p:cTn>
                              </p:par>
                              <p:par>
                                <p:cTn id="35" presetID="2" presetClass="entr" presetSubtype="8" decel="100000" fill="hold" grpId="0" nodeType="withEffect">
                                  <p:stCondLst>
                                    <p:cond delay="0"/>
                                  </p:stCondLst>
                                  <p:childTnLst>
                                    <p:set>
                                      <p:cBhvr>
                                        <p:cTn id="36" dur="1" fill="hold">
                                          <p:stCondLst>
                                            <p:cond delay="0"/>
                                          </p:stCondLst>
                                        </p:cTn>
                                        <p:tgtEl>
                                          <p:spTgt spid="43"/>
                                        </p:tgtEl>
                                        <p:attrNameLst>
                                          <p:attrName>style.visibility</p:attrName>
                                        </p:attrNameLst>
                                      </p:cBhvr>
                                      <p:to>
                                        <p:strVal val="visible"/>
                                      </p:to>
                                    </p:set>
                                    <p:anim calcmode="lin" valueType="num">
                                      <p:cBhvr additive="base">
                                        <p:cTn id="37" dur="700" fill="hold"/>
                                        <p:tgtEl>
                                          <p:spTgt spid="43"/>
                                        </p:tgtEl>
                                        <p:attrNameLst>
                                          <p:attrName>ppt_x</p:attrName>
                                        </p:attrNameLst>
                                      </p:cBhvr>
                                      <p:tavLst>
                                        <p:tav tm="0">
                                          <p:val>
                                            <p:strVal val="0-#ppt_w/2"/>
                                          </p:val>
                                        </p:tav>
                                        <p:tav tm="100000">
                                          <p:val>
                                            <p:strVal val="#ppt_x"/>
                                          </p:val>
                                        </p:tav>
                                      </p:tavLst>
                                    </p:anim>
                                    <p:anim calcmode="lin" valueType="num">
                                      <p:cBhvr additive="base">
                                        <p:cTn id="38" dur="700" fill="hold"/>
                                        <p:tgtEl>
                                          <p:spTgt spid="43"/>
                                        </p:tgtEl>
                                        <p:attrNameLst>
                                          <p:attrName>ppt_y</p:attrName>
                                        </p:attrNameLst>
                                      </p:cBhvr>
                                      <p:tavLst>
                                        <p:tav tm="0">
                                          <p:val>
                                            <p:strVal val="#ppt_y"/>
                                          </p:val>
                                        </p:tav>
                                        <p:tav tm="100000">
                                          <p:val>
                                            <p:strVal val="#ppt_y"/>
                                          </p:val>
                                        </p:tav>
                                      </p:tavLst>
                                    </p:anim>
                                  </p:childTnLst>
                                </p:cTn>
                              </p:par>
                            </p:childTnLst>
                          </p:cTn>
                        </p:par>
                        <p:par>
                          <p:cTn id="39" fill="hold">
                            <p:stCondLst>
                              <p:cond delay="2000"/>
                            </p:stCondLst>
                            <p:childTnLst>
                              <p:par>
                                <p:cTn id="40" presetID="2" presetClass="entr" presetSubtype="1" decel="100000" fill="hold" nodeType="afterEffect">
                                  <p:stCondLst>
                                    <p:cond delay="0"/>
                                  </p:stCondLst>
                                  <p:childTnLst>
                                    <p:set>
                                      <p:cBhvr>
                                        <p:cTn id="41" dur="1" fill="hold">
                                          <p:stCondLst>
                                            <p:cond delay="0"/>
                                          </p:stCondLst>
                                        </p:cTn>
                                        <p:tgtEl>
                                          <p:spTgt spid="35"/>
                                        </p:tgtEl>
                                        <p:attrNameLst>
                                          <p:attrName>style.visibility</p:attrName>
                                        </p:attrNameLst>
                                      </p:cBhvr>
                                      <p:to>
                                        <p:strVal val="visible"/>
                                      </p:to>
                                    </p:set>
                                    <p:anim calcmode="lin" valueType="num">
                                      <p:cBhvr additive="base">
                                        <p:cTn id="42" dur="700" fill="hold"/>
                                        <p:tgtEl>
                                          <p:spTgt spid="35"/>
                                        </p:tgtEl>
                                        <p:attrNameLst>
                                          <p:attrName>ppt_x</p:attrName>
                                        </p:attrNameLst>
                                      </p:cBhvr>
                                      <p:tavLst>
                                        <p:tav tm="0">
                                          <p:val>
                                            <p:strVal val="#ppt_x"/>
                                          </p:val>
                                        </p:tav>
                                        <p:tav tm="100000">
                                          <p:val>
                                            <p:strVal val="#ppt_x"/>
                                          </p:val>
                                        </p:tav>
                                      </p:tavLst>
                                    </p:anim>
                                    <p:anim calcmode="lin" valueType="num">
                                      <p:cBhvr additive="base">
                                        <p:cTn id="43" dur="700" fill="hold"/>
                                        <p:tgtEl>
                                          <p:spTgt spid="35"/>
                                        </p:tgtEl>
                                        <p:attrNameLst>
                                          <p:attrName>ppt_y</p:attrName>
                                        </p:attrNameLst>
                                      </p:cBhvr>
                                      <p:tavLst>
                                        <p:tav tm="0">
                                          <p:val>
                                            <p:strVal val="0-#ppt_h/2"/>
                                          </p:val>
                                        </p:tav>
                                        <p:tav tm="100000">
                                          <p:val>
                                            <p:strVal val="#ppt_y"/>
                                          </p:val>
                                        </p:tav>
                                      </p:tavLst>
                                    </p:anim>
                                  </p:childTnLst>
                                </p:cTn>
                              </p:par>
                              <p:par>
                                <p:cTn id="44" presetID="2" presetClass="entr" presetSubtype="1" decel="100000" fill="hold" nodeType="withEffect">
                                  <p:stCondLst>
                                    <p:cond delay="100"/>
                                  </p:stCondLst>
                                  <p:childTnLst>
                                    <p:set>
                                      <p:cBhvr>
                                        <p:cTn id="45" dur="1" fill="hold">
                                          <p:stCondLst>
                                            <p:cond delay="0"/>
                                          </p:stCondLst>
                                        </p:cTn>
                                        <p:tgtEl>
                                          <p:spTgt spid="25"/>
                                        </p:tgtEl>
                                        <p:attrNameLst>
                                          <p:attrName>style.visibility</p:attrName>
                                        </p:attrNameLst>
                                      </p:cBhvr>
                                      <p:to>
                                        <p:strVal val="visible"/>
                                      </p:to>
                                    </p:set>
                                    <p:anim calcmode="lin" valueType="num">
                                      <p:cBhvr additive="base">
                                        <p:cTn id="46" dur="700" fill="hold"/>
                                        <p:tgtEl>
                                          <p:spTgt spid="25"/>
                                        </p:tgtEl>
                                        <p:attrNameLst>
                                          <p:attrName>ppt_x</p:attrName>
                                        </p:attrNameLst>
                                      </p:cBhvr>
                                      <p:tavLst>
                                        <p:tav tm="0">
                                          <p:val>
                                            <p:strVal val="#ppt_x"/>
                                          </p:val>
                                        </p:tav>
                                        <p:tav tm="100000">
                                          <p:val>
                                            <p:strVal val="#ppt_x"/>
                                          </p:val>
                                        </p:tav>
                                      </p:tavLst>
                                    </p:anim>
                                    <p:anim calcmode="lin" valueType="num">
                                      <p:cBhvr additive="base">
                                        <p:cTn id="47" dur="700" fill="hold"/>
                                        <p:tgtEl>
                                          <p:spTgt spid="25"/>
                                        </p:tgtEl>
                                        <p:attrNameLst>
                                          <p:attrName>ppt_y</p:attrName>
                                        </p:attrNameLst>
                                      </p:cBhvr>
                                      <p:tavLst>
                                        <p:tav tm="0">
                                          <p:val>
                                            <p:strVal val="0-#ppt_h/2"/>
                                          </p:val>
                                        </p:tav>
                                        <p:tav tm="100000">
                                          <p:val>
                                            <p:strVal val="#ppt_y"/>
                                          </p:val>
                                        </p:tav>
                                      </p:tavLst>
                                    </p:anim>
                                  </p:childTnLst>
                                </p:cTn>
                              </p:par>
                              <p:par>
                                <p:cTn id="48" presetID="2" presetClass="entr" presetSubtype="1" decel="100000" fill="hold" nodeType="withEffect">
                                  <p:stCondLst>
                                    <p:cond delay="200"/>
                                  </p:stCondLst>
                                  <p:childTnLst>
                                    <p:set>
                                      <p:cBhvr>
                                        <p:cTn id="49" dur="1" fill="hold">
                                          <p:stCondLst>
                                            <p:cond delay="0"/>
                                          </p:stCondLst>
                                        </p:cTn>
                                        <p:tgtEl>
                                          <p:spTgt spid="39"/>
                                        </p:tgtEl>
                                        <p:attrNameLst>
                                          <p:attrName>style.visibility</p:attrName>
                                        </p:attrNameLst>
                                      </p:cBhvr>
                                      <p:to>
                                        <p:strVal val="visible"/>
                                      </p:to>
                                    </p:set>
                                    <p:anim calcmode="lin" valueType="num">
                                      <p:cBhvr additive="base">
                                        <p:cTn id="50" dur="700" fill="hold"/>
                                        <p:tgtEl>
                                          <p:spTgt spid="39"/>
                                        </p:tgtEl>
                                        <p:attrNameLst>
                                          <p:attrName>ppt_x</p:attrName>
                                        </p:attrNameLst>
                                      </p:cBhvr>
                                      <p:tavLst>
                                        <p:tav tm="0">
                                          <p:val>
                                            <p:strVal val="#ppt_x"/>
                                          </p:val>
                                        </p:tav>
                                        <p:tav tm="100000">
                                          <p:val>
                                            <p:strVal val="#ppt_x"/>
                                          </p:val>
                                        </p:tav>
                                      </p:tavLst>
                                    </p:anim>
                                    <p:anim calcmode="lin" valueType="num">
                                      <p:cBhvr additive="base">
                                        <p:cTn id="51" dur="700" fill="hold"/>
                                        <p:tgtEl>
                                          <p:spTgt spid="39"/>
                                        </p:tgtEl>
                                        <p:attrNameLst>
                                          <p:attrName>ppt_y</p:attrName>
                                        </p:attrNameLst>
                                      </p:cBhvr>
                                      <p:tavLst>
                                        <p:tav tm="0">
                                          <p:val>
                                            <p:strVal val="0-#ppt_h/2"/>
                                          </p:val>
                                        </p:tav>
                                        <p:tav tm="100000">
                                          <p:val>
                                            <p:strVal val="#ppt_y"/>
                                          </p:val>
                                        </p:tav>
                                      </p:tavLst>
                                    </p:anim>
                                  </p:childTnLst>
                                </p:cTn>
                              </p:par>
                              <p:par>
                                <p:cTn id="52" presetID="2" presetClass="entr" presetSubtype="1" decel="100000" fill="hold" nodeType="withEffect">
                                  <p:stCondLst>
                                    <p:cond delay="300"/>
                                  </p:stCondLst>
                                  <p:childTnLst>
                                    <p:set>
                                      <p:cBhvr>
                                        <p:cTn id="53" dur="1" fill="hold">
                                          <p:stCondLst>
                                            <p:cond delay="0"/>
                                          </p:stCondLst>
                                        </p:cTn>
                                        <p:tgtEl>
                                          <p:spTgt spid="19"/>
                                        </p:tgtEl>
                                        <p:attrNameLst>
                                          <p:attrName>style.visibility</p:attrName>
                                        </p:attrNameLst>
                                      </p:cBhvr>
                                      <p:to>
                                        <p:strVal val="visible"/>
                                      </p:to>
                                    </p:set>
                                    <p:anim calcmode="lin" valueType="num">
                                      <p:cBhvr additive="base">
                                        <p:cTn id="54" dur="700" fill="hold"/>
                                        <p:tgtEl>
                                          <p:spTgt spid="19"/>
                                        </p:tgtEl>
                                        <p:attrNameLst>
                                          <p:attrName>ppt_x</p:attrName>
                                        </p:attrNameLst>
                                      </p:cBhvr>
                                      <p:tavLst>
                                        <p:tav tm="0">
                                          <p:val>
                                            <p:strVal val="#ppt_x"/>
                                          </p:val>
                                        </p:tav>
                                        <p:tav tm="100000">
                                          <p:val>
                                            <p:strVal val="#ppt_x"/>
                                          </p:val>
                                        </p:tav>
                                      </p:tavLst>
                                    </p:anim>
                                    <p:anim calcmode="lin" valueType="num">
                                      <p:cBhvr additive="base">
                                        <p:cTn id="55" dur="700" fill="hold"/>
                                        <p:tgtEl>
                                          <p:spTgt spid="19"/>
                                        </p:tgtEl>
                                        <p:attrNameLst>
                                          <p:attrName>ppt_y</p:attrName>
                                        </p:attrNameLst>
                                      </p:cBhvr>
                                      <p:tavLst>
                                        <p:tav tm="0">
                                          <p:val>
                                            <p:strVal val="0-#ppt_h/2"/>
                                          </p:val>
                                        </p:tav>
                                        <p:tav tm="100000">
                                          <p:val>
                                            <p:strVal val="#ppt_y"/>
                                          </p:val>
                                        </p:tav>
                                      </p:tavLst>
                                    </p:anim>
                                  </p:childTnLst>
                                </p:cTn>
                              </p:par>
                              <p:par>
                                <p:cTn id="56" presetID="2" presetClass="entr" presetSubtype="1" decel="100000" fill="hold" nodeType="withEffect">
                                  <p:stCondLst>
                                    <p:cond delay="400"/>
                                  </p:stCondLst>
                                  <p:childTnLst>
                                    <p:set>
                                      <p:cBhvr>
                                        <p:cTn id="57" dur="1" fill="hold">
                                          <p:stCondLst>
                                            <p:cond delay="0"/>
                                          </p:stCondLst>
                                        </p:cTn>
                                        <p:tgtEl>
                                          <p:spTgt spid="38"/>
                                        </p:tgtEl>
                                        <p:attrNameLst>
                                          <p:attrName>style.visibility</p:attrName>
                                        </p:attrNameLst>
                                      </p:cBhvr>
                                      <p:to>
                                        <p:strVal val="visible"/>
                                      </p:to>
                                    </p:set>
                                    <p:anim calcmode="lin" valueType="num">
                                      <p:cBhvr additive="base">
                                        <p:cTn id="58" dur="700" fill="hold"/>
                                        <p:tgtEl>
                                          <p:spTgt spid="38"/>
                                        </p:tgtEl>
                                        <p:attrNameLst>
                                          <p:attrName>ppt_x</p:attrName>
                                        </p:attrNameLst>
                                      </p:cBhvr>
                                      <p:tavLst>
                                        <p:tav tm="0">
                                          <p:val>
                                            <p:strVal val="#ppt_x"/>
                                          </p:val>
                                        </p:tav>
                                        <p:tav tm="100000">
                                          <p:val>
                                            <p:strVal val="#ppt_x"/>
                                          </p:val>
                                        </p:tav>
                                      </p:tavLst>
                                    </p:anim>
                                    <p:anim calcmode="lin" valueType="num">
                                      <p:cBhvr additive="base">
                                        <p:cTn id="59" dur="700" fill="hold"/>
                                        <p:tgtEl>
                                          <p:spTgt spid="38"/>
                                        </p:tgtEl>
                                        <p:attrNameLst>
                                          <p:attrName>ppt_y</p:attrName>
                                        </p:attrNameLst>
                                      </p:cBhvr>
                                      <p:tavLst>
                                        <p:tav tm="0">
                                          <p:val>
                                            <p:strVal val="0-#ppt_h/2"/>
                                          </p:val>
                                        </p:tav>
                                        <p:tav tm="100000">
                                          <p:val>
                                            <p:strVal val="#ppt_y"/>
                                          </p:val>
                                        </p:tav>
                                      </p:tavLst>
                                    </p:anim>
                                  </p:childTnLst>
                                </p:cTn>
                              </p:par>
                              <p:par>
                                <p:cTn id="60" presetID="2" presetClass="entr" presetSubtype="1" decel="100000" fill="hold" nodeType="withEffect">
                                  <p:stCondLst>
                                    <p:cond delay="500"/>
                                  </p:stCondLst>
                                  <p:childTnLst>
                                    <p:set>
                                      <p:cBhvr>
                                        <p:cTn id="61" dur="1" fill="hold">
                                          <p:stCondLst>
                                            <p:cond delay="0"/>
                                          </p:stCondLst>
                                        </p:cTn>
                                        <p:tgtEl>
                                          <p:spTgt spid="36"/>
                                        </p:tgtEl>
                                        <p:attrNameLst>
                                          <p:attrName>style.visibility</p:attrName>
                                        </p:attrNameLst>
                                      </p:cBhvr>
                                      <p:to>
                                        <p:strVal val="visible"/>
                                      </p:to>
                                    </p:set>
                                    <p:anim calcmode="lin" valueType="num">
                                      <p:cBhvr additive="base">
                                        <p:cTn id="62" dur="700" fill="hold"/>
                                        <p:tgtEl>
                                          <p:spTgt spid="36"/>
                                        </p:tgtEl>
                                        <p:attrNameLst>
                                          <p:attrName>ppt_x</p:attrName>
                                        </p:attrNameLst>
                                      </p:cBhvr>
                                      <p:tavLst>
                                        <p:tav tm="0">
                                          <p:val>
                                            <p:strVal val="#ppt_x"/>
                                          </p:val>
                                        </p:tav>
                                        <p:tav tm="100000">
                                          <p:val>
                                            <p:strVal val="#ppt_x"/>
                                          </p:val>
                                        </p:tav>
                                      </p:tavLst>
                                    </p:anim>
                                    <p:anim calcmode="lin" valueType="num">
                                      <p:cBhvr additive="base">
                                        <p:cTn id="63" dur="700" fill="hold"/>
                                        <p:tgtEl>
                                          <p:spTgt spid="36"/>
                                        </p:tgtEl>
                                        <p:attrNameLst>
                                          <p:attrName>ppt_y</p:attrName>
                                        </p:attrNameLst>
                                      </p:cBhvr>
                                      <p:tavLst>
                                        <p:tav tm="0">
                                          <p:val>
                                            <p:strVal val="0-#ppt_h/2"/>
                                          </p:val>
                                        </p:tav>
                                        <p:tav tm="100000">
                                          <p:val>
                                            <p:strVal val="#ppt_y"/>
                                          </p:val>
                                        </p:tav>
                                      </p:tavLst>
                                    </p:anim>
                                  </p:childTnLst>
                                </p:cTn>
                              </p:par>
                              <p:par>
                                <p:cTn id="64" presetID="2" presetClass="entr" presetSubtype="1" decel="100000" fill="hold" nodeType="withEffect">
                                  <p:stCondLst>
                                    <p:cond delay="600"/>
                                  </p:stCondLst>
                                  <p:childTnLst>
                                    <p:set>
                                      <p:cBhvr>
                                        <p:cTn id="65" dur="1" fill="hold">
                                          <p:stCondLst>
                                            <p:cond delay="0"/>
                                          </p:stCondLst>
                                        </p:cTn>
                                        <p:tgtEl>
                                          <p:spTgt spid="33"/>
                                        </p:tgtEl>
                                        <p:attrNameLst>
                                          <p:attrName>style.visibility</p:attrName>
                                        </p:attrNameLst>
                                      </p:cBhvr>
                                      <p:to>
                                        <p:strVal val="visible"/>
                                      </p:to>
                                    </p:set>
                                    <p:anim calcmode="lin" valueType="num">
                                      <p:cBhvr additive="base">
                                        <p:cTn id="66" dur="700" fill="hold"/>
                                        <p:tgtEl>
                                          <p:spTgt spid="33"/>
                                        </p:tgtEl>
                                        <p:attrNameLst>
                                          <p:attrName>ppt_x</p:attrName>
                                        </p:attrNameLst>
                                      </p:cBhvr>
                                      <p:tavLst>
                                        <p:tav tm="0">
                                          <p:val>
                                            <p:strVal val="#ppt_x"/>
                                          </p:val>
                                        </p:tav>
                                        <p:tav tm="100000">
                                          <p:val>
                                            <p:strVal val="#ppt_x"/>
                                          </p:val>
                                        </p:tav>
                                      </p:tavLst>
                                    </p:anim>
                                    <p:anim calcmode="lin" valueType="num">
                                      <p:cBhvr additive="base">
                                        <p:cTn id="67" dur="700" fill="hold"/>
                                        <p:tgtEl>
                                          <p:spTgt spid="3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6" grpId="0" animBg="1"/>
      <p:bldP spid="16" grpId="1" animBg="1"/>
      <p:bldP spid="17" grpId="0" animBg="1"/>
      <p:bldP spid="17" grpId="1" animBg="1"/>
      <p:bldP spid="4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111740" y="207193"/>
            <a:ext cx="11719677" cy="723955"/>
          </a:xfrm>
          <a:prstGeom prst="rect">
            <a:avLst/>
          </a:prstGeom>
        </p:spPr>
        <p:txBody>
          <a:bodyPr vert="horz" wrap="square" lIns="143391" tIns="89619" rIns="143391" bIns="89619" rtlCol="0" anchor="b" anchorCtr="0">
            <a:spAutoFit/>
          </a:bodyPr>
          <a:lstStyle>
            <a:lvl1pPr algn="l" defTabSz="932742" rtl="0" eaLnBrk="1" latinLnBrk="0" hangingPunct="1">
              <a:lnSpc>
                <a:spcPct val="90000"/>
              </a:lnSpc>
              <a:spcBef>
                <a:spcPct val="0"/>
              </a:spcBef>
              <a:buNone/>
              <a:defRPr lang="en-US" sz="7200" b="0" kern="1200" cap="none" spc="-153" baseline="0">
                <a:ln w="3175">
                  <a:noFill/>
                </a:ln>
                <a:gradFill>
                  <a:gsLst>
                    <a:gs pos="25833">
                      <a:schemeClr val="tx1"/>
                    </a:gs>
                    <a:gs pos="36000">
                      <a:schemeClr val="tx1"/>
                    </a:gs>
                  </a:gsLst>
                  <a:lin ang="5400000" scaled="0"/>
                </a:gradFill>
                <a:effectLst/>
                <a:latin typeface="+mj-lt"/>
                <a:ea typeface="+mn-ea"/>
                <a:cs typeface="Arial" charset="0"/>
              </a:defRPr>
            </a:lvl1pPr>
          </a:lstStyle>
          <a:p>
            <a:r>
              <a:rPr sz="3920" dirty="0">
                <a:gradFill>
                  <a:gsLst>
                    <a:gs pos="25833">
                      <a:srgbClr val="EFEFEF"/>
                    </a:gs>
                    <a:gs pos="36000">
                      <a:srgbClr val="EFEFEF"/>
                    </a:gs>
                  </a:gsLst>
                  <a:lin ang="5400000" scaled="0"/>
                </a:gradFill>
              </a:rPr>
              <a:t>Microsoft Azure Multi-Factor Authentication flavors</a:t>
            </a:r>
          </a:p>
        </p:txBody>
      </p:sp>
      <p:sp>
        <p:nvSpPr>
          <p:cNvPr id="7" name="Title 2"/>
          <p:cNvSpPr txBox="1">
            <a:spLocks/>
          </p:cNvSpPr>
          <p:nvPr/>
        </p:nvSpPr>
        <p:spPr>
          <a:xfrm>
            <a:off x="2901044" y="1846943"/>
            <a:ext cx="9094883" cy="4235134"/>
          </a:xfrm>
          <a:prstGeom prst="rect">
            <a:avLst/>
          </a:prstGeom>
        </p:spPr>
        <p:txBody>
          <a:bodyPr vert="horz" wrap="square" lIns="143391" tIns="89619" rIns="143391" bIns="89619" rtlCol="0" anchor="b" anchorCtr="0">
            <a:spAutoFit/>
          </a:bodyPr>
          <a:lstStyle>
            <a:lvl1pPr algn="l" defTabSz="932742" rtl="0" eaLnBrk="1" latinLnBrk="0" hangingPunct="1">
              <a:lnSpc>
                <a:spcPct val="90000"/>
              </a:lnSpc>
              <a:spcBef>
                <a:spcPct val="0"/>
              </a:spcBef>
              <a:buNone/>
              <a:defRPr lang="en-US" sz="7200" b="0" kern="1200" cap="none" spc="-153" baseline="0">
                <a:ln w="3175">
                  <a:noFill/>
                </a:ln>
                <a:gradFill>
                  <a:gsLst>
                    <a:gs pos="25833">
                      <a:schemeClr val="tx1"/>
                    </a:gs>
                    <a:gs pos="36000">
                      <a:schemeClr val="tx1"/>
                    </a:gs>
                  </a:gsLst>
                  <a:lin ang="5400000" scaled="0"/>
                </a:gradFill>
                <a:effectLst/>
                <a:latin typeface="+mj-lt"/>
                <a:ea typeface="+mn-ea"/>
                <a:cs typeface="Arial" charset="0"/>
              </a:defRPr>
            </a:lvl1pPr>
          </a:lstStyle>
          <a:p>
            <a:pPr marL="560127" indent="-560127">
              <a:spcBef>
                <a:spcPct val="20000"/>
              </a:spcBef>
              <a:buClr>
                <a:srgbClr val="FFFFFF"/>
              </a:buClr>
              <a:buSzPct val="100000"/>
              <a:buFont typeface="Arial" panose="020B0604020202020204" pitchFamily="34" charset="0"/>
              <a:buChar char="•"/>
            </a:pPr>
            <a:r>
              <a:rPr sz="3136" spc="0" dirty="0">
                <a:solidFill>
                  <a:srgbClr val="FFFFFF"/>
                </a:solidFill>
              </a:rPr>
              <a:t>Azure Multi-Factor Authentication stand-alone</a:t>
            </a:r>
          </a:p>
          <a:p>
            <a:pPr>
              <a:spcBef>
                <a:spcPct val="20000"/>
              </a:spcBef>
              <a:buClr>
                <a:srgbClr val="FFFFFF"/>
              </a:buClr>
              <a:buSzPct val="100000"/>
            </a:pPr>
            <a:r>
              <a:rPr sz="3136" spc="0" dirty="0">
                <a:solidFill>
                  <a:srgbClr val="FFFFFF"/>
                </a:solidFill>
              </a:rPr>
              <a:t> </a:t>
            </a:r>
          </a:p>
          <a:p>
            <a:pPr marL="560127" indent="-560127">
              <a:spcBef>
                <a:spcPct val="20000"/>
              </a:spcBef>
              <a:buClr>
                <a:srgbClr val="FFFFFF"/>
              </a:buClr>
              <a:buSzPct val="100000"/>
              <a:buFont typeface="Arial" panose="020B0604020202020204" pitchFamily="34" charset="0"/>
              <a:buChar char="•"/>
            </a:pPr>
            <a:r>
              <a:rPr sz="3136" spc="0" dirty="0">
                <a:solidFill>
                  <a:srgbClr val="FFFFFF"/>
                </a:solidFill>
              </a:rPr>
              <a:t>Included in Azure Active Directory Premium</a:t>
            </a:r>
          </a:p>
          <a:p>
            <a:pPr>
              <a:spcBef>
                <a:spcPct val="20000"/>
              </a:spcBef>
              <a:buClr>
                <a:srgbClr val="FFFFFF"/>
              </a:buClr>
              <a:buSzPct val="100000"/>
            </a:pPr>
            <a:endParaRPr sz="3136" spc="0" dirty="0">
              <a:solidFill>
                <a:srgbClr val="FFFFFF"/>
              </a:solidFill>
            </a:endParaRPr>
          </a:p>
          <a:p>
            <a:pPr marL="560127" indent="-560127">
              <a:spcBef>
                <a:spcPct val="20000"/>
              </a:spcBef>
              <a:buClr>
                <a:srgbClr val="FFFFFF"/>
              </a:buClr>
              <a:buSzPct val="100000"/>
              <a:buFont typeface="Arial" panose="020B0604020202020204" pitchFamily="34" charset="0"/>
              <a:buChar char="•"/>
            </a:pPr>
            <a:r>
              <a:rPr sz="3136" spc="0" dirty="0">
                <a:solidFill>
                  <a:srgbClr val="FFFFFF"/>
                </a:solidFill>
              </a:rPr>
              <a:t>Free for Azure administrators</a:t>
            </a:r>
          </a:p>
          <a:p>
            <a:pPr>
              <a:spcBef>
                <a:spcPct val="20000"/>
              </a:spcBef>
              <a:buClr>
                <a:srgbClr val="FFFFFF"/>
              </a:buClr>
              <a:buSzPct val="100000"/>
            </a:pPr>
            <a:endParaRPr sz="3136" spc="0" dirty="0">
              <a:solidFill>
                <a:srgbClr val="FFFFFF"/>
              </a:solidFill>
            </a:endParaRPr>
          </a:p>
          <a:p>
            <a:pPr marL="560127" indent="-560127">
              <a:spcBef>
                <a:spcPct val="20000"/>
              </a:spcBef>
              <a:buClr>
                <a:srgbClr val="FFFFFF"/>
              </a:buClr>
              <a:buSzPct val="100000"/>
              <a:buFont typeface="Arial" panose="020B0604020202020204" pitchFamily="34" charset="0"/>
              <a:buChar char="•"/>
            </a:pPr>
            <a:r>
              <a:rPr sz="3136" spc="0" dirty="0">
                <a:solidFill>
                  <a:srgbClr val="FFFFFF"/>
                </a:solidFill>
              </a:rPr>
              <a:t>A subset of Azure MFA functionality included in Office 365</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243" y="2159397"/>
            <a:ext cx="2399497" cy="2669103"/>
          </a:xfrm>
          <a:prstGeom prst="rect">
            <a:avLst/>
          </a:prstGeom>
          <a:solidFill>
            <a:srgbClr val="00188F"/>
          </a:solidFill>
        </p:spPr>
      </p:pic>
    </p:spTree>
    <p:extLst>
      <p:ext uri="{BB962C8B-B14F-4D97-AF65-F5344CB8AC3E}">
        <p14:creationId xmlns:p14="http://schemas.microsoft.com/office/powerpoint/2010/main" val="4002349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990" y="1380"/>
            <a:ext cx="10509879" cy="827686"/>
          </a:xfrm>
        </p:spPr>
        <p:txBody>
          <a:bodyPr>
            <a:normAutofit/>
          </a:bodyPr>
          <a:lstStyle/>
          <a:p>
            <a:r>
              <a:rPr lang="en-US" sz="2399" dirty="0"/>
              <a:t>Azure MFA vs MFA for Office 365</a:t>
            </a:r>
          </a:p>
        </p:txBody>
      </p:sp>
      <p:graphicFrame>
        <p:nvGraphicFramePr>
          <p:cNvPr id="3" name="Table 2"/>
          <p:cNvGraphicFramePr>
            <a:graphicFrameLocks noGrp="1"/>
          </p:cNvGraphicFramePr>
          <p:nvPr>
            <p:extLst/>
          </p:nvPr>
        </p:nvGraphicFramePr>
        <p:xfrm>
          <a:off x="186767" y="568408"/>
          <a:ext cx="11560390" cy="6277980"/>
        </p:xfrm>
        <a:graphic>
          <a:graphicData uri="http://schemas.openxmlformats.org/drawingml/2006/table">
            <a:tbl>
              <a:tblPr firstRow="1" bandRow="1">
                <a:tableStyleId>{5C22544A-7EE6-4342-B048-85BDC9FD1C3A}</a:tableStyleId>
              </a:tblPr>
              <a:tblGrid>
                <a:gridCol w="6267324">
                  <a:extLst>
                    <a:ext uri="{9D8B030D-6E8A-4147-A177-3AD203B41FA5}">
                      <a16:colId xmlns:a16="http://schemas.microsoft.com/office/drawing/2014/main" val="185762115"/>
                    </a:ext>
                  </a:extLst>
                </a:gridCol>
                <a:gridCol w="2500307">
                  <a:extLst>
                    <a:ext uri="{9D8B030D-6E8A-4147-A177-3AD203B41FA5}">
                      <a16:colId xmlns:a16="http://schemas.microsoft.com/office/drawing/2014/main" val="746732719"/>
                    </a:ext>
                  </a:extLst>
                </a:gridCol>
                <a:gridCol w="2792759">
                  <a:extLst>
                    <a:ext uri="{9D8B030D-6E8A-4147-A177-3AD203B41FA5}">
                      <a16:colId xmlns:a16="http://schemas.microsoft.com/office/drawing/2014/main" val="3326958993"/>
                    </a:ext>
                  </a:extLst>
                </a:gridCol>
              </a:tblGrid>
              <a:tr h="570643">
                <a:tc>
                  <a:txBody>
                    <a:bodyPr/>
                    <a:lstStyle/>
                    <a:p>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MFA for</a:t>
                      </a:r>
                      <a:r>
                        <a:rPr lang="en-US" sz="1600" baseline="0" dirty="0" smtClean="0">
                          <a:solidFill>
                            <a:srgbClr val="00188F"/>
                          </a:solidFill>
                        </a:rPr>
                        <a:t> Office 365</a:t>
                      </a: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 Azure Multi-Factor</a:t>
                      </a:r>
                      <a:r>
                        <a:rPr lang="en-US" sz="1600" baseline="0" dirty="0" smtClean="0">
                          <a:solidFill>
                            <a:srgbClr val="00188F"/>
                          </a:solidFill>
                        </a:rPr>
                        <a:t> Authentication</a:t>
                      </a:r>
                      <a:endParaRPr lang="en-US" sz="1600" dirty="0" smtClean="0">
                        <a:solidFill>
                          <a:srgbClr val="00188F"/>
                        </a:solidFill>
                      </a:endParaRPr>
                    </a:p>
                  </a:txBody>
                  <a:tcPr marL="91390" marR="91390" marT="45695" marB="45695"/>
                </a:tc>
                <a:extLst>
                  <a:ext uri="{0D108BD9-81ED-4DB2-BD59-A6C34878D82A}">
                    <a16:rowId xmlns:a16="http://schemas.microsoft.com/office/drawing/2014/main" val="1444995033"/>
                  </a:ext>
                </a:extLst>
              </a:tr>
              <a:tr h="330352">
                <a:tc>
                  <a:txBody>
                    <a:bodyPr/>
                    <a:lstStyle/>
                    <a:p>
                      <a:r>
                        <a:rPr lang="en-US" sz="1600" dirty="0" smtClean="0">
                          <a:solidFill>
                            <a:srgbClr val="00188F"/>
                          </a:solidFill>
                        </a:rPr>
                        <a:t>Administrators can Enable/Enforce</a:t>
                      </a:r>
                      <a:r>
                        <a:rPr lang="en-US" sz="1600" baseline="0" dirty="0" smtClean="0">
                          <a:solidFill>
                            <a:srgbClr val="00188F"/>
                          </a:solidFill>
                        </a:rPr>
                        <a:t> MFA to end-users</a:t>
                      </a: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p>
                  </a:txBody>
                  <a:tcPr marL="91390" marR="91390" marT="45695" marB="45695"/>
                </a:tc>
                <a:extLst>
                  <a:ext uri="{0D108BD9-81ED-4DB2-BD59-A6C34878D82A}">
                    <a16:rowId xmlns:a16="http://schemas.microsoft.com/office/drawing/2014/main" val="566003273"/>
                  </a:ext>
                </a:extLst>
              </a:tr>
              <a:tr h="33035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00188F"/>
                          </a:solidFill>
                        </a:rPr>
                        <a:t>Use</a:t>
                      </a:r>
                      <a:r>
                        <a:rPr lang="en-US" sz="1600" baseline="0" dirty="0" smtClean="0">
                          <a:solidFill>
                            <a:srgbClr val="00188F"/>
                          </a:solidFill>
                        </a:rPr>
                        <a:t> Mobile app (online and OTP) as second authentication factor</a:t>
                      </a:r>
                      <a:endParaRPr lang="en-US" sz="1600" dirty="0" smtClean="0">
                        <a:solidFill>
                          <a:srgbClr val="00188F"/>
                        </a:solidFill>
                      </a:endParaRPr>
                    </a:p>
                  </a:txBody>
                  <a:tcPr marL="91390" marR="91390" marT="45695" marB="45695"/>
                </a:tc>
                <a:tc>
                  <a:txBody>
                    <a:bodyPr/>
                    <a:lstStyle/>
                    <a:p>
                      <a:pPr algn="ctr"/>
                      <a:r>
                        <a:rPr lang="en-US" sz="1600" dirty="0" smtClean="0">
                          <a:solidFill>
                            <a:srgbClr val="00188F"/>
                          </a:solidFill>
                        </a:rPr>
                        <a:t>Yes</a:t>
                      </a: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p>
                  </a:txBody>
                  <a:tcPr marL="91390" marR="91390" marT="45695" marB="45695"/>
                </a:tc>
                <a:extLst>
                  <a:ext uri="{0D108BD9-81ED-4DB2-BD59-A6C34878D82A}">
                    <a16:rowId xmlns:a16="http://schemas.microsoft.com/office/drawing/2014/main" val="2604940762"/>
                  </a:ext>
                </a:extLst>
              </a:tr>
              <a:tr h="330352">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smtClean="0">
                          <a:solidFill>
                            <a:srgbClr val="00188F"/>
                          </a:solidFill>
                        </a:rPr>
                        <a:t>Use</a:t>
                      </a:r>
                      <a:r>
                        <a:rPr lang="en-US" sz="1600" baseline="0" dirty="0" smtClean="0">
                          <a:solidFill>
                            <a:srgbClr val="00188F"/>
                          </a:solidFill>
                        </a:rPr>
                        <a:t> Phone call as second authentication factor</a:t>
                      </a: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p>
                  </a:txBody>
                  <a:tcPr marL="91390" marR="91390" marT="45695" marB="45695"/>
                </a:tc>
                <a:extLst>
                  <a:ext uri="{0D108BD9-81ED-4DB2-BD59-A6C34878D82A}">
                    <a16:rowId xmlns:a16="http://schemas.microsoft.com/office/drawing/2014/main" val="2867419090"/>
                  </a:ext>
                </a:extLst>
              </a:tr>
              <a:tr h="33035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00188F"/>
                          </a:solidFill>
                        </a:rPr>
                        <a:t>Use</a:t>
                      </a:r>
                      <a:r>
                        <a:rPr lang="en-US" sz="1600" baseline="0" dirty="0" smtClean="0">
                          <a:solidFill>
                            <a:srgbClr val="00188F"/>
                          </a:solidFill>
                        </a:rPr>
                        <a:t> SMS as second authentication factor</a:t>
                      </a: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p>
                  </a:txBody>
                  <a:tcPr marL="91390" marR="91390" marT="45695" marB="45695"/>
                </a:tc>
                <a:extLst>
                  <a:ext uri="{0D108BD9-81ED-4DB2-BD59-A6C34878D82A}">
                    <a16:rowId xmlns:a16="http://schemas.microsoft.com/office/drawing/2014/main" val="3491931238"/>
                  </a:ext>
                </a:extLst>
              </a:tr>
              <a:tr h="330352">
                <a:tc>
                  <a:txBody>
                    <a:bodyPr/>
                    <a:lstStyle/>
                    <a:p>
                      <a:r>
                        <a:rPr lang="en-US" sz="1600" dirty="0" smtClean="0">
                          <a:solidFill>
                            <a:srgbClr val="00188F"/>
                          </a:solidFill>
                        </a:rPr>
                        <a:t>Application</a:t>
                      </a:r>
                      <a:r>
                        <a:rPr lang="en-US" sz="1600" baseline="0" dirty="0" smtClean="0">
                          <a:solidFill>
                            <a:srgbClr val="00188F"/>
                          </a:solidFill>
                        </a:rPr>
                        <a:t> passwords for non-browser clients (e.g. Outlook, Lync)</a:t>
                      </a: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p>
                  </a:txBody>
                  <a:tcPr marL="91390" marR="91390" marT="45695" marB="45695"/>
                </a:tc>
                <a:extLst>
                  <a:ext uri="{0D108BD9-81ED-4DB2-BD59-A6C34878D82A}">
                    <a16:rowId xmlns:a16="http://schemas.microsoft.com/office/drawing/2014/main" val="1209336828"/>
                  </a:ext>
                </a:extLst>
              </a:tr>
              <a:tr h="330352">
                <a:tc>
                  <a:txBody>
                    <a:bodyPr/>
                    <a:lstStyle/>
                    <a:p>
                      <a:r>
                        <a:rPr lang="en-US" sz="1600" dirty="0" smtClean="0">
                          <a:solidFill>
                            <a:srgbClr val="00188F"/>
                          </a:solidFill>
                        </a:rPr>
                        <a:t>Default Microsoft greetings during authentication phone calls</a:t>
                      </a: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p>
                  </a:txBody>
                  <a:tcPr marL="91390" marR="91390" marT="45695" marB="45695"/>
                </a:tc>
                <a:extLst>
                  <a:ext uri="{0D108BD9-81ED-4DB2-BD59-A6C34878D82A}">
                    <a16:rowId xmlns:a16="http://schemas.microsoft.com/office/drawing/2014/main" val="2609908788"/>
                  </a:ext>
                </a:extLst>
              </a:tr>
              <a:tr h="33035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00188F"/>
                          </a:solidFill>
                        </a:rPr>
                        <a:t>Remember</a:t>
                      </a:r>
                      <a:r>
                        <a:rPr lang="en-US" sz="1600" baseline="0" dirty="0" smtClean="0">
                          <a:solidFill>
                            <a:srgbClr val="00188F"/>
                          </a:solidFill>
                        </a:rPr>
                        <a:t> Me (Public Preview coming in Q2)*</a:t>
                      </a:r>
                      <a:endParaRPr lang="en-US" sz="1600" dirty="0" smtClean="0">
                        <a:solidFill>
                          <a:srgbClr val="00188F"/>
                        </a:solidFill>
                      </a:endParaRPr>
                    </a:p>
                  </a:txBody>
                  <a:tcPr marL="91390" marR="91390" marT="45695" marB="45695"/>
                </a:tc>
                <a:tc>
                  <a:txBody>
                    <a:bodyPr/>
                    <a:lstStyle/>
                    <a:p>
                      <a:pPr algn="ctr"/>
                      <a:r>
                        <a:rPr lang="en-US" sz="1600" dirty="0" smtClean="0">
                          <a:solidFill>
                            <a:srgbClr val="00188F"/>
                          </a:solidFill>
                        </a:rPr>
                        <a:t>Yes</a:t>
                      </a: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p>
                  </a:txBody>
                  <a:tcPr marL="91390" marR="91390" marT="45695" marB="45695"/>
                </a:tc>
                <a:extLst>
                  <a:ext uri="{0D108BD9-81ED-4DB2-BD59-A6C34878D82A}">
                    <a16:rowId xmlns:a16="http://schemas.microsoft.com/office/drawing/2014/main" val="2752140715"/>
                  </a:ext>
                </a:extLst>
              </a:tr>
              <a:tr h="33035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00188F"/>
                          </a:solidFill>
                        </a:rPr>
                        <a:t>Custom</a:t>
                      </a:r>
                      <a:r>
                        <a:rPr lang="en-US" sz="1600" baseline="0" dirty="0" smtClean="0">
                          <a:solidFill>
                            <a:srgbClr val="00188F"/>
                          </a:solidFill>
                        </a:rPr>
                        <a:t> </a:t>
                      </a:r>
                      <a:r>
                        <a:rPr lang="en-US" sz="1600" dirty="0" smtClean="0">
                          <a:solidFill>
                            <a:srgbClr val="00188F"/>
                          </a:solidFill>
                        </a:rPr>
                        <a:t>greetings during authentication phone calls</a:t>
                      </a:r>
                    </a:p>
                  </a:txBody>
                  <a:tcPr marL="91390" marR="91390" marT="45695" marB="45695"/>
                </a:tc>
                <a:tc>
                  <a:txBody>
                    <a:bodyPr/>
                    <a:lstStyle/>
                    <a:p>
                      <a:pPr algn="ct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p>
                  </a:txBody>
                  <a:tcPr marL="91390" marR="91390" marT="45695" marB="45695"/>
                </a:tc>
                <a:extLst>
                  <a:ext uri="{0D108BD9-81ED-4DB2-BD59-A6C34878D82A}">
                    <a16:rowId xmlns:a16="http://schemas.microsoft.com/office/drawing/2014/main" val="986988495"/>
                  </a:ext>
                </a:extLst>
              </a:tr>
              <a:tr h="330352">
                <a:tc>
                  <a:txBody>
                    <a:bodyPr/>
                    <a:lstStyle/>
                    <a:p>
                      <a:r>
                        <a:rPr lang="en-US" sz="1600" dirty="0" smtClean="0">
                          <a:solidFill>
                            <a:srgbClr val="00188F"/>
                          </a:solidFill>
                        </a:rPr>
                        <a:t>Fraud alert</a:t>
                      </a:r>
                      <a:endParaRPr lang="en-US" sz="1600" dirty="0">
                        <a:solidFill>
                          <a:srgbClr val="00188F"/>
                        </a:solidFill>
                      </a:endParaRPr>
                    </a:p>
                  </a:txBody>
                  <a:tcPr marL="91390" marR="91390" marT="45695" marB="45695"/>
                </a:tc>
                <a:tc>
                  <a:txBody>
                    <a:bodyPr/>
                    <a:lstStyle/>
                    <a:p>
                      <a:pPr algn="ct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p>
                  </a:txBody>
                  <a:tcPr marL="91390" marR="91390" marT="45695" marB="45695"/>
                </a:tc>
                <a:extLst>
                  <a:ext uri="{0D108BD9-81ED-4DB2-BD59-A6C34878D82A}">
                    <a16:rowId xmlns:a16="http://schemas.microsoft.com/office/drawing/2014/main" val="1952535507"/>
                  </a:ext>
                </a:extLst>
              </a:tr>
              <a:tr h="330352">
                <a:tc>
                  <a:txBody>
                    <a:bodyPr/>
                    <a:lstStyle/>
                    <a:p>
                      <a:r>
                        <a:rPr lang="en-US" sz="1600" dirty="0" smtClean="0">
                          <a:solidFill>
                            <a:srgbClr val="00188F"/>
                          </a:solidFill>
                        </a:rPr>
                        <a:t>MFA</a:t>
                      </a:r>
                      <a:r>
                        <a:rPr lang="en-US" sz="1600" baseline="0" dirty="0" smtClean="0">
                          <a:solidFill>
                            <a:srgbClr val="00188F"/>
                          </a:solidFill>
                        </a:rPr>
                        <a:t> SDK</a:t>
                      </a:r>
                      <a:endParaRPr lang="en-US" sz="1600" dirty="0">
                        <a:solidFill>
                          <a:srgbClr val="00188F"/>
                        </a:solidFill>
                      </a:endParaRPr>
                    </a:p>
                  </a:txBody>
                  <a:tcPr marL="91390" marR="91390" marT="45695" marB="45695"/>
                </a:tc>
                <a:tc>
                  <a:txBody>
                    <a:bodyPr/>
                    <a:lstStyle/>
                    <a:p>
                      <a:pPr algn="ct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p>
                  </a:txBody>
                  <a:tcPr marL="91390" marR="91390" marT="45695" marB="45695"/>
                </a:tc>
                <a:extLst>
                  <a:ext uri="{0D108BD9-81ED-4DB2-BD59-A6C34878D82A}">
                    <a16:rowId xmlns:a16="http://schemas.microsoft.com/office/drawing/2014/main" val="447567858"/>
                  </a:ext>
                </a:extLst>
              </a:tr>
              <a:tr h="330352">
                <a:tc>
                  <a:txBody>
                    <a:bodyPr/>
                    <a:lstStyle/>
                    <a:p>
                      <a:r>
                        <a:rPr lang="en-US" sz="1600" dirty="0" smtClean="0">
                          <a:solidFill>
                            <a:srgbClr val="00188F"/>
                          </a:solidFill>
                        </a:rPr>
                        <a:t>Security Reports</a:t>
                      </a:r>
                      <a:endParaRPr lang="en-US" sz="1600" dirty="0">
                        <a:solidFill>
                          <a:srgbClr val="00188F"/>
                        </a:solidFill>
                      </a:endParaRPr>
                    </a:p>
                  </a:txBody>
                  <a:tcPr marL="91390" marR="91390" marT="45695" marB="45695"/>
                </a:tc>
                <a:tc>
                  <a:txBody>
                    <a:bodyPr/>
                    <a:lstStyle/>
                    <a:p>
                      <a:pPr algn="ct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 </a:t>
                      </a:r>
                    </a:p>
                  </a:txBody>
                  <a:tcPr marL="91390" marR="91390" marT="45695" marB="45695"/>
                </a:tc>
                <a:extLst>
                  <a:ext uri="{0D108BD9-81ED-4DB2-BD59-A6C34878D82A}">
                    <a16:rowId xmlns:a16="http://schemas.microsoft.com/office/drawing/2014/main" val="2352521664"/>
                  </a:ext>
                </a:extLst>
              </a:tr>
              <a:tr h="330352">
                <a:tc>
                  <a:txBody>
                    <a:bodyPr/>
                    <a:lstStyle/>
                    <a:p>
                      <a:r>
                        <a:rPr lang="en-US" sz="1600" baseline="0" dirty="0" smtClean="0">
                          <a:solidFill>
                            <a:srgbClr val="00188F"/>
                          </a:solidFill>
                        </a:rPr>
                        <a:t>MFA for on-premises applications/ MFA Server.</a:t>
                      </a:r>
                      <a:endParaRPr lang="en-US" sz="1600" dirty="0">
                        <a:solidFill>
                          <a:srgbClr val="00188F"/>
                        </a:solidFill>
                      </a:endParaRPr>
                    </a:p>
                  </a:txBody>
                  <a:tcPr marL="91390" marR="91390" marT="45695" marB="45695"/>
                </a:tc>
                <a:tc>
                  <a:txBody>
                    <a:bodyPr/>
                    <a:lstStyle/>
                    <a:p>
                      <a:pPr algn="ct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p>
                  </a:txBody>
                  <a:tcPr marL="91390" marR="91390" marT="45695" marB="45695"/>
                </a:tc>
                <a:extLst>
                  <a:ext uri="{0D108BD9-81ED-4DB2-BD59-A6C34878D82A}">
                    <a16:rowId xmlns:a16="http://schemas.microsoft.com/office/drawing/2014/main" val="430543275"/>
                  </a:ext>
                </a:extLst>
              </a:tr>
              <a:tr h="33035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baseline="0" dirty="0" smtClean="0">
                          <a:solidFill>
                            <a:srgbClr val="00188F"/>
                          </a:solidFill>
                          <a:latin typeface="+mn-lt"/>
                          <a:ea typeface="+mn-ea"/>
                          <a:cs typeface="+mn-cs"/>
                        </a:rPr>
                        <a:t>One-Time Bypass</a:t>
                      </a:r>
                    </a:p>
                  </a:txBody>
                  <a:tcPr marL="91390" marR="91390" marT="45695" marB="45695"/>
                </a:tc>
                <a:tc>
                  <a:txBody>
                    <a:bodyPr/>
                    <a:lstStyle/>
                    <a:p>
                      <a:pPr algn="ct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p>
                  </a:txBody>
                  <a:tcPr marL="91390" marR="91390" marT="45695" marB="45695"/>
                </a:tc>
                <a:extLst>
                  <a:ext uri="{0D108BD9-81ED-4DB2-BD59-A6C34878D82A}">
                    <a16:rowId xmlns:a16="http://schemas.microsoft.com/office/drawing/2014/main" val="4267808767"/>
                  </a:ext>
                </a:extLst>
              </a:tr>
              <a:tr h="330352">
                <a:tc>
                  <a:txBody>
                    <a:bodyPr/>
                    <a:lstStyle/>
                    <a:p>
                      <a:r>
                        <a:rPr lang="en-US" sz="1600" dirty="0" smtClean="0">
                          <a:solidFill>
                            <a:srgbClr val="00188F"/>
                          </a:solidFill>
                        </a:rPr>
                        <a:t>Block/Unblock Users</a:t>
                      </a:r>
                      <a:endParaRPr lang="en-US" sz="1600" dirty="0">
                        <a:solidFill>
                          <a:srgbClr val="00188F"/>
                        </a:solidFill>
                      </a:endParaRPr>
                    </a:p>
                  </a:txBody>
                  <a:tcPr marL="91390" marR="91390" marT="45695" marB="45695"/>
                </a:tc>
                <a:tc>
                  <a:txBody>
                    <a:bodyPr/>
                    <a:lstStyle/>
                    <a:p>
                      <a:pPr algn="ct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p>
                  </a:txBody>
                  <a:tcPr marL="91390" marR="91390" marT="45695" marB="45695"/>
                </a:tc>
                <a:extLst>
                  <a:ext uri="{0D108BD9-81ED-4DB2-BD59-A6C34878D82A}">
                    <a16:rowId xmlns:a16="http://schemas.microsoft.com/office/drawing/2014/main" val="3644732252"/>
                  </a:ext>
                </a:extLst>
              </a:tr>
              <a:tr h="330352">
                <a:tc>
                  <a:txBody>
                    <a:bodyPr/>
                    <a:lstStyle/>
                    <a:p>
                      <a:r>
                        <a:rPr lang="en-US" sz="1600" kern="1200" dirty="0" smtClean="0">
                          <a:solidFill>
                            <a:srgbClr val="00188F"/>
                          </a:solidFill>
                          <a:latin typeface="+mn-lt"/>
                          <a:ea typeface="+mn-ea"/>
                          <a:cs typeface="+mn-cs"/>
                        </a:rPr>
                        <a:t>Customizable caller ID for authentication phone calls</a:t>
                      </a:r>
                      <a:endParaRPr lang="en-US" sz="1600" kern="1200" dirty="0">
                        <a:solidFill>
                          <a:srgbClr val="00188F"/>
                        </a:solidFill>
                        <a:latin typeface="+mn-lt"/>
                        <a:ea typeface="+mn-ea"/>
                        <a:cs typeface="+mn-cs"/>
                      </a:endParaRPr>
                    </a:p>
                  </a:txBody>
                  <a:tcPr marL="91390" marR="91390" marT="45695" marB="45695"/>
                </a:tc>
                <a:tc>
                  <a:txBody>
                    <a:bodyPr/>
                    <a:lstStyle/>
                    <a:p>
                      <a:pPr algn="ct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p>
                  </a:txBody>
                  <a:tcPr marL="91390" marR="91390" marT="45695" marB="45695"/>
                </a:tc>
                <a:extLst>
                  <a:ext uri="{0D108BD9-81ED-4DB2-BD59-A6C34878D82A}">
                    <a16:rowId xmlns:a16="http://schemas.microsoft.com/office/drawing/2014/main" val="1776603589"/>
                  </a:ext>
                </a:extLst>
              </a:tr>
              <a:tr h="330352">
                <a:tc>
                  <a:txBody>
                    <a:bodyPr/>
                    <a:lstStyle/>
                    <a:p>
                      <a:pPr marL="0" algn="l" defTabSz="914400" rtl="0" eaLnBrk="1" latinLnBrk="0" hangingPunct="1"/>
                      <a:r>
                        <a:rPr lang="en-US" sz="1600" kern="1200" dirty="0" smtClean="0">
                          <a:solidFill>
                            <a:srgbClr val="00188F"/>
                          </a:solidFill>
                          <a:latin typeface="+mn-lt"/>
                          <a:ea typeface="+mn-ea"/>
                          <a:cs typeface="+mn-cs"/>
                        </a:rPr>
                        <a:t>Event Confirmation</a:t>
                      </a:r>
                      <a:endParaRPr lang="en-US" sz="1600" kern="1200" dirty="0">
                        <a:solidFill>
                          <a:srgbClr val="00188F"/>
                        </a:solidFill>
                        <a:latin typeface="+mn-lt"/>
                        <a:ea typeface="+mn-ea"/>
                        <a:cs typeface="+mn-cs"/>
                      </a:endParaRPr>
                    </a:p>
                  </a:txBody>
                  <a:tcPr marL="91390" marR="91390" marT="45695" marB="45695"/>
                </a:tc>
                <a:tc>
                  <a:txBody>
                    <a:bodyPr/>
                    <a:lstStyle/>
                    <a:p>
                      <a:pPr algn="ct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p>
                  </a:txBody>
                  <a:tcPr marL="91390" marR="91390" marT="45695" marB="45695"/>
                </a:tc>
                <a:extLst>
                  <a:ext uri="{0D108BD9-81ED-4DB2-BD59-A6C34878D82A}">
                    <a16:rowId xmlns:a16="http://schemas.microsoft.com/office/drawing/2014/main" val="577763265"/>
                  </a:ext>
                </a:extLst>
              </a:tr>
              <a:tr h="330352">
                <a:tc>
                  <a:txBody>
                    <a:bodyPr/>
                    <a:lstStyle/>
                    <a:p>
                      <a:r>
                        <a:rPr lang="en-US" sz="1600" b="0" dirty="0" smtClean="0">
                          <a:solidFill>
                            <a:srgbClr val="00188F"/>
                          </a:solidFill>
                        </a:rPr>
                        <a:t>IP Whitelist</a:t>
                      </a:r>
                      <a:endParaRPr lang="en-US" sz="1600" b="0" dirty="0">
                        <a:solidFill>
                          <a:srgbClr val="00188F"/>
                        </a:solidFill>
                      </a:endParaRPr>
                    </a:p>
                  </a:txBody>
                  <a:tcPr marL="91390" marR="91390" marT="45695" marB="45695"/>
                </a:tc>
                <a:tc>
                  <a:txBody>
                    <a:bodyPr/>
                    <a:lstStyle/>
                    <a:p>
                      <a:pPr algn="ctr"/>
                      <a:endParaRPr lang="en-US" sz="1600" dirty="0">
                        <a:solidFill>
                          <a:srgbClr val="00188F"/>
                        </a:solidFill>
                      </a:endParaRPr>
                    </a:p>
                  </a:txBody>
                  <a:tcPr marL="91390" marR="91390" marT="45695" marB="45695"/>
                </a:tc>
                <a:tc>
                  <a:txBody>
                    <a:bodyPr/>
                    <a:lstStyle/>
                    <a:p>
                      <a:pPr algn="ctr"/>
                      <a:r>
                        <a:rPr lang="en-US" sz="1600" dirty="0" smtClean="0">
                          <a:solidFill>
                            <a:srgbClr val="00188F"/>
                          </a:solidFill>
                        </a:rPr>
                        <a:t>Yes</a:t>
                      </a:r>
                    </a:p>
                  </a:txBody>
                  <a:tcPr marL="91390" marR="91390" marT="45695" marB="45695"/>
                </a:tc>
                <a:extLst>
                  <a:ext uri="{0D108BD9-81ED-4DB2-BD59-A6C34878D82A}">
                    <a16:rowId xmlns:a16="http://schemas.microsoft.com/office/drawing/2014/main" val="1405692445"/>
                  </a:ext>
                </a:extLst>
              </a:tr>
            </a:tbl>
          </a:graphicData>
        </a:graphic>
      </p:graphicFrame>
    </p:spTree>
    <p:extLst>
      <p:ext uri="{BB962C8B-B14F-4D97-AF65-F5344CB8AC3E}">
        <p14:creationId xmlns:p14="http://schemas.microsoft.com/office/powerpoint/2010/main" val="15475331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zure Multi-Factor Authentication Server</a:t>
            </a:r>
            <a:endParaRPr lang="en-US" dirty="0"/>
          </a:p>
        </p:txBody>
      </p:sp>
      <p:sp>
        <p:nvSpPr>
          <p:cNvPr id="3" name="Content Placeholder 2"/>
          <p:cNvSpPr>
            <a:spLocks noGrp="1"/>
          </p:cNvSpPr>
          <p:nvPr>
            <p:ph idx="1"/>
          </p:nvPr>
        </p:nvSpPr>
        <p:spPr/>
        <p:txBody>
          <a:bodyPr/>
          <a:lstStyle/>
          <a:p>
            <a:r>
              <a:rPr lang="en-US" dirty="0" smtClean="0"/>
              <a:t>Provide Azure multi-factor authentication to on-premises applications.</a:t>
            </a:r>
          </a:p>
          <a:p>
            <a:r>
              <a:rPr lang="en-US" dirty="0" smtClean="0"/>
              <a:t>Install locally and link to Azure subscription</a:t>
            </a:r>
          </a:p>
          <a:p>
            <a:r>
              <a:rPr lang="en-US" dirty="0" smtClean="0"/>
              <a:t>Supports</a:t>
            </a:r>
            <a:r>
              <a:rPr lang="en-US" dirty="0"/>
              <a:t> </a:t>
            </a:r>
            <a:r>
              <a:rPr lang="en-US" dirty="0" smtClean="0"/>
              <a:t>extending</a:t>
            </a:r>
          </a:p>
          <a:p>
            <a:pPr lvl="1"/>
            <a:r>
              <a:rPr lang="en-US" dirty="0" smtClean="0"/>
              <a:t>IIS</a:t>
            </a:r>
          </a:p>
          <a:p>
            <a:pPr lvl="1"/>
            <a:r>
              <a:rPr lang="en-US" dirty="0" smtClean="0"/>
              <a:t>RADIUS</a:t>
            </a:r>
          </a:p>
          <a:p>
            <a:pPr lvl="1"/>
            <a:r>
              <a:rPr lang="en-US" dirty="0" smtClean="0"/>
              <a:t>Windows Authentication</a:t>
            </a:r>
          </a:p>
          <a:p>
            <a:pPr lvl="1"/>
            <a:r>
              <a:rPr lang="en-US" dirty="0" smtClean="0"/>
              <a:t>LDAP Authentication</a:t>
            </a:r>
          </a:p>
        </p:txBody>
      </p:sp>
    </p:spTree>
    <p:extLst>
      <p:ext uri="{BB962C8B-B14F-4D97-AF65-F5344CB8AC3E}">
        <p14:creationId xmlns:p14="http://schemas.microsoft.com/office/powerpoint/2010/main" val="859943802"/>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DIUS</a:t>
            </a:r>
            <a:endParaRPr lang="en-US" dirty="0"/>
          </a:p>
        </p:txBody>
      </p:sp>
      <p:sp>
        <p:nvSpPr>
          <p:cNvPr id="3" name="Content Placeholder 2"/>
          <p:cNvSpPr>
            <a:spLocks noGrp="1"/>
          </p:cNvSpPr>
          <p:nvPr>
            <p:ph idx="1"/>
          </p:nvPr>
        </p:nvSpPr>
        <p:spPr/>
        <p:txBody>
          <a:bodyPr/>
          <a:lstStyle/>
          <a:p>
            <a:r>
              <a:rPr lang="en-US" dirty="0" smtClean="0"/>
              <a:t>Add multi-factor to any RADIUS authentication system including</a:t>
            </a:r>
          </a:p>
          <a:p>
            <a:pPr lvl="1"/>
            <a:r>
              <a:rPr lang="en-US" dirty="0" smtClean="0"/>
              <a:t>VPN </a:t>
            </a:r>
          </a:p>
          <a:p>
            <a:pPr lvl="1"/>
            <a:r>
              <a:rPr lang="en-US" dirty="0" smtClean="0"/>
              <a:t>RD Gateway</a:t>
            </a:r>
          </a:p>
          <a:p>
            <a:pPr lvl="1"/>
            <a:r>
              <a:rPr lang="en-US" dirty="0" smtClean="0"/>
              <a:t>Hardware/Management</a:t>
            </a:r>
          </a:p>
        </p:txBody>
      </p:sp>
      <p:sp>
        <p:nvSpPr>
          <p:cNvPr id="4" name="Slide Number Placeholder 3"/>
          <p:cNvSpPr>
            <a:spLocks noGrp="1"/>
          </p:cNvSpPr>
          <p:nvPr>
            <p:ph type="sldNum" sz="quarter" idx="12"/>
          </p:nvPr>
        </p:nvSpPr>
        <p:spPr/>
        <p:txBody>
          <a:bodyPr/>
          <a:lstStyle/>
          <a:p>
            <a:fld id="{0A164282-434E-41D4-9582-783D542A7B68}" type="slidenum">
              <a:rPr lang="en-US" smtClean="0"/>
              <a:pPr/>
              <a:t>38</a:t>
            </a:fld>
            <a:endParaRPr lang="en-US"/>
          </a:p>
        </p:txBody>
      </p:sp>
    </p:spTree>
    <p:extLst>
      <p:ext uri="{BB962C8B-B14F-4D97-AF65-F5344CB8AC3E}">
        <p14:creationId xmlns:p14="http://schemas.microsoft.com/office/powerpoint/2010/main" val="1686154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ulti-factor and RD Gateway</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39</a:t>
            </a:fld>
            <a:endParaRPr lang="en-US"/>
          </a:p>
        </p:txBody>
      </p:sp>
      <p:pic>
        <p:nvPicPr>
          <p:cNvPr id="1026" name="Picture 2" descr="http://www.rdsgurus.com/wp-content/uploads/2014/04/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941" y="1424721"/>
            <a:ext cx="11092725" cy="46155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09260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89711" y="215381"/>
            <a:ext cx="11778558" cy="945717"/>
          </a:xfrm>
        </p:spPr>
        <p:txBody>
          <a:bodyPr>
            <a:normAutofit/>
          </a:bodyPr>
          <a:lstStyle/>
          <a:p>
            <a:r>
              <a:rPr lang="en-US" dirty="0" smtClean="0"/>
              <a:t>Azure = Building Blocks to Technology Solutions</a:t>
            </a:r>
            <a:endParaRPr lang="en-US" dirty="0"/>
          </a:p>
        </p:txBody>
      </p:sp>
      <p:grpSp>
        <p:nvGrpSpPr>
          <p:cNvPr id="134" name="Group 133"/>
          <p:cNvGrpSpPr/>
          <p:nvPr/>
        </p:nvGrpSpPr>
        <p:grpSpPr>
          <a:xfrm>
            <a:off x="1589" y="1235242"/>
            <a:ext cx="12216362" cy="5724708"/>
            <a:chOff x="348719" y="73582"/>
            <a:chExt cx="11867643" cy="6886368"/>
          </a:xfrm>
        </p:grpSpPr>
        <p:pic>
          <p:nvPicPr>
            <p:cNvPr id="135" name="Picture 134"/>
            <p:cNvPicPr>
              <a:picLocks noChangeAspect="1"/>
            </p:cNvPicPr>
            <p:nvPr/>
          </p:nvPicPr>
          <p:blipFill>
            <a:blip r:embed="rId3"/>
            <a:stretch>
              <a:fillRect/>
            </a:stretch>
          </p:blipFill>
          <p:spPr>
            <a:xfrm>
              <a:off x="457580" y="79597"/>
              <a:ext cx="3017487" cy="3661925"/>
            </a:xfrm>
            <a:prstGeom prst="rect">
              <a:avLst/>
            </a:prstGeom>
          </p:spPr>
        </p:pic>
        <p:pic>
          <p:nvPicPr>
            <p:cNvPr id="136" name="Picture 135"/>
            <p:cNvPicPr>
              <a:picLocks noChangeAspect="1"/>
            </p:cNvPicPr>
            <p:nvPr/>
          </p:nvPicPr>
          <p:blipFill>
            <a:blip r:embed="rId4"/>
            <a:stretch>
              <a:fillRect/>
            </a:stretch>
          </p:blipFill>
          <p:spPr>
            <a:xfrm>
              <a:off x="3475067" y="79597"/>
              <a:ext cx="2834639" cy="3691982"/>
            </a:xfrm>
            <a:prstGeom prst="rect">
              <a:avLst/>
            </a:prstGeom>
          </p:spPr>
        </p:pic>
        <p:pic>
          <p:nvPicPr>
            <p:cNvPr id="137" name="Picture 136"/>
            <p:cNvPicPr>
              <a:picLocks noChangeAspect="1"/>
            </p:cNvPicPr>
            <p:nvPr/>
          </p:nvPicPr>
          <p:blipFill>
            <a:blip r:embed="rId5"/>
            <a:stretch>
              <a:fillRect/>
            </a:stretch>
          </p:blipFill>
          <p:spPr>
            <a:xfrm>
              <a:off x="6309706" y="79597"/>
              <a:ext cx="2776960" cy="3661925"/>
            </a:xfrm>
            <a:prstGeom prst="rect">
              <a:avLst/>
            </a:prstGeom>
          </p:spPr>
        </p:pic>
        <p:pic>
          <p:nvPicPr>
            <p:cNvPr id="138" name="Picture 137"/>
            <p:cNvPicPr>
              <a:picLocks noChangeAspect="1"/>
            </p:cNvPicPr>
            <p:nvPr/>
          </p:nvPicPr>
          <p:blipFill>
            <a:blip r:embed="rId6"/>
            <a:stretch>
              <a:fillRect/>
            </a:stretch>
          </p:blipFill>
          <p:spPr>
            <a:xfrm>
              <a:off x="9085586" y="73582"/>
              <a:ext cx="2777366" cy="3697997"/>
            </a:xfrm>
            <a:prstGeom prst="rect">
              <a:avLst/>
            </a:prstGeom>
          </p:spPr>
        </p:pic>
        <p:pic>
          <p:nvPicPr>
            <p:cNvPr id="139" name="Picture 138"/>
            <p:cNvPicPr>
              <a:picLocks noChangeAspect="1"/>
            </p:cNvPicPr>
            <p:nvPr/>
          </p:nvPicPr>
          <p:blipFill rotWithShape="1">
            <a:blip r:embed="rId7"/>
            <a:srcRect r="16628"/>
            <a:stretch/>
          </p:blipFill>
          <p:spPr>
            <a:xfrm>
              <a:off x="348719" y="5099350"/>
              <a:ext cx="11867643" cy="1242452"/>
            </a:xfrm>
            <a:prstGeom prst="rect">
              <a:avLst/>
            </a:prstGeom>
          </p:spPr>
        </p:pic>
        <p:pic>
          <p:nvPicPr>
            <p:cNvPr id="140" name="Picture 139"/>
            <p:cNvPicPr>
              <a:picLocks noChangeAspect="1"/>
            </p:cNvPicPr>
            <p:nvPr/>
          </p:nvPicPr>
          <p:blipFill>
            <a:blip r:embed="rId8"/>
            <a:stretch>
              <a:fillRect/>
            </a:stretch>
          </p:blipFill>
          <p:spPr>
            <a:xfrm>
              <a:off x="348719" y="3860769"/>
              <a:ext cx="9452541" cy="1254221"/>
            </a:xfrm>
            <a:prstGeom prst="rect">
              <a:avLst/>
            </a:prstGeom>
          </p:spPr>
        </p:pic>
        <p:pic>
          <p:nvPicPr>
            <p:cNvPr id="141" name="Picture 140"/>
            <p:cNvPicPr>
              <a:picLocks noChangeAspect="1"/>
            </p:cNvPicPr>
            <p:nvPr/>
          </p:nvPicPr>
          <p:blipFill rotWithShape="1">
            <a:blip r:embed="rId7"/>
            <a:srcRect l="83255"/>
            <a:stretch/>
          </p:blipFill>
          <p:spPr>
            <a:xfrm>
              <a:off x="9801525" y="3900351"/>
              <a:ext cx="2377149" cy="1239111"/>
            </a:xfrm>
            <a:prstGeom prst="rect">
              <a:avLst/>
            </a:prstGeom>
          </p:spPr>
        </p:pic>
        <p:pic>
          <p:nvPicPr>
            <p:cNvPr id="142" name="Picture 4" descr="http://www.jbase.com/new/products/images/java.png"/>
            <p:cNvPicPr>
              <a:picLocks noChangeAspect="1" noChangeArrowheads="1"/>
            </p:cNvPicPr>
            <p:nvPr/>
          </p:nvPicPr>
          <p:blipFill>
            <a:blip r:embed="rId9" cstate="print">
              <a:lum bright="100000" contrast="100000"/>
            </a:blip>
            <a:srcRect/>
            <a:stretch>
              <a:fillRect/>
            </a:stretch>
          </p:blipFill>
          <p:spPr bwMode="auto">
            <a:xfrm>
              <a:off x="4310310" y="6196472"/>
              <a:ext cx="409194" cy="763478"/>
            </a:xfrm>
            <a:prstGeom prst="rect">
              <a:avLst/>
            </a:prstGeom>
            <a:solidFill>
              <a:schemeClr val="bg2">
                <a:lumMod val="75000"/>
              </a:schemeClr>
            </a:solidFill>
          </p:spPr>
        </p:pic>
        <p:pic>
          <p:nvPicPr>
            <p:cNvPr id="143" name="Picture 142" descr="PHP.png"/>
            <p:cNvPicPr>
              <a:picLocks noChangeAspect="1"/>
            </p:cNvPicPr>
            <p:nvPr/>
          </p:nvPicPr>
          <p:blipFill>
            <a:blip r:embed="rId10" cstate="print"/>
            <a:stretch>
              <a:fillRect/>
            </a:stretch>
          </p:blipFill>
          <p:spPr>
            <a:xfrm>
              <a:off x="5659880" y="6397190"/>
              <a:ext cx="967613" cy="508905"/>
            </a:xfrm>
            <a:prstGeom prst="rect">
              <a:avLst/>
            </a:prstGeom>
            <a:solidFill>
              <a:schemeClr val="bg2">
                <a:lumMod val="75000"/>
              </a:schemeClr>
            </a:solidFill>
          </p:spPr>
        </p:pic>
        <p:pic>
          <p:nvPicPr>
            <p:cNvPr id="144" name="Picture 2" descr="https://mediabank.partners.extranet.microsoft.com/Assets/Active/M-Q/Microsoft_.NET/Microsoft_NET_ADO_.NET/Logos+Logotypes/NET-ADO_bL.png"/>
            <p:cNvPicPr>
              <a:picLocks noChangeAspect="1" noChangeArrowheads="1"/>
            </p:cNvPicPr>
            <p:nvPr/>
          </p:nvPicPr>
          <p:blipFill>
            <a:blip r:embed="rId11" cstate="print">
              <a:lum bright="100000" contrast="100000"/>
              <a:alphaModFix/>
            </a:blip>
            <a:srcRect r="31488"/>
            <a:stretch>
              <a:fillRect/>
            </a:stretch>
          </p:blipFill>
          <p:spPr bwMode="auto">
            <a:xfrm>
              <a:off x="1554848" y="6373195"/>
              <a:ext cx="1815086" cy="524587"/>
            </a:xfrm>
            <a:prstGeom prst="rect">
              <a:avLst/>
            </a:prstGeom>
            <a:solidFill>
              <a:schemeClr val="bg2">
                <a:lumMod val="75000"/>
              </a:schemeClr>
            </a:solidFill>
          </p:spPr>
        </p:pic>
        <p:pic>
          <p:nvPicPr>
            <p:cNvPr id="145" name="Picture 144"/>
            <p:cNvPicPr>
              <a:picLocks noChangeAspect="1"/>
            </p:cNvPicPr>
            <p:nvPr/>
          </p:nvPicPr>
          <p:blipFill>
            <a:blip r:embed="rId12"/>
            <a:stretch>
              <a:fillRect/>
            </a:stretch>
          </p:blipFill>
          <p:spPr>
            <a:xfrm>
              <a:off x="10097861" y="6462411"/>
              <a:ext cx="1377373" cy="338254"/>
            </a:xfrm>
            <a:prstGeom prst="rect">
              <a:avLst/>
            </a:prstGeom>
            <a:solidFill>
              <a:schemeClr val="bg2">
                <a:lumMod val="75000"/>
              </a:schemeClr>
            </a:solidFill>
          </p:spPr>
        </p:pic>
        <p:pic>
          <p:nvPicPr>
            <p:cNvPr id="146" name="Picture 145"/>
            <p:cNvPicPr>
              <a:picLocks noChangeAspect="1"/>
            </p:cNvPicPr>
            <p:nvPr/>
          </p:nvPicPr>
          <p:blipFill>
            <a:blip r:embed="rId13" cstate="print">
              <a:biLevel thresh="25000"/>
              <a:extLst>
                <a:ext uri="{BEBA8EAE-BF5A-486C-A8C5-ECC9F3942E4B}">
                  <a14:imgProps xmlns:a14="http://schemas.microsoft.com/office/drawing/2010/main">
                    <a14:imgLayer r:embed="rId14">
                      <a14:imgEffect>
                        <a14:colorTemperature colorTemp="109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7567868" y="6417184"/>
              <a:ext cx="1589619" cy="420114"/>
            </a:xfrm>
            <a:prstGeom prst="rect">
              <a:avLst/>
            </a:prstGeom>
            <a:solidFill>
              <a:schemeClr val="bg2">
                <a:lumMod val="75000"/>
              </a:schemeClr>
            </a:solidFill>
          </p:spPr>
        </p:pic>
      </p:grpSp>
    </p:spTree>
    <p:extLst>
      <p:ext uri="{BB962C8B-B14F-4D97-AF65-F5344CB8AC3E}">
        <p14:creationId xmlns:p14="http://schemas.microsoft.com/office/powerpoint/2010/main" val="21469353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55" name="Map PNG"/>
          <p:cNvPicPr>
            <a:picLocks noChangeAspect="1"/>
          </p:cNvPicPr>
          <p:nvPr/>
        </p:nvPicPr>
        <p:blipFill>
          <a:blip r:embed="rId3"/>
          <a:stretch>
            <a:fillRect/>
          </a:stretch>
        </p:blipFill>
        <p:spPr>
          <a:xfrm>
            <a:off x="1556754" y="1263208"/>
            <a:ext cx="10217468" cy="5013131"/>
          </a:xfrm>
          <a:prstGeom prst="rect">
            <a:avLst/>
          </a:prstGeom>
        </p:spPr>
      </p:pic>
      <p:sp>
        <p:nvSpPr>
          <p:cNvPr id="2" name="Rectangle 1"/>
          <p:cNvSpPr/>
          <p:nvPr/>
        </p:nvSpPr>
        <p:spPr bwMode="auto">
          <a:xfrm>
            <a:off x="1589" y="1098442"/>
            <a:ext cx="12456629" cy="5758180"/>
          </a:xfrm>
          <a:prstGeom prst="rect">
            <a:avLst/>
          </a:prstGeom>
          <a:solidFill>
            <a:srgbClr val="FFFFFF">
              <a:alpha val="50196"/>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2538" name="Rectangle 2537"/>
          <p:cNvSpPr/>
          <p:nvPr/>
        </p:nvSpPr>
        <p:spPr bwMode="auto">
          <a:xfrm>
            <a:off x="1590" y="3475155"/>
            <a:ext cx="7386479" cy="1165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857" tIns="403286" rIns="179213" bIns="0" numCol="1" spcCol="0" rtlCol="0" fromWordArt="0" anchor="ctr" anchorCtr="0" forceAA="0" compatLnSpc="1">
            <a:prstTxWarp prst="textNoShape">
              <a:avLst/>
            </a:prstTxWarp>
            <a:noAutofit/>
          </a:bodyPr>
          <a:lstStyle/>
          <a:p>
            <a:pPr defTabSz="761514">
              <a:defRPr/>
            </a:pPr>
            <a:r>
              <a:rPr lang="en-US" sz="4704" kern="0" baseline="30000" dirty="0">
                <a:gradFill>
                  <a:gsLst>
                    <a:gs pos="0">
                      <a:srgbClr val="00188F">
                        <a:lumMod val="5000"/>
                        <a:lumOff val="95000"/>
                      </a:srgbClr>
                    </a:gs>
                    <a:gs pos="100000">
                      <a:srgbClr val="EFEFEF"/>
                    </a:gs>
                  </a:gsLst>
                  <a:lin ang="5400000" scaled="1"/>
                </a:gradFill>
                <a:latin typeface="Segoe UI Light"/>
              </a:rPr>
              <a:t>data </a:t>
            </a:r>
            <a:br>
              <a:rPr lang="en-US" sz="4704" kern="0" baseline="30000" dirty="0">
                <a:gradFill>
                  <a:gsLst>
                    <a:gs pos="0">
                      <a:srgbClr val="00188F">
                        <a:lumMod val="5000"/>
                        <a:lumOff val="95000"/>
                      </a:srgbClr>
                    </a:gs>
                    <a:gs pos="100000">
                      <a:srgbClr val="EFEFEF"/>
                    </a:gs>
                  </a:gsLst>
                  <a:lin ang="5400000" scaled="1"/>
                </a:gradFill>
                <a:latin typeface="Segoe UI Light"/>
              </a:rPr>
            </a:br>
            <a:r>
              <a:rPr lang="en-US" sz="4704"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2534" name="Rectangle 2533"/>
          <p:cNvSpPr/>
          <p:nvPr/>
        </p:nvSpPr>
        <p:spPr bwMode="auto">
          <a:xfrm>
            <a:off x="4405727" y="3617605"/>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table</a:t>
            </a:r>
          </a:p>
        </p:txBody>
      </p:sp>
      <p:sp>
        <p:nvSpPr>
          <p:cNvPr id="2532" name="Rectangle 2531"/>
          <p:cNvSpPr/>
          <p:nvPr/>
        </p:nvSpPr>
        <p:spPr bwMode="auto">
          <a:xfrm>
            <a:off x="3508690" y="3617605"/>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err="1">
                <a:gradFill>
                  <a:gsLst>
                    <a:gs pos="0">
                      <a:srgbClr val="FFFFFF"/>
                    </a:gs>
                    <a:gs pos="100000">
                      <a:srgbClr val="FFFFFF"/>
                    </a:gs>
                  </a:gsLst>
                  <a:lin ang="5400000" scaled="0"/>
                </a:gradFill>
              </a:rPr>
              <a:t>HDInsight</a:t>
            </a:r>
            <a:endParaRPr lang="en-US" sz="1046" dirty="0">
              <a:gradFill>
                <a:gsLst>
                  <a:gs pos="0">
                    <a:srgbClr val="FFFFFF"/>
                  </a:gs>
                  <a:gs pos="100000">
                    <a:srgbClr val="FFFFFF"/>
                  </a:gs>
                </a:gsLst>
                <a:lin ang="5400000" scaled="0"/>
              </a:gradFill>
            </a:endParaRPr>
          </a:p>
        </p:txBody>
      </p:sp>
      <p:sp>
        <p:nvSpPr>
          <p:cNvPr id="2530" name="Rectangle 2529"/>
          <p:cNvSpPr/>
          <p:nvPr/>
        </p:nvSpPr>
        <p:spPr bwMode="auto">
          <a:xfrm>
            <a:off x="5402795" y="3640716"/>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blob storage</a:t>
            </a:r>
          </a:p>
        </p:txBody>
      </p:sp>
      <p:sp>
        <p:nvSpPr>
          <p:cNvPr id="2536" name="Rectangle 2535"/>
          <p:cNvSpPr/>
          <p:nvPr/>
        </p:nvSpPr>
        <p:spPr bwMode="auto">
          <a:xfrm>
            <a:off x="2573957" y="3617605"/>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SQL database</a:t>
            </a:r>
          </a:p>
        </p:txBody>
      </p:sp>
      <p:sp>
        <p:nvSpPr>
          <p:cNvPr id="2566" name="Rectangle 2565"/>
          <p:cNvSpPr/>
          <p:nvPr/>
        </p:nvSpPr>
        <p:spPr bwMode="auto">
          <a:xfrm>
            <a:off x="-24799" y="1472422"/>
            <a:ext cx="7412868" cy="19449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68857" tIns="1254668" rIns="121849" bIns="60923" numCol="1" rtlCol="0" anchor="ctr" anchorCtr="0" compatLnSpc="1">
            <a:prstTxWarp prst="textNoShape">
              <a:avLst/>
            </a:prstTxWarp>
          </a:bodyPr>
          <a:lstStyle/>
          <a:p>
            <a:pPr defTabSz="761514">
              <a:defRPr/>
            </a:pPr>
            <a:r>
              <a:rPr lang="en-US" sz="4704" kern="0" baseline="30000" dirty="0">
                <a:gradFill>
                  <a:gsLst>
                    <a:gs pos="0">
                      <a:srgbClr val="00188F">
                        <a:lumMod val="5000"/>
                        <a:lumOff val="95000"/>
                      </a:srgbClr>
                    </a:gs>
                    <a:gs pos="100000">
                      <a:srgbClr val="EFEFEF"/>
                    </a:gs>
                  </a:gsLst>
                  <a:lin ang="5400000" scaled="1"/>
                </a:gradFill>
                <a:latin typeface="Segoe UI Light"/>
              </a:rPr>
              <a:t>app </a:t>
            </a:r>
            <a:br>
              <a:rPr lang="en-US" sz="4704" kern="0" baseline="30000" dirty="0">
                <a:gradFill>
                  <a:gsLst>
                    <a:gs pos="0">
                      <a:srgbClr val="00188F">
                        <a:lumMod val="5000"/>
                        <a:lumOff val="95000"/>
                      </a:srgbClr>
                    </a:gs>
                    <a:gs pos="100000">
                      <a:srgbClr val="EFEFEF"/>
                    </a:gs>
                  </a:gsLst>
                  <a:lin ang="5400000" scaled="1"/>
                </a:gradFill>
                <a:latin typeface="Segoe UI Light"/>
              </a:rPr>
            </a:br>
            <a:r>
              <a:rPr lang="en-US" sz="4704"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2564" name="Rectangle 2563"/>
          <p:cNvSpPr/>
          <p:nvPr/>
        </p:nvSpPr>
        <p:spPr bwMode="auto">
          <a:xfrm>
            <a:off x="6399861" y="1571058"/>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media</a:t>
            </a:r>
          </a:p>
        </p:txBody>
      </p:sp>
      <p:sp>
        <p:nvSpPr>
          <p:cNvPr id="2555" name="Rectangle 2554"/>
          <p:cNvSpPr/>
          <p:nvPr/>
        </p:nvSpPr>
        <p:spPr bwMode="auto">
          <a:xfrm>
            <a:off x="5402795" y="2474186"/>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err="1">
                <a:gradFill>
                  <a:gsLst>
                    <a:gs pos="0">
                      <a:srgbClr val="FFFFFF"/>
                    </a:gs>
                    <a:gs pos="100000">
                      <a:srgbClr val="FFFFFF"/>
                    </a:gs>
                  </a:gsLst>
                  <a:lin ang="5400000" scaled="0"/>
                </a:gradFill>
              </a:rPr>
              <a:t>hpc</a:t>
            </a:r>
            <a:endParaRPr lang="en-US" sz="1046" dirty="0">
              <a:gradFill>
                <a:gsLst>
                  <a:gs pos="0">
                    <a:srgbClr val="FFFFFF"/>
                  </a:gs>
                  <a:gs pos="100000">
                    <a:srgbClr val="FFFFFF"/>
                  </a:gs>
                </a:gsLst>
                <a:lin ang="5400000" scaled="0"/>
              </a:gradFill>
            </a:endParaRPr>
          </a:p>
        </p:txBody>
      </p:sp>
      <p:sp>
        <p:nvSpPr>
          <p:cNvPr id="2553" name="Rectangle 2552"/>
          <p:cNvSpPr/>
          <p:nvPr/>
        </p:nvSpPr>
        <p:spPr bwMode="auto">
          <a:xfrm>
            <a:off x="4405727" y="2474886"/>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integration</a:t>
            </a:r>
          </a:p>
        </p:txBody>
      </p:sp>
      <p:sp>
        <p:nvSpPr>
          <p:cNvPr id="2549" name="Rectangle 2548"/>
          <p:cNvSpPr/>
          <p:nvPr/>
        </p:nvSpPr>
        <p:spPr bwMode="auto">
          <a:xfrm>
            <a:off x="6399065" y="2474187"/>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analytics</a:t>
            </a:r>
          </a:p>
        </p:txBody>
      </p:sp>
      <p:sp>
        <p:nvSpPr>
          <p:cNvPr id="2557" name="Rectangle 2556"/>
          <p:cNvSpPr/>
          <p:nvPr/>
        </p:nvSpPr>
        <p:spPr bwMode="auto">
          <a:xfrm>
            <a:off x="3448937" y="1571058"/>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spcBef>
                <a:spcPct val="0"/>
              </a:spcBef>
              <a:spcAft>
                <a:spcPct val="0"/>
              </a:spcAft>
            </a:pPr>
            <a:r>
              <a:rPr lang="en-US" sz="1046" dirty="0">
                <a:gradFill>
                  <a:gsLst>
                    <a:gs pos="0">
                      <a:srgbClr val="FFFFFF"/>
                    </a:gs>
                    <a:gs pos="100000">
                      <a:srgbClr val="FFFFFF"/>
                    </a:gs>
                  </a:gsLst>
                  <a:lin ang="5400000" scaled="0"/>
                </a:gradFill>
              </a:rPr>
              <a:t>caching</a:t>
            </a:r>
          </a:p>
        </p:txBody>
      </p:sp>
      <p:sp>
        <p:nvSpPr>
          <p:cNvPr id="2551" name="Rectangle 2550"/>
          <p:cNvSpPr/>
          <p:nvPr/>
        </p:nvSpPr>
        <p:spPr bwMode="auto">
          <a:xfrm>
            <a:off x="4405727" y="1583390"/>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spcBef>
                <a:spcPct val="0"/>
              </a:spcBef>
              <a:spcAft>
                <a:spcPct val="0"/>
              </a:spcAft>
            </a:pPr>
            <a:r>
              <a:rPr lang="en-US" sz="1046" dirty="0">
                <a:gradFill>
                  <a:gsLst>
                    <a:gs pos="0">
                      <a:srgbClr val="FFFFFF"/>
                    </a:gs>
                    <a:gs pos="100000">
                      <a:srgbClr val="FFFFFF"/>
                    </a:gs>
                  </a:gsLst>
                  <a:lin ang="5400000" scaled="0"/>
                </a:gradFill>
              </a:rPr>
              <a:t>identity</a:t>
            </a:r>
          </a:p>
        </p:txBody>
      </p:sp>
      <p:sp>
        <p:nvSpPr>
          <p:cNvPr id="2562" name="Rectangle 2561"/>
          <p:cNvSpPr/>
          <p:nvPr/>
        </p:nvSpPr>
        <p:spPr bwMode="auto">
          <a:xfrm>
            <a:off x="5402794" y="1571058"/>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service bus</a:t>
            </a:r>
          </a:p>
        </p:txBody>
      </p:sp>
      <p:sp>
        <p:nvSpPr>
          <p:cNvPr id="2503" name="Rectangle 2502"/>
          <p:cNvSpPr/>
          <p:nvPr/>
        </p:nvSpPr>
        <p:spPr bwMode="auto">
          <a:xfrm>
            <a:off x="3508690" y="2497044"/>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web sites</a:t>
            </a:r>
          </a:p>
        </p:txBody>
      </p:sp>
      <p:sp>
        <p:nvSpPr>
          <p:cNvPr id="2507" name="Mobile Services - Label"/>
          <p:cNvSpPr/>
          <p:nvPr/>
        </p:nvSpPr>
        <p:spPr bwMode="auto">
          <a:xfrm>
            <a:off x="2573957" y="2507922"/>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mobile services</a:t>
            </a:r>
          </a:p>
        </p:txBody>
      </p:sp>
      <p:sp>
        <p:nvSpPr>
          <p:cNvPr id="2501" name="Rectangle 2500"/>
          <p:cNvSpPr/>
          <p:nvPr/>
        </p:nvSpPr>
        <p:spPr bwMode="auto">
          <a:xfrm>
            <a:off x="2574410" y="1569446"/>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cloud services</a:t>
            </a:r>
          </a:p>
        </p:txBody>
      </p:sp>
      <p:pic>
        <p:nvPicPr>
          <p:cNvPr id="2558" name="Picture 25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55237" y="1672086"/>
            <a:ext cx="423250" cy="419491"/>
          </a:xfrm>
          <a:prstGeom prst="rect">
            <a:avLst/>
          </a:prstGeom>
        </p:spPr>
      </p:pic>
      <p:sp>
        <p:nvSpPr>
          <p:cNvPr id="5102" name="L-Shape 5101"/>
          <p:cNvSpPr/>
          <p:nvPr/>
        </p:nvSpPr>
        <p:spPr bwMode="auto">
          <a:xfrm>
            <a:off x="3579802" y="1615482"/>
            <a:ext cx="843737" cy="809497"/>
          </a:xfrm>
          <a:prstGeom prst="corner">
            <a:avLst>
              <a:gd name="adj1" fmla="val 38444"/>
              <a:gd name="adj2" fmla="val 7330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pic>
        <p:nvPicPr>
          <p:cNvPr id="2552" name="Picture 7" descr="C:\Users\Jonahs\Dropbox\Projects SCOTT\MEET Windows Azure\source\Background\tile-icon-identit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69635" y="1710604"/>
            <a:ext cx="368175" cy="368174"/>
          </a:xfrm>
          <a:prstGeom prst="rect">
            <a:avLst/>
          </a:prstGeom>
          <a:noFill/>
          <a:extLst>
            <a:ext uri="{909E8E84-426E-40DD-AFC4-6F175D3DCCD1}">
              <a14:hiddenFill xmlns:a14="http://schemas.microsoft.com/office/drawing/2010/main">
                <a:solidFill>
                  <a:srgbClr val="FFFFFF"/>
                </a:solidFill>
              </a14:hiddenFill>
            </a:ext>
          </a:extLst>
        </p:spPr>
      </p:pic>
      <p:sp>
        <p:nvSpPr>
          <p:cNvPr id="5103" name="L-Shape 5102"/>
          <p:cNvSpPr/>
          <p:nvPr/>
        </p:nvSpPr>
        <p:spPr bwMode="auto">
          <a:xfrm flipH="1" flipV="1">
            <a:off x="4253202" y="1615482"/>
            <a:ext cx="971368" cy="809497"/>
          </a:xfrm>
          <a:prstGeom prst="corner">
            <a:avLst>
              <a:gd name="adj1" fmla="val 47670"/>
              <a:gd name="adj2" fmla="val 8232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5082" name="Freeform 25"/>
          <p:cNvSpPr>
            <a:spLocks noEditPoints="1"/>
          </p:cNvSpPr>
          <p:nvPr/>
        </p:nvSpPr>
        <p:spPr bwMode="black">
          <a:xfrm>
            <a:off x="4698189" y="2625962"/>
            <a:ext cx="341403" cy="341797"/>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6" tIns="40334" rIns="80666" bIns="40334" numCol="1" anchor="t" anchorCtr="0" compatLnSpc="1">
            <a:prstTxWarp prst="textNoShape">
              <a:avLst/>
            </a:prstTxWarp>
          </a:bodyPr>
          <a:lstStyle/>
          <a:p>
            <a:pPr defTabSz="913946"/>
            <a:endParaRPr lang="en-US" sz="1568">
              <a:solidFill>
                <a:srgbClr val="505050"/>
              </a:solidFill>
            </a:endParaRPr>
          </a:p>
        </p:txBody>
      </p:sp>
      <p:sp>
        <p:nvSpPr>
          <p:cNvPr id="5104" name="L-Shape 5103"/>
          <p:cNvSpPr/>
          <p:nvPr/>
        </p:nvSpPr>
        <p:spPr bwMode="auto">
          <a:xfrm flipH="1" flipV="1">
            <a:off x="4234096" y="2521158"/>
            <a:ext cx="989089" cy="752805"/>
          </a:xfrm>
          <a:prstGeom prst="corner">
            <a:avLst>
              <a:gd name="adj1" fmla="val 38444"/>
              <a:gd name="adj2" fmla="val 9830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pic>
        <p:nvPicPr>
          <p:cNvPr id="2563" name="Picture 2562"/>
          <p:cNvPicPr>
            <a:picLocks noChangeAspect="1"/>
          </p:cNvPicPr>
          <p:nvPr/>
        </p:nvPicPr>
        <p:blipFill>
          <a:blip r:embed="rId6"/>
          <a:stretch>
            <a:fillRect/>
          </a:stretch>
        </p:blipFill>
        <p:spPr>
          <a:xfrm>
            <a:off x="5673611" y="1680657"/>
            <a:ext cx="376887" cy="426540"/>
          </a:xfrm>
          <a:prstGeom prst="rect">
            <a:avLst/>
          </a:prstGeom>
        </p:spPr>
      </p:pic>
      <p:sp>
        <p:nvSpPr>
          <p:cNvPr id="5148" name="L-Shape 5147"/>
          <p:cNvSpPr/>
          <p:nvPr/>
        </p:nvSpPr>
        <p:spPr bwMode="auto">
          <a:xfrm flipV="1">
            <a:off x="5461011" y="1618798"/>
            <a:ext cx="950457" cy="809497"/>
          </a:xfrm>
          <a:prstGeom prst="corner">
            <a:avLst>
              <a:gd name="adj1" fmla="val 50745"/>
              <a:gd name="adj2" fmla="val 100563"/>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5080" name="Freeform 25"/>
          <p:cNvSpPr>
            <a:spLocks noEditPoints="1"/>
          </p:cNvSpPr>
          <p:nvPr/>
        </p:nvSpPr>
        <p:spPr bwMode="black">
          <a:xfrm flipH="1">
            <a:off x="6649617" y="1665105"/>
            <a:ext cx="423682" cy="423852"/>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1" tIns="44802" rIns="89601" bIns="44802" numCol="1" anchor="t" anchorCtr="0" compatLnSpc="1">
            <a:prstTxWarp prst="textNoShape">
              <a:avLst/>
            </a:prstTxWarp>
          </a:bodyPr>
          <a:lstStyle/>
          <a:p>
            <a:pPr defTabSz="895993"/>
            <a:endParaRPr lang="en-US" sz="1764" dirty="0">
              <a:solidFill>
                <a:srgbClr val="000000"/>
              </a:solidFill>
            </a:endParaRPr>
          </a:p>
        </p:txBody>
      </p:sp>
      <p:sp>
        <p:nvSpPr>
          <p:cNvPr id="5161" name="L-Shape 5160"/>
          <p:cNvSpPr/>
          <p:nvPr/>
        </p:nvSpPr>
        <p:spPr bwMode="auto">
          <a:xfrm flipH="1">
            <a:off x="6356998" y="1618798"/>
            <a:ext cx="820940" cy="809497"/>
          </a:xfrm>
          <a:prstGeom prst="corner">
            <a:avLst>
              <a:gd name="adj1" fmla="val 38444"/>
              <a:gd name="adj2" fmla="val 8253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pic>
        <p:nvPicPr>
          <p:cNvPr id="2556" name="Picture 2" descr="\\MAGNUM\Projects\Microsoft\Cloud Power FY12\Design\Icons\PNGs\Cloud_on_your_terms.png"/>
          <p:cNvPicPr>
            <a:picLocks noChangeAspect="1" noChangeArrowheads="1"/>
          </p:cNvPicPr>
          <p:nvPr/>
        </p:nvPicPr>
        <p:blipFill>
          <a:blip r:embed="rId7" cstate="print">
            <a:lum bright="100000"/>
          </a:blip>
          <a:stretch>
            <a:fillRect/>
          </a:stretch>
        </p:blipFill>
        <p:spPr bwMode="auto">
          <a:xfrm>
            <a:off x="5571498" y="2474844"/>
            <a:ext cx="608152" cy="608237"/>
          </a:xfrm>
          <a:prstGeom prst="rect">
            <a:avLst/>
          </a:prstGeom>
          <a:noFill/>
          <a:ln>
            <a:noFill/>
          </a:ln>
        </p:spPr>
      </p:pic>
      <p:sp>
        <p:nvSpPr>
          <p:cNvPr id="5164" name="L-Shape 5163"/>
          <p:cNvSpPr/>
          <p:nvPr/>
        </p:nvSpPr>
        <p:spPr bwMode="auto">
          <a:xfrm>
            <a:off x="5461011" y="2521158"/>
            <a:ext cx="843737" cy="752805"/>
          </a:xfrm>
          <a:prstGeom prst="corner">
            <a:avLst>
              <a:gd name="adj1" fmla="val 38444"/>
              <a:gd name="adj2" fmla="val 8996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2550" name="Freeform 2549"/>
          <p:cNvSpPr>
            <a:spLocks noEditPoints="1"/>
          </p:cNvSpPr>
          <p:nvPr/>
        </p:nvSpPr>
        <p:spPr bwMode="auto">
          <a:xfrm>
            <a:off x="6681121" y="2673038"/>
            <a:ext cx="333468" cy="294053"/>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121854" tIns="60926" rIns="121854" bIns="60926" numCol="1" anchor="t" anchorCtr="0" compatLnSpc="1">
            <a:prstTxWarp prst="textNoShape">
              <a:avLst/>
            </a:prstTxWarp>
          </a:bodyPr>
          <a:lstStyle/>
          <a:p>
            <a:pPr defTabSz="1190369"/>
            <a:endParaRPr lang="en-US" sz="2352" dirty="0">
              <a:solidFill>
                <a:srgbClr val="292929"/>
              </a:solidFill>
            </a:endParaRPr>
          </a:p>
        </p:txBody>
      </p:sp>
      <p:sp>
        <p:nvSpPr>
          <p:cNvPr id="5168" name="Analytics - blue"/>
          <p:cNvSpPr/>
          <p:nvPr/>
        </p:nvSpPr>
        <p:spPr bwMode="auto">
          <a:xfrm flipH="1" flipV="1">
            <a:off x="6252846" y="2521157"/>
            <a:ext cx="925092" cy="763976"/>
          </a:xfrm>
          <a:prstGeom prst="corner">
            <a:avLst>
              <a:gd name="adj1" fmla="val 46590"/>
              <a:gd name="adj2" fmla="val 10267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2509" name="Rectangle 2508"/>
          <p:cNvSpPr/>
          <p:nvPr/>
        </p:nvSpPr>
        <p:spPr bwMode="auto">
          <a:xfrm>
            <a:off x="-8104" y="4698029"/>
            <a:ext cx="7396171" cy="1165049"/>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68857" tIns="403286" rIns="121849" bIns="0" numCol="1" rtlCol="0" anchor="ctr" anchorCtr="0" compatLnSpc="1">
            <a:prstTxWarp prst="textNoShape">
              <a:avLst/>
            </a:prstTxWarp>
          </a:bodyPr>
          <a:lstStyle/>
          <a:p>
            <a:pPr defTabSz="761514">
              <a:defRPr/>
            </a:pPr>
            <a:r>
              <a:rPr lang="en-US" sz="4704" kern="0" baseline="30000" dirty="0">
                <a:gradFill>
                  <a:gsLst>
                    <a:gs pos="0">
                      <a:srgbClr val="00188F">
                        <a:lumMod val="5000"/>
                        <a:lumOff val="95000"/>
                      </a:srgbClr>
                    </a:gs>
                    <a:gs pos="100000">
                      <a:srgbClr val="EFEFEF"/>
                    </a:gs>
                  </a:gsLst>
                  <a:lin ang="5400000" scaled="1"/>
                </a:gradFill>
                <a:latin typeface="Segoe UI Light"/>
              </a:rPr>
              <a:t>infrastructure </a:t>
            </a:r>
            <a:br>
              <a:rPr lang="en-US" sz="4704" kern="0" baseline="30000" dirty="0">
                <a:gradFill>
                  <a:gsLst>
                    <a:gs pos="0">
                      <a:srgbClr val="00188F">
                        <a:lumMod val="5000"/>
                        <a:lumOff val="95000"/>
                      </a:srgbClr>
                    </a:gs>
                    <a:gs pos="100000">
                      <a:srgbClr val="EFEFEF"/>
                    </a:gs>
                  </a:gsLst>
                  <a:lin ang="5400000" scaled="1"/>
                </a:gradFill>
                <a:latin typeface="Segoe UI Light"/>
              </a:rPr>
            </a:br>
            <a:r>
              <a:rPr lang="en-US" sz="4704"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2560" name="Rectangle 2559"/>
          <p:cNvSpPr/>
          <p:nvPr/>
        </p:nvSpPr>
        <p:spPr bwMode="auto">
          <a:xfrm>
            <a:off x="6399065" y="4862893"/>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err="1">
                <a:gradFill>
                  <a:gsLst>
                    <a:gs pos="0">
                      <a:srgbClr val="FFFFFF"/>
                    </a:gs>
                    <a:gs pos="100000">
                      <a:srgbClr val="FFFFFF"/>
                    </a:gs>
                  </a:gsLst>
                  <a:lin ang="5400000" scaled="0"/>
                </a:gradFill>
              </a:rPr>
              <a:t>cdn</a:t>
            </a:r>
            <a:endParaRPr lang="en-US" sz="1046" dirty="0">
              <a:gradFill>
                <a:gsLst>
                  <a:gs pos="0">
                    <a:srgbClr val="FFFFFF"/>
                  </a:gs>
                  <a:gs pos="100000">
                    <a:srgbClr val="FFFFFF"/>
                  </a:gs>
                </a:gsLst>
                <a:lin ang="5400000" scaled="0"/>
              </a:gradFill>
            </a:endParaRPr>
          </a:p>
        </p:txBody>
      </p:sp>
      <p:sp>
        <p:nvSpPr>
          <p:cNvPr id="2505" name="Virtual Machines - Label"/>
          <p:cNvSpPr/>
          <p:nvPr/>
        </p:nvSpPr>
        <p:spPr bwMode="auto">
          <a:xfrm>
            <a:off x="2573957" y="4862891"/>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virtual machines</a:t>
            </a:r>
          </a:p>
        </p:txBody>
      </p:sp>
      <p:sp>
        <p:nvSpPr>
          <p:cNvPr id="2518" name="Rectangle 2517"/>
          <p:cNvSpPr/>
          <p:nvPr/>
        </p:nvSpPr>
        <p:spPr bwMode="auto">
          <a:xfrm>
            <a:off x="3508690" y="4862891"/>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virtual network</a:t>
            </a:r>
          </a:p>
        </p:txBody>
      </p:sp>
      <p:sp>
        <p:nvSpPr>
          <p:cNvPr id="2520" name="Rectangle 2519"/>
          <p:cNvSpPr/>
          <p:nvPr/>
        </p:nvSpPr>
        <p:spPr bwMode="auto">
          <a:xfrm>
            <a:off x="4405727" y="4862891"/>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err="1">
                <a:gradFill>
                  <a:gsLst>
                    <a:gs pos="0">
                      <a:srgbClr val="FFFFFF"/>
                    </a:gs>
                    <a:gs pos="100000">
                      <a:srgbClr val="FFFFFF"/>
                    </a:gs>
                  </a:gsLst>
                  <a:lin ang="5400000" scaled="0"/>
                </a:gradFill>
              </a:rPr>
              <a:t>vpn</a:t>
            </a:r>
            <a:endParaRPr lang="en-US" sz="1046" dirty="0">
              <a:gradFill>
                <a:gsLst>
                  <a:gs pos="0">
                    <a:srgbClr val="FFFFFF"/>
                  </a:gs>
                  <a:gs pos="100000">
                    <a:srgbClr val="FFFFFF"/>
                  </a:gs>
                </a:gsLst>
                <a:lin ang="5400000" scaled="0"/>
              </a:gradFill>
            </a:endParaRPr>
          </a:p>
        </p:txBody>
      </p:sp>
      <p:sp>
        <p:nvSpPr>
          <p:cNvPr id="2516" name="Rectangle 2515"/>
          <p:cNvSpPr/>
          <p:nvPr/>
        </p:nvSpPr>
        <p:spPr bwMode="auto">
          <a:xfrm>
            <a:off x="5402795" y="4862891"/>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traffic manager</a:t>
            </a:r>
          </a:p>
        </p:txBody>
      </p:sp>
      <p:pic>
        <p:nvPicPr>
          <p:cNvPr id="2506" name="Picture 250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33804" y="4944232"/>
            <a:ext cx="376293" cy="340430"/>
          </a:xfrm>
          <a:prstGeom prst="rect">
            <a:avLst/>
          </a:prstGeom>
          <a:noFill/>
          <a:ln>
            <a:noFill/>
          </a:ln>
        </p:spPr>
      </p:pic>
      <p:sp>
        <p:nvSpPr>
          <p:cNvPr id="5174" name="L-Shape 5173"/>
          <p:cNvSpPr/>
          <p:nvPr/>
        </p:nvSpPr>
        <p:spPr bwMode="auto">
          <a:xfrm flipV="1">
            <a:off x="2625749" y="4875804"/>
            <a:ext cx="843737" cy="806572"/>
          </a:xfrm>
          <a:prstGeom prst="corner">
            <a:avLst>
              <a:gd name="adj1" fmla="val 38444"/>
              <a:gd name="adj2" fmla="val 9369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pic>
        <p:nvPicPr>
          <p:cNvPr id="2504" name="Picture 250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708121" y="2589300"/>
            <a:ext cx="376294" cy="376346"/>
          </a:xfrm>
          <a:prstGeom prst="rect">
            <a:avLst/>
          </a:prstGeom>
          <a:noFill/>
        </p:spPr>
      </p:pic>
      <p:sp>
        <p:nvSpPr>
          <p:cNvPr id="5175" name="L-Shape 5174"/>
          <p:cNvSpPr/>
          <p:nvPr/>
        </p:nvSpPr>
        <p:spPr bwMode="auto">
          <a:xfrm>
            <a:off x="3577735" y="2526132"/>
            <a:ext cx="771458" cy="755178"/>
          </a:xfrm>
          <a:prstGeom prst="corner">
            <a:avLst>
              <a:gd name="adj1" fmla="val 46867"/>
              <a:gd name="adj2" fmla="val 71126"/>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pic>
        <p:nvPicPr>
          <p:cNvPr id="2508" name="Picture 2507"/>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901738" y="2602182"/>
            <a:ext cx="240426" cy="348105"/>
          </a:xfrm>
          <a:prstGeom prst="rect">
            <a:avLst/>
          </a:prstGeom>
          <a:noFill/>
        </p:spPr>
      </p:pic>
      <p:sp>
        <p:nvSpPr>
          <p:cNvPr id="5176" name="L-Shape 5175"/>
          <p:cNvSpPr/>
          <p:nvPr/>
        </p:nvSpPr>
        <p:spPr bwMode="auto">
          <a:xfrm rot="5400000" flipH="1">
            <a:off x="2635198" y="2484224"/>
            <a:ext cx="790109" cy="804065"/>
          </a:xfrm>
          <a:prstGeom prst="corner">
            <a:avLst>
              <a:gd name="adj1" fmla="val 38444"/>
              <a:gd name="adj2" fmla="val 90894"/>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pic>
        <p:nvPicPr>
          <p:cNvPr id="2502" name="Picture 2501"/>
          <p:cNvPicPr>
            <a:picLocks noChangeAspect="1"/>
          </p:cNvPicPr>
          <p:nvPr/>
        </p:nvPicPr>
        <p:blipFill>
          <a:blip r:embed="rId11"/>
          <a:stretch>
            <a:fillRect/>
          </a:stretch>
        </p:blipFill>
        <p:spPr>
          <a:xfrm>
            <a:off x="2802980" y="1647279"/>
            <a:ext cx="438849" cy="371387"/>
          </a:xfrm>
          <a:prstGeom prst="rect">
            <a:avLst/>
          </a:prstGeom>
          <a:noFill/>
        </p:spPr>
      </p:pic>
      <p:sp>
        <p:nvSpPr>
          <p:cNvPr id="5177" name="L-Shape 5176"/>
          <p:cNvSpPr/>
          <p:nvPr/>
        </p:nvSpPr>
        <p:spPr bwMode="auto">
          <a:xfrm rot="5400000" flipV="1">
            <a:off x="2614956" y="1607652"/>
            <a:ext cx="818658" cy="815997"/>
          </a:xfrm>
          <a:prstGeom prst="corner">
            <a:avLst>
              <a:gd name="adj1" fmla="val 38444"/>
              <a:gd name="adj2" fmla="val 9173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2519" name="Freeform 78"/>
          <p:cNvSpPr>
            <a:spLocks noEditPoints="1"/>
          </p:cNvSpPr>
          <p:nvPr/>
        </p:nvSpPr>
        <p:spPr bwMode="black">
          <a:xfrm>
            <a:off x="3763588" y="4924086"/>
            <a:ext cx="386193" cy="36964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0637" tIns="40319" rIns="80637" bIns="40319" numCol="1" anchor="t" anchorCtr="0" compatLnSpc="1">
            <a:prstTxWarp prst="textNoShape">
              <a:avLst/>
            </a:prstTxWarp>
          </a:bodyPr>
          <a:lstStyle/>
          <a:p>
            <a:pPr defTabSz="670914"/>
            <a:endParaRPr lang="en-US" sz="914" dirty="0">
              <a:solidFill>
                <a:srgbClr val="FFFFFF"/>
              </a:solidFill>
            </a:endParaRPr>
          </a:p>
        </p:txBody>
      </p:sp>
      <p:sp>
        <p:nvSpPr>
          <p:cNvPr id="5178" name="L-Shape 5177"/>
          <p:cNvSpPr/>
          <p:nvPr/>
        </p:nvSpPr>
        <p:spPr bwMode="auto">
          <a:xfrm flipH="1">
            <a:off x="3475781" y="4875804"/>
            <a:ext cx="837103" cy="806572"/>
          </a:xfrm>
          <a:prstGeom prst="corner">
            <a:avLst>
              <a:gd name="adj1" fmla="val 38444"/>
              <a:gd name="adj2" fmla="val 86106"/>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2521" name="Freeform 58"/>
          <p:cNvSpPr>
            <a:spLocks noEditPoints="1"/>
          </p:cNvSpPr>
          <p:nvPr/>
        </p:nvSpPr>
        <p:spPr bwMode="black">
          <a:xfrm>
            <a:off x="4665758" y="4965953"/>
            <a:ext cx="375924" cy="402978"/>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37" tIns="40319" rIns="80637" bIns="40319" numCol="1" anchor="t" anchorCtr="0" compatLnSpc="1">
            <a:prstTxWarp prst="textNoShape">
              <a:avLst/>
            </a:prstTxWarp>
          </a:bodyPr>
          <a:lstStyle/>
          <a:p>
            <a:pPr defTabSz="670914"/>
            <a:endParaRPr lang="en-US" sz="914">
              <a:solidFill>
                <a:srgbClr val="FFFFFF"/>
              </a:solidFill>
            </a:endParaRPr>
          </a:p>
        </p:txBody>
      </p:sp>
      <p:sp>
        <p:nvSpPr>
          <p:cNvPr id="5179" name="L-Shape 5178"/>
          <p:cNvSpPr/>
          <p:nvPr/>
        </p:nvSpPr>
        <p:spPr bwMode="auto">
          <a:xfrm flipV="1">
            <a:off x="4510051" y="4875804"/>
            <a:ext cx="862321" cy="806572"/>
          </a:xfrm>
          <a:prstGeom prst="corner">
            <a:avLst>
              <a:gd name="adj1" fmla="val 43057"/>
              <a:gd name="adj2" fmla="val 7485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pic>
        <p:nvPicPr>
          <p:cNvPr id="2517"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5663736" y="4941101"/>
            <a:ext cx="374106" cy="374160"/>
          </a:xfrm>
          <a:prstGeom prst="rect">
            <a:avLst/>
          </a:prstGeom>
          <a:noFill/>
          <a:extLst>
            <a:ext uri="{909E8E84-426E-40DD-AFC4-6F175D3DCCD1}">
              <a14:hiddenFill xmlns:a14="http://schemas.microsoft.com/office/drawing/2010/main">
                <a:solidFill>
                  <a:srgbClr val="FFFFFF"/>
                </a:solidFill>
              </a14:hiddenFill>
            </a:ext>
          </a:extLst>
        </p:spPr>
      </p:pic>
      <p:sp>
        <p:nvSpPr>
          <p:cNvPr id="5180" name="L-Shape 5179"/>
          <p:cNvSpPr/>
          <p:nvPr/>
        </p:nvSpPr>
        <p:spPr bwMode="auto">
          <a:xfrm flipH="1">
            <a:off x="5188753" y="4875804"/>
            <a:ext cx="971078" cy="806572"/>
          </a:xfrm>
          <a:prstGeom prst="corner">
            <a:avLst>
              <a:gd name="adj1" fmla="val 49207"/>
              <a:gd name="adj2" fmla="val 9020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pic>
        <p:nvPicPr>
          <p:cNvPr id="2561" name="Picture 5" descr="C:\Users\Jonahs\Dropbox\Projects SCOTT\MEET Windows Azure\source\Background\tile-icon-CD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603370" y="4916212"/>
            <a:ext cx="485789" cy="481471"/>
          </a:xfrm>
          <a:prstGeom prst="rect">
            <a:avLst/>
          </a:prstGeom>
          <a:noFill/>
          <a:extLst>
            <a:ext uri="{909E8E84-426E-40DD-AFC4-6F175D3DCCD1}">
              <a14:hiddenFill xmlns:a14="http://schemas.microsoft.com/office/drawing/2010/main">
                <a:solidFill>
                  <a:srgbClr val="FFFFFF"/>
                </a:solidFill>
              </a14:hiddenFill>
            </a:ext>
          </a:extLst>
        </p:spPr>
      </p:pic>
      <p:sp>
        <p:nvSpPr>
          <p:cNvPr id="5181" name="L-Shape 5180"/>
          <p:cNvSpPr/>
          <p:nvPr/>
        </p:nvSpPr>
        <p:spPr bwMode="auto">
          <a:xfrm rot="5400000" flipV="1">
            <a:off x="6355996" y="4881847"/>
            <a:ext cx="818658" cy="806572"/>
          </a:xfrm>
          <a:prstGeom prst="corner">
            <a:avLst>
              <a:gd name="adj1" fmla="val 80102"/>
              <a:gd name="adj2" fmla="val 9173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5183" name="Group 5182"/>
          <p:cNvGrpSpPr/>
          <p:nvPr/>
        </p:nvGrpSpPr>
        <p:grpSpPr>
          <a:xfrm>
            <a:off x="8030126" y="3879785"/>
            <a:ext cx="815997" cy="818658"/>
            <a:chOff x="2667824" y="1637549"/>
            <a:chExt cx="832576" cy="835291"/>
          </a:xfrm>
        </p:grpSpPr>
        <p:pic>
          <p:nvPicPr>
            <p:cNvPr id="5184" name="Picture 5183"/>
            <p:cNvPicPr>
              <a:picLocks noChangeAspect="1"/>
            </p:cNvPicPr>
            <p:nvPr/>
          </p:nvPicPr>
          <p:blipFill>
            <a:blip r:embed="rId11">
              <a:lum bright="-100000"/>
            </a:blip>
            <a:stretch>
              <a:fillRect/>
            </a:stretch>
          </p:blipFill>
          <p:spPr>
            <a:xfrm>
              <a:off x="2858309" y="1679339"/>
              <a:ext cx="447765" cy="378933"/>
            </a:xfrm>
            <a:prstGeom prst="rect">
              <a:avLst/>
            </a:prstGeom>
            <a:noFill/>
          </p:spPr>
        </p:pic>
        <p:sp>
          <p:nvSpPr>
            <p:cNvPr id="5185" name="L-Shape 5184"/>
            <p:cNvSpPr/>
            <p:nvPr/>
          </p:nvSpPr>
          <p:spPr bwMode="auto">
            <a:xfrm rot="5400000" flipV="1">
              <a:off x="2666466" y="1638907"/>
              <a:ext cx="835291" cy="832576"/>
            </a:xfrm>
            <a:prstGeom prst="corner">
              <a:avLst>
                <a:gd name="adj1" fmla="val 38444"/>
                <a:gd name="adj2" fmla="val 9173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186" name="Group 5185"/>
          <p:cNvGrpSpPr/>
          <p:nvPr/>
        </p:nvGrpSpPr>
        <p:grpSpPr>
          <a:xfrm>
            <a:off x="7623225" y="4701980"/>
            <a:ext cx="804065" cy="790109"/>
            <a:chOff x="2679998" y="2540409"/>
            <a:chExt cx="820402" cy="806162"/>
          </a:xfrm>
        </p:grpSpPr>
        <p:pic>
          <p:nvPicPr>
            <p:cNvPr id="5187" name="Picture 5186"/>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a:ext>
              </a:extLst>
            </a:blip>
            <a:stretch>
              <a:fillRect/>
            </a:stretch>
          </p:blipFill>
          <p:spPr>
            <a:xfrm>
              <a:off x="2959074" y="2653644"/>
              <a:ext cx="245311" cy="355178"/>
            </a:xfrm>
            <a:prstGeom prst="rect">
              <a:avLst/>
            </a:prstGeom>
            <a:noFill/>
          </p:spPr>
        </p:pic>
        <p:sp>
          <p:nvSpPr>
            <p:cNvPr id="5188" name="L-Shape 5187"/>
            <p:cNvSpPr/>
            <p:nvPr/>
          </p:nvSpPr>
          <p:spPr bwMode="auto">
            <a:xfrm rot="5400000" flipH="1">
              <a:off x="2687118" y="2533289"/>
              <a:ext cx="806162" cy="820402"/>
            </a:xfrm>
            <a:prstGeom prst="corner">
              <a:avLst>
                <a:gd name="adj1" fmla="val 38444"/>
                <a:gd name="adj2" fmla="val 90894"/>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197" name="Group 5196"/>
          <p:cNvGrpSpPr/>
          <p:nvPr/>
        </p:nvGrpSpPr>
        <p:grpSpPr>
          <a:xfrm>
            <a:off x="8524673" y="5125911"/>
            <a:ext cx="843737" cy="809497"/>
            <a:chOff x="3650914" y="1646896"/>
            <a:chExt cx="860880" cy="825944"/>
          </a:xfrm>
        </p:grpSpPr>
        <p:pic>
          <p:nvPicPr>
            <p:cNvPr id="5198" name="Picture 5197"/>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727883" y="1704650"/>
              <a:ext cx="431850" cy="428014"/>
            </a:xfrm>
            <a:prstGeom prst="rect">
              <a:avLst/>
            </a:prstGeom>
          </p:spPr>
        </p:pic>
        <p:sp>
          <p:nvSpPr>
            <p:cNvPr id="5199" name="L-Shape 5198"/>
            <p:cNvSpPr/>
            <p:nvPr/>
          </p:nvSpPr>
          <p:spPr bwMode="auto">
            <a:xfrm>
              <a:off x="3650914" y="1646896"/>
              <a:ext cx="860880" cy="825944"/>
            </a:xfrm>
            <a:prstGeom prst="corner">
              <a:avLst>
                <a:gd name="adj1" fmla="val 38444"/>
                <a:gd name="adj2" fmla="val 73305"/>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200" name="Group 5199"/>
          <p:cNvGrpSpPr/>
          <p:nvPr/>
        </p:nvGrpSpPr>
        <p:grpSpPr>
          <a:xfrm>
            <a:off x="9201964" y="4514440"/>
            <a:ext cx="771458" cy="755178"/>
            <a:chOff x="3648807" y="2576049"/>
            <a:chExt cx="787132" cy="770522"/>
          </a:xfrm>
        </p:grpSpPr>
        <p:pic>
          <p:nvPicPr>
            <p:cNvPr id="5201" name="Picture 5200"/>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781841" y="2640500"/>
              <a:ext cx="383939" cy="383993"/>
            </a:xfrm>
            <a:prstGeom prst="rect">
              <a:avLst/>
            </a:prstGeom>
            <a:noFill/>
          </p:spPr>
        </p:pic>
        <p:sp>
          <p:nvSpPr>
            <p:cNvPr id="5202" name="L-Shape 5201"/>
            <p:cNvSpPr/>
            <p:nvPr/>
          </p:nvSpPr>
          <p:spPr bwMode="auto">
            <a:xfrm>
              <a:off x="3648807" y="2576049"/>
              <a:ext cx="787132" cy="770522"/>
            </a:xfrm>
            <a:prstGeom prst="corner">
              <a:avLst>
                <a:gd name="adj1" fmla="val 46867"/>
                <a:gd name="adj2" fmla="val 71126"/>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203" name="Group 5202"/>
          <p:cNvGrpSpPr/>
          <p:nvPr/>
        </p:nvGrpSpPr>
        <p:grpSpPr>
          <a:xfrm>
            <a:off x="8916077" y="3601848"/>
            <a:ext cx="971368" cy="809497"/>
            <a:chOff x="4337997" y="1646896"/>
            <a:chExt cx="991104" cy="825944"/>
          </a:xfrm>
        </p:grpSpPr>
        <p:pic>
          <p:nvPicPr>
            <p:cNvPr id="5204" name="Picture 7" descr="C:\Users\Jonahs\Dropbox\Projects SCOTT\MEET Windows Azure\source\Background\tile-icon-identity.png"/>
            <p:cNvPicPr>
              <a:picLocks noChangeAspect="1" noChangeArrowheads="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62890" y="1743952"/>
              <a:ext cx="375655" cy="375654"/>
            </a:xfrm>
            <a:prstGeom prst="rect">
              <a:avLst/>
            </a:prstGeom>
            <a:noFill/>
            <a:extLst>
              <a:ext uri="{909E8E84-426E-40DD-AFC4-6F175D3DCCD1}">
                <a14:hiddenFill xmlns:a14="http://schemas.microsoft.com/office/drawing/2010/main">
                  <a:solidFill>
                    <a:srgbClr val="FFFFFF"/>
                  </a:solidFill>
                </a14:hiddenFill>
              </a:ext>
            </a:extLst>
          </p:spPr>
        </p:pic>
        <p:sp>
          <p:nvSpPr>
            <p:cNvPr id="5205" name="L-Shape 5204"/>
            <p:cNvSpPr/>
            <p:nvPr/>
          </p:nvSpPr>
          <p:spPr bwMode="auto">
            <a:xfrm flipH="1" flipV="1">
              <a:off x="4337997" y="1646896"/>
              <a:ext cx="991104" cy="825944"/>
            </a:xfrm>
            <a:prstGeom prst="corner">
              <a:avLst>
                <a:gd name="adj1" fmla="val 47670"/>
                <a:gd name="adj2" fmla="val 8232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212" name="Group 5211"/>
          <p:cNvGrpSpPr/>
          <p:nvPr/>
        </p:nvGrpSpPr>
        <p:grpSpPr>
          <a:xfrm>
            <a:off x="10516724" y="5393447"/>
            <a:ext cx="843737" cy="799120"/>
            <a:chOff x="5570345" y="2523718"/>
            <a:chExt cx="860880" cy="815356"/>
          </a:xfrm>
        </p:grpSpPr>
        <p:pic>
          <p:nvPicPr>
            <p:cNvPr id="5213" name="Picture 2" descr="\\MAGNUM\Projects\Microsoft\Cloud Power FY12\Design\Icons\PNGs\Cloud_on_your_terms.png"/>
            <p:cNvPicPr>
              <a:picLocks noChangeAspect="1" noChangeArrowheads="1"/>
            </p:cNvPicPr>
            <p:nvPr/>
          </p:nvPicPr>
          <p:blipFill>
            <a:blip r:embed="rId22" cstate="print">
              <a:extLst>
                <a:ext uri="{BEBA8EAE-BF5A-486C-A8C5-ECC9F3942E4B}">
                  <a14:imgProps xmlns:a14="http://schemas.microsoft.com/office/drawing/2010/main">
                    <a14:imgLayer r:embed="rId23">
                      <a14:imgEffect>
                        <a14:brightnessContrast bright="-100000"/>
                      </a14:imgEffect>
                    </a14:imgLayer>
                  </a14:imgProps>
                </a:ext>
              </a:extLst>
            </a:blip>
            <a:stretch>
              <a:fillRect/>
            </a:stretch>
          </p:blipFill>
          <p:spPr bwMode="auto">
            <a:xfrm>
              <a:off x="5683078" y="2523718"/>
              <a:ext cx="620508" cy="620595"/>
            </a:xfrm>
            <a:prstGeom prst="rect">
              <a:avLst/>
            </a:prstGeom>
            <a:noFill/>
            <a:ln>
              <a:noFill/>
            </a:ln>
          </p:spPr>
        </p:pic>
        <p:sp>
          <p:nvSpPr>
            <p:cNvPr id="5214" name="L-Shape 5213"/>
            <p:cNvSpPr/>
            <p:nvPr/>
          </p:nvSpPr>
          <p:spPr bwMode="auto">
            <a:xfrm>
              <a:off x="5570345" y="2570974"/>
              <a:ext cx="860880" cy="768100"/>
            </a:xfrm>
            <a:prstGeom prst="corner">
              <a:avLst>
                <a:gd name="adj1" fmla="val 38444"/>
                <a:gd name="adj2" fmla="val 8996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215" name="Group 5214"/>
          <p:cNvGrpSpPr/>
          <p:nvPr/>
        </p:nvGrpSpPr>
        <p:grpSpPr>
          <a:xfrm>
            <a:off x="10303654" y="4583965"/>
            <a:ext cx="925092" cy="763976"/>
            <a:chOff x="6378270" y="2570974"/>
            <a:chExt cx="943888" cy="779498"/>
          </a:xfrm>
        </p:grpSpPr>
        <p:sp>
          <p:nvSpPr>
            <p:cNvPr id="5216" name="Freeform 5215"/>
            <p:cNvSpPr>
              <a:spLocks noEditPoints="1"/>
            </p:cNvSpPr>
            <p:nvPr/>
          </p:nvSpPr>
          <p:spPr bwMode="auto">
            <a:xfrm>
              <a:off x="6815246" y="2725939"/>
              <a:ext cx="340243" cy="30002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rgbClr val="000607"/>
            </a:solidFill>
            <a:ln>
              <a:noFill/>
            </a:ln>
          </p:spPr>
          <p:txBody>
            <a:bodyPr vert="horz" wrap="square" lIns="121854" tIns="60926" rIns="121854" bIns="60926" numCol="1" anchor="t" anchorCtr="0" compatLnSpc="1">
              <a:prstTxWarp prst="textNoShape">
                <a:avLst/>
              </a:prstTxWarp>
            </a:bodyPr>
            <a:lstStyle/>
            <a:p>
              <a:pPr defTabSz="1190369"/>
              <a:endParaRPr lang="en-US" sz="2352" dirty="0">
                <a:solidFill>
                  <a:srgbClr val="292929"/>
                </a:solidFill>
              </a:endParaRPr>
            </a:p>
          </p:txBody>
        </p:sp>
        <p:sp>
          <p:nvSpPr>
            <p:cNvPr id="5217" name="Analytics - blue"/>
            <p:cNvSpPr/>
            <p:nvPr/>
          </p:nvSpPr>
          <p:spPr bwMode="auto">
            <a:xfrm flipH="1" flipV="1">
              <a:off x="6378270" y="2570974"/>
              <a:ext cx="943888" cy="779498"/>
            </a:xfrm>
            <a:prstGeom prst="corner">
              <a:avLst>
                <a:gd name="adj1" fmla="val 46590"/>
                <a:gd name="adj2" fmla="val 102672"/>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222" name="Group 5221"/>
          <p:cNvGrpSpPr/>
          <p:nvPr/>
        </p:nvGrpSpPr>
        <p:grpSpPr>
          <a:xfrm>
            <a:off x="9423760" y="5328267"/>
            <a:ext cx="989089" cy="752805"/>
            <a:chOff x="4318502" y="2570974"/>
            <a:chExt cx="1009185" cy="768100"/>
          </a:xfrm>
        </p:grpSpPr>
        <p:sp>
          <p:nvSpPr>
            <p:cNvPr id="5223" name="Freeform 25"/>
            <p:cNvSpPr>
              <a:spLocks noEditPoints="1"/>
            </p:cNvSpPr>
            <p:nvPr/>
          </p:nvSpPr>
          <p:spPr bwMode="black">
            <a:xfrm>
              <a:off x="4792024" y="2677907"/>
              <a:ext cx="348340" cy="348742"/>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000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6" tIns="40334" rIns="80666" bIns="40334" numCol="1" anchor="t" anchorCtr="0" compatLnSpc="1">
              <a:prstTxWarp prst="textNoShape">
                <a:avLst/>
              </a:prstTxWarp>
            </a:bodyPr>
            <a:lstStyle/>
            <a:p>
              <a:pPr defTabSz="913946"/>
              <a:endParaRPr lang="en-US" sz="1568">
                <a:solidFill>
                  <a:srgbClr val="505050"/>
                </a:solidFill>
              </a:endParaRPr>
            </a:p>
          </p:txBody>
        </p:sp>
        <p:sp>
          <p:nvSpPr>
            <p:cNvPr id="5224" name="L-Shape 5223"/>
            <p:cNvSpPr/>
            <p:nvPr/>
          </p:nvSpPr>
          <p:spPr bwMode="auto">
            <a:xfrm flipH="1" flipV="1">
              <a:off x="4318502" y="2570974"/>
              <a:ext cx="1009185" cy="768100"/>
            </a:xfrm>
            <a:prstGeom prst="corner">
              <a:avLst>
                <a:gd name="adj1" fmla="val 38444"/>
                <a:gd name="adj2" fmla="val 9830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225" name="Group 5224"/>
          <p:cNvGrpSpPr/>
          <p:nvPr/>
        </p:nvGrpSpPr>
        <p:grpSpPr>
          <a:xfrm>
            <a:off x="9946282" y="3704944"/>
            <a:ext cx="950457" cy="809497"/>
            <a:chOff x="5570345" y="1650280"/>
            <a:chExt cx="969768" cy="825944"/>
          </a:xfrm>
        </p:grpSpPr>
        <p:pic>
          <p:nvPicPr>
            <p:cNvPr id="5226" name="Picture 5225"/>
            <p:cNvPicPr>
              <a:picLocks noChangeAspect="1"/>
            </p:cNvPicPr>
            <p:nvPr/>
          </p:nvPicPr>
          <p:blipFill>
            <a:blip r:embed="rId6">
              <a:lum bright="-100000"/>
            </a:blip>
            <a:stretch>
              <a:fillRect/>
            </a:stretch>
          </p:blipFill>
          <p:spPr>
            <a:xfrm>
              <a:off x="5787264" y="1713397"/>
              <a:ext cx="384545" cy="435206"/>
            </a:xfrm>
            <a:prstGeom prst="rect">
              <a:avLst/>
            </a:prstGeom>
          </p:spPr>
        </p:pic>
        <p:sp>
          <p:nvSpPr>
            <p:cNvPr id="5227" name="L-Shape 5226"/>
            <p:cNvSpPr/>
            <p:nvPr/>
          </p:nvSpPr>
          <p:spPr bwMode="auto">
            <a:xfrm flipV="1">
              <a:off x="5570345" y="1650280"/>
              <a:ext cx="969768" cy="825944"/>
            </a:xfrm>
            <a:prstGeom prst="corner">
              <a:avLst>
                <a:gd name="adj1" fmla="val 50745"/>
                <a:gd name="adj2" fmla="val 100563"/>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228" name="Group 5227"/>
          <p:cNvGrpSpPr/>
          <p:nvPr/>
        </p:nvGrpSpPr>
        <p:grpSpPr>
          <a:xfrm>
            <a:off x="10902745" y="3711350"/>
            <a:ext cx="820940" cy="809497"/>
            <a:chOff x="6484538" y="1650280"/>
            <a:chExt cx="837620" cy="825944"/>
          </a:xfrm>
        </p:grpSpPr>
        <p:sp>
          <p:nvSpPr>
            <p:cNvPr id="5229" name="Freeform 25"/>
            <p:cNvSpPr>
              <a:spLocks noEditPoints="1"/>
            </p:cNvSpPr>
            <p:nvPr/>
          </p:nvSpPr>
          <p:spPr bwMode="black">
            <a:xfrm flipH="1">
              <a:off x="6783102" y="1697528"/>
              <a:ext cx="432290" cy="432464"/>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0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1" tIns="44802" rIns="89601" bIns="44802" numCol="1" anchor="t" anchorCtr="0" compatLnSpc="1">
              <a:prstTxWarp prst="textNoShape">
                <a:avLst/>
              </a:prstTxWarp>
            </a:bodyPr>
            <a:lstStyle/>
            <a:p>
              <a:pPr defTabSz="895993"/>
              <a:endParaRPr lang="en-US" sz="1764" dirty="0">
                <a:solidFill>
                  <a:srgbClr val="000000"/>
                </a:solidFill>
              </a:endParaRPr>
            </a:p>
          </p:txBody>
        </p:sp>
        <p:sp>
          <p:nvSpPr>
            <p:cNvPr id="5230" name="L-Shape 5229"/>
            <p:cNvSpPr/>
            <p:nvPr/>
          </p:nvSpPr>
          <p:spPr bwMode="auto">
            <a:xfrm flipH="1">
              <a:off x="6484538" y="1650280"/>
              <a:ext cx="837620" cy="825944"/>
            </a:xfrm>
            <a:prstGeom prst="corner">
              <a:avLst>
                <a:gd name="adj1" fmla="val 38444"/>
                <a:gd name="adj2" fmla="val 8253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231" name="Group 5230"/>
          <p:cNvGrpSpPr/>
          <p:nvPr/>
        </p:nvGrpSpPr>
        <p:grpSpPr>
          <a:xfrm>
            <a:off x="8930049" y="4639558"/>
            <a:ext cx="843737" cy="809497"/>
            <a:chOff x="2677477" y="3725742"/>
            <a:chExt cx="860880" cy="825944"/>
          </a:xfrm>
        </p:grpSpPr>
        <p:sp>
          <p:nvSpPr>
            <p:cNvPr id="5232" name="Freeform 30"/>
            <p:cNvSpPr>
              <a:spLocks noEditPoints="1"/>
            </p:cNvSpPr>
            <p:nvPr/>
          </p:nvSpPr>
          <p:spPr bwMode="auto">
            <a:xfrm flipH="1">
              <a:off x="2944595" y="3819109"/>
              <a:ext cx="274268" cy="303268"/>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000607"/>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5233" name="L-Shape 5232"/>
            <p:cNvSpPr/>
            <p:nvPr/>
          </p:nvSpPr>
          <p:spPr bwMode="auto">
            <a:xfrm>
              <a:off x="2677477" y="3725742"/>
              <a:ext cx="860880" cy="825944"/>
            </a:xfrm>
            <a:prstGeom prst="corner">
              <a:avLst>
                <a:gd name="adj1" fmla="val 38444"/>
                <a:gd name="adj2" fmla="val 76380"/>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234" name="Group 5233"/>
          <p:cNvGrpSpPr/>
          <p:nvPr/>
        </p:nvGrpSpPr>
        <p:grpSpPr>
          <a:xfrm>
            <a:off x="9894608" y="5409380"/>
            <a:ext cx="998231" cy="809497"/>
            <a:chOff x="3405639" y="3725742"/>
            <a:chExt cx="1018513" cy="825944"/>
          </a:xfrm>
        </p:grpSpPr>
        <p:pic>
          <p:nvPicPr>
            <p:cNvPr id="5235" name="Picture 3" descr="C:\Users\Jonahs\Dropbox\Projects SCOTT\MEET Windows Azure\source\Background\tile-icon-bigdata.png"/>
            <p:cNvPicPr>
              <a:picLocks noChangeAspect="1" noChangeArrowheads="1"/>
            </p:cNvPicPr>
            <p:nvPr/>
          </p:nvPicPr>
          <p:blipFill>
            <a:blip r:embed="rId24" cstate="print">
              <a:extLst>
                <a:ext uri="{BEBA8EAE-BF5A-486C-A8C5-ECC9F3942E4B}">
                  <a14:imgProps xmlns:a14="http://schemas.microsoft.com/office/drawing/2010/main">
                    <a14:imgLayer r:embed="rId2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818100" y="3755319"/>
              <a:ext cx="434709" cy="430848"/>
            </a:xfrm>
            <a:prstGeom prst="rect">
              <a:avLst/>
            </a:prstGeom>
            <a:noFill/>
            <a:extLst>
              <a:ext uri="{909E8E84-426E-40DD-AFC4-6F175D3DCCD1}">
                <a14:hiddenFill xmlns:a14="http://schemas.microsoft.com/office/drawing/2010/main">
                  <a:solidFill>
                    <a:srgbClr val="FFFFFF"/>
                  </a:solidFill>
                </a14:hiddenFill>
              </a:ext>
            </a:extLst>
          </p:spPr>
        </p:pic>
        <p:sp>
          <p:nvSpPr>
            <p:cNvPr id="5236" name="L-Shape 5235"/>
            <p:cNvSpPr/>
            <p:nvPr/>
          </p:nvSpPr>
          <p:spPr bwMode="auto">
            <a:xfrm flipH="1" flipV="1">
              <a:off x="3405639" y="3725742"/>
              <a:ext cx="1018513" cy="825944"/>
            </a:xfrm>
            <a:prstGeom prst="corner">
              <a:avLst>
                <a:gd name="adj1" fmla="val 49207"/>
                <a:gd name="adj2" fmla="val 9462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237" name="Group 5236"/>
          <p:cNvGrpSpPr/>
          <p:nvPr/>
        </p:nvGrpSpPr>
        <p:grpSpPr>
          <a:xfrm>
            <a:off x="9131745" y="5550234"/>
            <a:ext cx="843737" cy="804065"/>
            <a:chOff x="4616402" y="3728513"/>
            <a:chExt cx="860880" cy="820402"/>
          </a:xfrm>
        </p:grpSpPr>
        <p:pic>
          <p:nvPicPr>
            <p:cNvPr id="5238" name="Picture 2" descr="C:\Users\Jonahs\Dropbox\Projects SCOTT\MEET Windows Azure\source\Background\tile-icon-storage.png"/>
            <p:cNvPicPr>
              <a:picLocks noChangeAspect="1" noChangeArrowheads="1"/>
            </p:cNvPicPr>
            <p:nvPr/>
          </p:nvPicPr>
          <p:blipFill>
            <a:blip r:embed="rId26" cstate="print">
              <a:extLst>
                <a:ext uri="{BEBA8EAE-BF5A-486C-A8C5-ECC9F3942E4B}">
                  <a14:imgProps xmlns:a14="http://schemas.microsoft.com/office/drawing/2010/main">
                    <a14:imgLayer r:embed="rId2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45698" y="3765695"/>
              <a:ext cx="410039" cy="410097"/>
            </a:xfrm>
            <a:prstGeom prst="rect">
              <a:avLst/>
            </a:prstGeom>
            <a:noFill/>
            <a:extLst>
              <a:ext uri="{909E8E84-426E-40DD-AFC4-6F175D3DCCD1}">
                <a14:hiddenFill xmlns:a14="http://schemas.microsoft.com/office/drawing/2010/main">
                  <a:solidFill>
                    <a:srgbClr val="FFFFFF"/>
                  </a:solidFill>
                </a14:hiddenFill>
              </a:ext>
            </a:extLst>
          </p:spPr>
        </p:pic>
        <p:sp>
          <p:nvSpPr>
            <p:cNvPr id="5239" name="L-Shape 5238"/>
            <p:cNvSpPr/>
            <p:nvPr/>
          </p:nvSpPr>
          <p:spPr bwMode="auto">
            <a:xfrm>
              <a:off x="4616402" y="3728513"/>
              <a:ext cx="860880" cy="820402"/>
            </a:xfrm>
            <a:prstGeom prst="corner">
              <a:avLst>
                <a:gd name="adj1" fmla="val 38444"/>
                <a:gd name="adj2" fmla="val 79712"/>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240" name="Group 5239"/>
          <p:cNvGrpSpPr/>
          <p:nvPr/>
        </p:nvGrpSpPr>
        <p:grpSpPr>
          <a:xfrm>
            <a:off x="9652524" y="4355526"/>
            <a:ext cx="843737" cy="806572"/>
            <a:chOff x="5424327" y="3725955"/>
            <a:chExt cx="860880" cy="822960"/>
          </a:xfrm>
        </p:grpSpPr>
        <p:pic>
          <p:nvPicPr>
            <p:cNvPr id="5241" name="Picture 5240"/>
            <p:cNvPicPr>
              <a:picLocks noChangeAspect="1"/>
            </p:cNvPicPr>
            <p:nvPr/>
          </p:nvPicPr>
          <p:blipFill>
            <a:blip r:embed="rId28" cstate="print">
              <a:extLst>
                <a:ext uri="{BEBA8EAE-BF5A-486C-A8C5-ECC9F3942E4B}">
                  <a14:imgProps xmlns:a14="http://schemas.microsoft.com/office/drawing/2010/main">
                    <a14:imgLayer r:embed="rId2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771525" y="3792695"/>
              <a:ext cx="393037" cy="356096"/>
            </a:xfrm>
            <a:prstGeom prst="rect">
              <a:avLst/>
            </a:prstGeom>
          </p:spPr>
        </p:pic>
        <p:sp>
          <p:nvSpPr>
            <p:cNvPr id="5242" name="L-Shape 5241"/>
            <p:cNvSpPr/>
            <p:nvPr/>
          </p:nvSpPr>
          <p:spPr bwMode="auto">
            <a:xfrm flipH="1" flipV="1">
              <a:off x="5424327" y="3725955"/>
              <a:ext cx="860880" cy="822960"/>
            </a:xfrm>
            <a:prstGeom prst="corner">
              <a:avLst>
                <a:gd name="adj1" fmla="val 44546"/>
                <a:gd name="adj2" fmla="val 73388"/>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sp>
        <p:nvSpPr>
          <p:cNvPr id="2572" name="Freeform 30"/>
          <p:cNvSpPr>
            <a:spLocks noEditPoints="1"/>
          </p:cNvSpPr>
          <p:nvPr/>
        </p:nvSpPr>
        <p:spPr bwMode="auto">
          <a:xfrm flipH="1">
            <a:off x="2887547" y="3744439"/>
            <a:ext cx="268806" cy="297229"/>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5169" name="L-Shape 5168"/>
          <p:cNvSpPr/>
          <p:nvPr/>
        </p:nvSpPr>
        <p:spPr bwMode="auto">
          <a:xfrm>
            <a:off x="2625749" y="3652931"/>
            <a:ext cx="843737" cy="809497"/>
          </a:xfrm>
          <a:prstGeom prst="corner">
            <a:avLst>
              <a:gd name="adj1" fmla="val 38444"/>
              <a:gd name="adj2" fmla="val 76380"/>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pic>
        <p:nvPicPr>
          <p:cNvPr id="2533" name="Picture 3" descr="C:\Users\Jonahs\Dropbox\Projects SCOTT\MEET Windows Azure\source\Background\tile-icon-bigdata.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743659" y="3681918"/>
            <a:ext cx="426053" cy="422268"/>
          </a:xfrm>
          <a:prstGeom prst="rect">
            <a:avLst/>
          </a:prstGeom>
          <a:noFill/>
          <a:extLst>
            <a:ext uri="{909E8E84-426E-40DD-AFC4-6F175D3DCCD1}">
              <a14:hiddenFill xmlns:a14="http://schemas.microsoft.com/office/drawing/2010/main">
                <a:solidFill>
                  <a:srgbClr val="FFFFFF"/>
                </a:solidFill>
              </a14:hiddenFill>
            </a:ext>
          </a:extLst>
        </p:spPr>
      </p:pic>
      <p:sp>
        <p:nvSpPr>
          <p:cNvPr id="5170" name="L-Shape 5169"/>
          <p:cNvSpPr/>
          <p:nvPr/>
        </p:nvSpPr>
        <p:spPr bwMode="auto">
          <a:xfrm flipH="1" flipV="1">
            <a:off x="3339411" y="3652931"/>
            <a:ext cx="998231" cy="809497"/>
          </a:xfrm>
          <a:prstGeom prst="corner">
            <a:avLst>
              <a:gd name="adj1" fmla="val 49207"/>
              <a:gd name="adj2" fmla="val 9462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pic>
        <p:nvPicPr>
          <p:cNvPr id="2535" name="Picture 2" descr="C:\Users\Jonahs\Dropbox\Projects SCOTT\MEET Windows Azure\source\Background\tile-icon-storage.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4652784" y="3692089"/>
            <a:ext cx="401874" cy="401931"/>
          </a:xfrm>
          <a:prstGeom prst="rect">
            <a:avLst/>
          </a:prstGeom>
          <a:noFill/>
          <a:extLst>
            <a:ext uri="{909E8E84-426E-40DD-AFC4-6F175D3DCCD1}">
              <a14:hiddenFill xmlns:a14="http://schemas.microsoft.com/office/drawing/2010/main">
                <a:solidFill>
                  <a:srgbClr val="FFFFFF"/>
                </a:solidFill>
              </a14:hiddenFill>
            </a:ext>
          </a:extLst>
        </p:spPr>
      </p:pic>
      <p:sp>
        <p:nvSpPr>
          <p:cNvPr id="5172" name="L-Shape 5171"/>
          <p:cNvSpPr/>
          <p:nvPr/>
        </p:nvSpPr>
        <p:spPr bwMode="auto">
          <a:xfrm>
            <a:off x="4526064" y="3655647"/>
            <a:ext cx="843737" cy="804065"/>
          </a:xfrm>
          <a:prstGeom prst="corner">
            <a:avLst>
              <a:gd name="adj1" fmla="val 38444"/>
              <a:gd name="adj2" fmla="val 7971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pic>
        <p:nvPicPr>
          <p:cNvPr id="2531" name="Picture 2530"/>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5658184" y="3718551"/>
            <a:ext cx="385210" cy="349005"/>
          </a:xfrm>
          <a:prstGeom prst="rect">
            <a:avLst/>
          </a:prstGeom>
        </p:spPr>
      </p:pic>
      <p:sp>
        <p:nvSpPr>
          <p:cNvPr id="5173" name="L-Shape 5172"/>
          <p:cNvSpPr/>
          <p:nvPr/>
        </p:nvSpPr>
        <p:spPr bwMode="auto">
          <a:xfrm flipH="1" flipV="1">
            <a:off x="5317900" y="3653139"/>
            <a:ext cx="843737" cy="806572"/>
          </a:xfrm>
          <a:prstGeom prst="corner">
            <a:avLst>
              <a:gd name="adj1" fmla="val 44546"/>
              <a:gd name="adj2" fmla="val 73388"/>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5243" name="Group 5242"/>
          <p:cNvGrpSpPr/>
          <p:nvPr/>
        </p:nvGrpSpPr>
        <p:grpSpPr>
          <a:xfrm>
            <a:off x="10452932" y="4556526"/>
            <a:ext cx="843737" cy="806572"/>
            <a:chOff x="2677477" y="4973462"/>
            <a:chExt cx="860880" cy="822960"/>
          </a:xfrm>
        </p:grpSpPr>
        <p:pic>
          <p:nvPicPr>
            <p:cNvPr id="5244" name="Picture 5243"/>
            <p:cNvPicPr>
              <a:picLocks noChangeAspect="1"/>
            </p:cNvPicPr>
            <p:nvPr/>
          </p:nvPicPr>
          <p:blipFill>
            <a:blip r:embed="rId33" cstate="print">
              <a:extLst>
                <a:ext uri="{BEBA8EAE-BF5A-486C-A8C5-ECC9F3942E4B}">
                  <a14:imgProps xmlns:a14="http://schemas.microsoft.com/office/drawing/2010/main">
                    <a14:imgLayer r:embed="rId3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889760" y="5043280"/>
              <a:ext cx="383938" cy="347347"/>
            </a:xfrm>
            <a:prstGeom prst="rect">
              <a:avLst/>
            </a:prstGeom>
            <a:noFill/>
            <a:ln>
              <a:noFill/>
            </a:ln>
          </p:spPr>
        </p:pic>
        <p:sp>
          <p:nvSpPr>
            <p:cNvPr id="5245" name="L-Shape 5244"/>
            <p:cNvSpPr/>
            <p:nvPr/>
          </p:nvSpPr>
          <p:spPr bwMode="auto">
            <a:xfrm flipV="1">
              <a:off x="2677477" y="4973462"/>
              <a:ext cx="860880" cy="822960"/>
            </a:xfrm>
            <a:prstGeom prst="corner">
              <a:avLst>
                <a:gd name="adj1" fmla="val 38444"/>
                <a:gd name="adj2" fmla="val 93695"/>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246" name="Group 5245"/>
          <p:cNvGrpSpPr/>
          <p:nvPr/>
        </p:nvGrpSpPr>
        <p:grpSpPr>
          <a:xfrm>
            <a:off x="9381260" y="4612804"/>
            <a:ext cx="837103" cy="806572"/>
            <a:chOff x="3544779" y="4973462"/>
            <a:chExt cx="854111" cy="822960"/>
          </a:xfrm>
        </p:grpSpPr>
        <p:sp>
          <p:nvSpPr>
            <p:cNvPr id="5247" name="Freeform 78"/>
            <p:cNvSpPr>
              <a:spLocks noEditPoints="1"/>
            </p:cNvSpPr>
            <p:nvPr/>
          </p:nvSpPr>
          <p:spPr bwMode="black">
            <a:xfrm>
              <a:off x="3838434" y="5022724"/>
              <a:ext cx="394040" cy="37715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000607"/>
            </a:solidFill>
            <a:ln>
              <a:noFill/>
            </a:ln>
          </p:spPr>
          <p:txBody>
            <a:bodyPr vert="horz" wrap="square" lIns="80637" tIns="40319" rIns="80637" bIns="40319" numCol="1" anchor="t" anchorCtr="0" compatLnSpc="1">
              <a:prstTxWarp prst="textNoShape">
                <a:avLst/>
              </a:prstTxWarp>
            </a:bodyPr>
            <a:lstStyle/>
            <a:p>
              <a:pPr defTabSz="670914"/>
              <a:endParaRPr lang="en-US" sz="914" dirty="0">
                <a:solidFill>
                  <a:srgbClr val="FFFFFF"/>
                </a:solidFill>
              </a:endParaRPr>
            </a:p>
          </p:txBody>
        </p:sp>
        <p:sp>
          <p:nvSpPr>
            <p:cNvPr id="5248" name="L-Shape 5247"/>
            <p:cNvSpPr/>
            <p:nvPr/>
          </p:nvSpPr>
          <p:spPr bwMode="auto">
            <a:xfrm flipH="1">
              <a:off x="3544779" y="4973462"/>
              <a:ext cx="854111" cy="822960"/>
            </a:xfrm>
            <a:prstGeom prst="corner">
              <a:avLst>
                <a:gd name="adj1" fmla="val 38444"/>
                <a:gd name="adj2" fmla="val 86106"/>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249" name="Group 5248"/>
          <p:cNvGrpSpPr/>
          <p:nvPr/>
        </p:nvGrpSpPr>
        <p:grpSpPr>
          <a:xfrm>
            <a:off x="8448010" y="4595068"/>
            <a:ext cx="862321" cy="806572"/>
            <a:chOff x="4600064" y="4973462"/>
            <a:chExt cx="879841" cy="822960"/>
          </a:xfrm>
        </p:grpSpPr>
        <p:sp>
          <p:nvSpPr>
            <p:cNvPr id="5250" name="Freeform 58"/>
            <p:cNvSpPr>
              <a:spLocks noEditPoints="1"/>
            </p:cNvSpPr>
            <p:nvPr/>
          </p:nvSpPr>
          <p:spPr bwMode="black">
            <a:xfrm>
              <a:off x="4758936" y="5065442"/>
              <a:ext cx="383562" cy="41116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000607"/>
            </a:solidFill>
            <a:ln>
              <a:noFill/>
            </a:ln>
          </p:spPr>
          <p:txBody>
            <a:bodyPr vert="horz" wrap="square" lIns="80637" tIns="40319" rIns="80637" bIns="40319" numCol="1" anchor="t" anchorCtr="0" compatLnSpc="1">
              <a:prstTxWarp prst="textNoShape">
                <a:avLst/>
              </a:prstTxWarp>
            </a:bodyPr>
            <a:lstStyle/>
            <a:p>
              <a:pPr defTabSz="670914"/>
              <a:endParaRPr lang="en-US" sz="914">
                <a:solidFill>
                  <a:srgbClr val="FFFFFF"/>
                </a:solidFill>
              </a:endParaRPr>
            </a:p>
          </p:txBody>
        </p:sp>
        <p:sp>
          <p:nvSpPr>
            <p:cNvPr id="5251" name="L-Shape 5250"/>
            <p:cNvSpPr/>
            <p:nvPr/>
          </p:nvSpPr>
          <p:spPr bwMode="auto">
            <a:xfrm flipV="1">
              <a:off x="4600064" y="4973462"/>
              <a:ext cx="879841" cy="822960"/>
            </a:xfrm>
            <a:prstGeom prst="corner">
              <a:avLst>
                <a:gd name="adj1" fmla="val 43057"/>
                <a:gd name="adj2" fmla="val 7485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252" name="Group 5251"/>
          <p:cNvGrpSpPr/>
          <p:nvPr/>
        </p:nvGrpSpPr>
        <p:grpSpPr>
          <a:xfrm>
            <a:off x="8929086" y="3682260"/>
            <a:ext cx="971078" cy="806572"/>
            <a:chOff x="5292557" y="4973462"/>
            <a:chExt cx="990808" cy="822960"/>
          </a:xfrm>
        </p:grpSpPr>
        <p:pic>
          <p:nvPicPr>
            <p:cNvPr id="5253" name="Picture 2"/>
            <p:cNvPicPr>
              <a:picLocks noChangeAspect="1" noChangeArrowheads="1"/>
            </p:cNvPicPr>
            <p:nvPr/>
          </p:nvPicPr>
          <p:blipFill>
            <a:blip r:embed="rId35" cstate="print">
              <a:extLst>
                <a:ext uri="{BEBA8EAE-BF5A-486C-A8C5-ECC9F3942E4B}">
                  <a14:imgProps xmlns:a14="http://schemas.microsoft.com/office/drawing/2010/main">
                    <a14:imgLayer r:embed="rId36">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5777190" y="5040086"/>
              <a:ext cx="381707" cy="381762"/>
            </a:xfrm>
            <a:prstGeom prst="rect">
              <a:avLst/>
            </a:prstGeom>
            <a:noFill/>
            <a:extLst>
              <a:ext uri="{909E8E84-426E-40DD-AFC4-6F175D3DCCD1}">
                <a14:hiddenFill xmlns:a14="http://schemas.microsoft.com/office/drawing/2010/main">
                  <a:solidFill>
                    <a:srgbClr val="FFFFFF"/>
                  </a:solidFill>
                </a14:hiddenFill>
              </a:ext>
            </a:extLst>
          </p:spPr>
        </p:pic>
        <p:sp>
          <p:nvSpPr>
            <p:cNvPr id="5254" name="L-Shape 5253"/>
            <p:cNvSpPr/>
            <p:nvPr/>
          </p:nvSpPr>
          <p:spPr bwMode="auto">
            <a:xfrm flipH="1">
              <a:off x="5292557" y="4973462"/>
              <a:ext cx="990808" cy="822960"/>
            </a:xfrm>
            <a:prstGeom prst="corner">
              <a:avLst>
                <a:gd name="adj1" fmla="val 49207"/>
                <a:gd name="adj2" fmla="val 90202"/>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255" name="Group 5254"/>
          <p:cNvGrpSpPr/>
          <p:nvPr/>
        </p:nvGrpSpPr>
        <p:grpSpPr>
          <a:xfrm>
            <a:off x="10067141" y="3634877"/>
            <a:ext cx="806572" cy="818658"/>
            <a:chOff x="6489681" y="4973462"/>
            <a:chExt cx="822960" cy="835291"/>
          </a:xfrm>
        </p:grpSpPr>
        <p:pic>
          <p:nvPicPr>
            <p:cNvPr id="5256" name="Picture 5" descr="C:\Users\Jonahs\Dropbox\Projects SCOTT\MEET Windows Azure\source\Background\tile-icon-CDN.png"/>
            <p:cNvPicPr>
              <a:picLocks noChangeAspect="1" noChangeArrowheads="1"/>
            </p:cNvPicPr>
            <p:nvPr/>
          </p:nvPicPr>
          <p:blipFill>
            <a:blip r:embed="rId37" cstate="print">
              <a:extLst>
                <a:ext uri="{BEBA8EAE-BF5A-486C-A8C5-ECC9F3942E4B}">
                  <a14:imgProps xmlns:a14="http://schemas.microsoft.com/office/drawing/2010/main">
                    <a14:imgLayer r:embed="rId3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735914" y="5014690"/>
              <a:ext cx="495659" cy="491253"/>
            </a:xfrm>
            <a:prstGeom prst="rect">
              <a:avLst/>
            </a:prstGeom>
            <a:noFill/>
            <a:extLst>
              <a:ext uri="{909E8E84-426E-40DD-AFC4-6F175D3DCCD1}">
                <a14:hiddenFill xmlns:a14="http://schemas.microsoft.com/office/drawing/2010/main">
                  <a:solidFill>
                    <a:srgbClr val="FFFFFF"/>
                  </a:solidFill>
                </a14:hiddenFill>
              </a:ext>
            </a:extLst>
          </p:spPr>
        </p:pic>
        <p:sp>
          <p:nvSpPr>
            <p:cNvPr id="5257" name="L-Shape 5256"/>
            <p:cNvSpPr/>
            <p:nvPr/>
          </p:nvSpPr>
          <p:spPr bwMode="auto">
            <a:xfrm rot="5400000" flipV="1">
              <a:off x="6483515" y="4979628"/>
              <a:ext cx="835291" cy="822960"/>
            </a:xfrm>
            <a:prstGeom prst="corner">
              <a:avLst>
                <a:gd name="adj1" fmla="val 80102"/>
                <a:gd name="adj2" fmla="val 9173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spTree>
    <p:extLst>
      <p:ext uri="{BB962C8B-B14F-4D97-AF65-F5344CB8AC3E}">
        <p14:creationId xmlns:p14="http://schemas.microsoft.com/office/powerpoint/2010/main" val="31257718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800"/>
                                  </p:stCondLst>
                                  <p:childTnLst>
                                    <p:set>
                                      <p:cBhvr>
                                        <p:cTn id="9" dur="1" fill="hold">
                                          <p:stCondLst>
                                            <p:cond delay="0"/>
                                          </p:stCondLst>
                                        </p:cTn>
                                        <p:tgtEl>
                                          <p:spTgt spid="5183"/>
                                        </p:tgtEl>
                                        <p:attrNameLst>
                                          <p:attrName>style.visibility</p:attrName>
                                        </p:attrNameLst>
                                      </p:cBhvr>
                                      <p:to>
                                        <p:strVal val="visible"/>
                                      </p:to>
                                    </p:set>
                                    <p:animEffect transition="in" filter="fade">
                                      <p:cBhvr>
                                        <p:cTn id="10" dur="250"/>
                                        <p:tgtEl>
                                          <p:spTgt spid="5183"/>
                                        </p:tgtEl>
                                      </p:cBhvr>
                                    </p:animEffect>
                                  </p:childTnLst>
                                </p:cTn>
                              </p:par>
                              <p:par>
                                <p:cTn id="11" presetID="10" presetClass="entr" presetSubtype="0" fill="hold" nodeType="withEffect">
                                  <p:stCondLst>
                                    <p:cond delay="800"/>
                                  </p:stCondLst>
                                  <p:childTnLst>
                                    <p:set>
                                      <p:cBhvr>
                                        <p:cTn id="12" dur="1" fill="hold">
                                          <p:stCondLst>
                                            <p:cond delay="0"/>
                                          </p:stCondLst>
                                        </p:cTn>
                                        <p:tgtEl>
                                          <p:spTgt spid="5186"/>
                                        </p:tgtEl>
                                        <p:attrNameLst>
                                          <p:attrName>style.visibility</p:attrName>
                                        </p:attrNameLst>
                                      </p:cBhvr>
                                      <p:to>
                                        <p:strVal val="visible"/>
                                      </p:to>
                                    </p:set>
                                    <p:animEffect transition="in" filter="fade">
                                      <p:cBhvr>
                                        <p:cTn id="13" dur="250"/>
                                        <p:tgtEl>
                                          <p:spTgt spid="5186"/>
                                        </p:tgtEl>
                                      </p:cBhvr>
                                    </p:animEffect>
                                  </p:childTnLst>
                                </p:cTn>
                              </p:par>
                              <p:par>
                                <p:cTn id="14" presetID="10" presetClass="entr" presetSubtype="0" fill="hold" nodeType="withEffect">
                                  <p:stCondLst>
                                    <p:cond delay="800"/>
                                  </p:stCondLst>
                                  <p:childTnLst>
                                    <p:set>
                                      <p:cBhvr>
                                        <p:cTn id="15" dur="1" fill="hold">
                                          <p:stCondLst>
                                            <p:cond delay="0"/>
                                          </p:stCondLst>
                                        </p:cTn>
                                        <p:tgtEl>
                                          <p:spTgt spid="5197"/>
                                        </p:tgtEl>
                                        <p:attrNameLst>
                                          <p:attrName>style.visibility</p:attrName>
                                        </p:attrNameLst>
                                      </p:cBhvr>
                                      <p:to>
                                        <p:strVal val="visible"/>
                                      </p:to>
                                    </p:set>
                                    <p:animEffect transition="in" filter="fade">
                                      <p:cBhvr>
                                        <p:cTn id="16" dur="250"/>
                                        <p:tgtEl>
                                          <p:spTgt spid="5197"/>
                                        </p:tgtEl>
                                      </p:cBhvr>
                                    </p:animEffect>
                                  </p:childTnLst>
                                </p:cTn>
                              </p:par>
                              <p:par>
                                <p:cTn id="17" presetID="10" presetClass="entr" presetSubtype="0" fill="hold" nodeType="withEffect">
                                  <p:stCondLst>
                                    <p:cond delay="800"/>
                                  </p:stCondLst>
                                  <p:childTnLst>
                                    <p:set>
                                      <p:cBhvr>
                                        <p:cTn id="18" dur="1" fill="hold">
                                          <p:stCondLst>
                                            <p:cond delay="0"/>
                                          </p:stCondLst>
                                        </p:cTn>
                                        <p:tgtEl>
                                          <p:spTgt spid="5200"/>
                                        </p:tgtEl>
                                        <p:attrNameLst>
                                          <p:attrName>style.visibility</p:attrName>
                                        </p:attrNameLst>
                                      </p:cBhvr>
                                      <p:to>
                                        <p:strVal val="visible"/>
                                      </p:to>
                                    </p:set>
                                    <p:animEffect transition="in" filter="fade">
                                      <p:cBhvr>
                                        <p:cTn id="19" dur="250"/>
                                        <p:tgtEl>
                                          <p:spTgt spid="5200"/>
                                        </p:tgtEl>
                                      </p:cBhvr>
                                    </p:animEffect>
                                  </p:childTnLst>
                                </p:cTn>
                              </p:par>
                              <p:par>
                                <p:cTn id="20" presetID="10" presetClass="entr" presetSubtype="0" fill="hold" nodeType="withEffect">
                                  <p:stCondLst>
                                    <p:cond delay="800"/>
                                  </p:stCondLst>
                                  <p:childTnLst>
                                    <p:set>
                                      <p:cBhvr>
                                        <p:cTn id="21" dur="1" fill="hold">
                                          <p:stCondLst>
                                            <p:cond delay="0"/>
                                          </p:stCondLst>
                                        </p:cTn>
                                        <p:tgtEl>
                                          <p:spTgt spid="5203"/>
                                        </p:tgtEl>
                                        <p:attrNameLst>
                                          <p:attrName>style.visibility</p:attrName>
                                        </p:attrNameLst>
                                      </p:cBhvr>
                                      <p:to>
                                        <p:strVal val="visible"/>
                                      </p:to>
                                    </p:set>
                                    <p:animEffect transition="in" filter="fade">
                                      <p:cBhvr>
                                        <p:cTn id="22" dur="250"/>
                                        <p:tgtEl>
                                          <p:spTgt spid="5203"/>
                                        </p:tgtEl>
                                      </p:cBhvr>
                                    </p:animEffect>
                                  </p:childTnLst>
                                </p:cTn>
                              </p:par>
                              <p:par>
                                <p:cTn id="23" presetID="10" presetClass="entr" presetSubtype="0" fill="hold" nodeType="withEffect">
                                  <p:stCondLst>
                                    <p:cond delay="800"/>
                                  </p:stCondLst>
                                  <p:childTnLst>
                                    <p:set>
                                      <p:cBhvr>
                                        <p:cTn id="24" dur="1" fill="hold">
                                          <p:stCondLst>
                                            <p:cond delay="0"/>
                                          </p:stCondLst>
                                        </p:cTn>
                                        <p:tgtEl>
                                          <p:spTgt spid="5215"/>
                                        </p:tgtEl>
                                        <p:attrNameLst>
                                          <p:attrName>style.visibility</p:attrName>
                                        </p:attrNameLst>
                                      </p:cBhvr>
                                      <p:to>
                                        <p:strVal val="visible"/>
                                      </p:to>
                                    </p:set>
                                    <p:animEffect transition="in" filter="fade">
                                      <p:cBhvr>
                                        <p:cTn id="25" dur="250"/>
                                        <p:tgtEl>
                                          <p:spTgt spid="5215"/>
                                        </p:tgtEl>
                                      </p:cBhvr>
                                    </p:animEffect>
                                  </p:childTnLst>
                                </p:cTn>
                              </p:par>
                              <p:par>
                                <p:cTn id="26" presetID="10" presetClass="entr" presetSubtype="0" fill="hold" nodeType="withEffect">
                                  <p:stCondLst>
                                    <p:cond delay="800"/>
                                  </p:stCondLst>
                                  <p:childTnLst>
                                    <p:set>
                                      <p:cBhvr>
                                        <p:cTn id="27" dur="1" fill="hold">
                                          <p:stCondLst>
                                            <p:cond delay="0"/>
                                          </p:stCondLst>
                                        </p:cTn>
                                        <p:tgtEl>
                                          <p:spTgt spid="5212"/>
                                        </p:tgtEl>
                                        <p:attrNameLst>
                                          <p:attrName>style.visibility</p:attrName>
                                        </p:attrNameLst>
                                      </p:cBhvr>
                                      <p:to>
                                        <p:strVal val="visible"/>
                                      </p:to>
                                    </p:set>
                                    <p:animEffect transition="in" filter="fade">
                                      <p:cBhvr>
                                        <p:cTn id="28" dur="250"/>
                                        <p:tgtEl>
                                          <p:spTgt spid="5212"/>
                                        </p:tgtEl>
                                      </p:cBhvr>
                                    </p:animEffect>
                                  </p:childTnLst>
                                </p:cTn>
                              </p:par>
                              <p:par>
                                <p:cTn id="29" presetID="10" presetClass="entr" presetSubtype="0" fill="hold" nodeType="withEffect">
                                  <p:stCondLst>
                                    <p:cond delay="800"/>
                                  </p:stCondLst>
                                  <p:childTnLst>
                                    <p:set>
                                      <p:cBhvr>
                                        <p:cTn id="30" dur="1" fill="hold">
                                          <p:stCondLst>
                                            <p:cond delay="0"/>
                                          </p:stCondLst>
                                        </p:cTn>
                                        <p:tgtEl>
                                          <p:spTgt spid="5225"/>
                                        </p:tgtEl>
                                        <p:attrNameLst>
                                          <p:attrName>style.visibility</p:attrName>
                                        </p:attrNameLst>
                                      </p:cBhvr>
                                      <p:to>
                                        <p:strVal val="visible"/>
                                      </p:to>
                                    </p:set>
                                    <p:animEffect transition="in" filter="fade">
                                      <p:cBhvr>
                                        <p:cTn id="31" dur="250"/>
                                        <p:tgtEl>
                                          <p:spTgt spid="5225"/>
                                        </p:tgtEl>
                                      </p:cBhvr>
                                    </p:animEffect>
                                  </p:childTnLst>
                                </p:cTn>
                              </p:par>
                              <p:par>
                                <p:cTn id="32" presetID="10" presetClass="entr" presetSubtype="0" fill="hold" nodeType="withEffect">
                                  <p:stCondLst>
                                    <p:cond delay="800"/>
                                  </p:stCondLst>
                                  <p:childTnLst>
                                    <p:set>
                                      <p:cBhvr>
                                        <p:cTn id="33" dur="1" fill="hold">
                                          <p:stCondLst>
                                            <p:cond delay="0"/>
                                          </p:stCondLst>
                                        </p:cTn>
                                        <p:tgtEl>
                                          <p:spTgt spid="5228"/>
                                        </p:tgtEl>
                                        <p:attrNameLst>
                                          <p:attrName>style.visibility</p:attrName>
                                        </p:attrNameLst>
                                      </p:cBhvr>
                                      <p:to>
                                        <p:strVal val="visible"/>
                                      </p:to>
                                    </p:set>
                                    <p:animEffect transition="in" filter="fade">
                                      <p:cBhvr>
                                        <p:cTn id="34" dur="250"/>
                                        <p:tgtEl>
                                          <p:spTgt spid="5228"/>
                                        </p:tgtEl>
                                      </p:cBhvr>
                                    </p:animEffect>
                                  </p:childTnLst>
                                </p:cTn>
                              </p:par>
                              <p:par>
                                <p:cTn id="35" presetID="10" presetClass="entr" presetSubtype="0" fill="hold" nodeType="withEffect">
                                  <p:stCondLst>
                                    <p:cond delay="800"/>
                                  </p:stCondLst>
                                  <p:childTnLst>
                                    <p:set>
                                      <p:cBhvr>
                                        <p:cTn id="36" dur="1" fill="hold">
                                          <p:stCondLst>
                                            <p:cond delay="0"/>
                                          </p:stCondLst>
                                        </p:cTn>
                                        <p:tgtEl>
                                          <p:spTgt spid="5222"/>
                                        </p:tgtEl>
                                        <p:attrNameLst>
                                          <p:attrName>style.visibility</p:attrName>
                                        </p:attrNameLst>
                                      </p:cBhvr>
                                      <p:to>
                                        <p:strVal val="visible"/>
                                      </p:to>
                                    </p:set>
                                    <p:animEffect transition="in" filter="fade">
                                      <p:cBhvr>
                                        <p:cTn id="37" dur="250"/>
                                        <p:tgtEl>
                                          <p:spTgt spid="5222"/>
                                        </p:tgtEl>
                                      </p:cBhvr>
                                    </p:animEffect>
                                  </p:childTnLst>
                                </p:cTn>
                              </p:par>
                              <p:par>
                                <p:cTn id="38" presetID="42" presetClass="path" presetSubtype="0" decel="100000" fill="hold" nodeType="withEffect">
                                  <p:stCondLst>
                                    <p:cond delay="1100"/>
                                  </p:stCondLst>
                                  <p:childTnLst>
                                    <p:animMotion origin="layout" path="M -1.30968E-6 -6.67272E-7 L -0.44409 -0.33159 " pathEditMode="relative" rAng="0" ptsTypes="AA">
                                      <p:cBhvr>
                                        <p:cTn id="39" dur="1000" fill="hold"/>
                                        <p:tgtEl>
                                          <p:spTgt spid="5183"/>
                                        </p:tgtEl>
                                        <p:attrNameLst>
                                          <p:attrName>ppt_x</p:attrName>
                                          <p:attrName>ppt_y</p:attrName>
                                        </p:attrNameLst>
                                      </p:cBhvr>
                                      <p:rCtr x="-22211" y="-16591"/>
                                    </p:animMotion>
                                  </p:childTnLst>
                                </p:cTn>
                              </p:par>
                              <p:par>
                                <p:cTn id="40" presetID="42" presetClass="path" presetSubtype="0" decel="100000" fill="hold" nodeType="withEffect">
                                  <p:stCondLst>
                                    <p:cond delay="1100"/>
                                  </p:stCondLst>
                                  <p:childTnLst>
                                    <p:animMotion origin="layout" path="M -4.40133E-6 -4.58466E-6 L -0.40988 -0.32252 " pathEditMode="relative" rAng="0" ptsTypes="AA">
                                      <p:cBhvr>
                                        <p:cTn id="41" dur="1000" fill="hold"/>
                                        <p:tgtEl>
                                          <p:spTgt spid="5186"/>
                                        </p:tgtEl>
                                        <p:attrNameLst>
                                          <p:attrName>ppt_x</p:attrName>
                                          <p:attrName>ppt_y</p:attrName>
                                        </p:attrNameLst>
                                      </p:cBhvr>
                                      <p:rCtr x="-20500" y="-16114"/>
                                    </p:animMotion>
                                  </p:childTnLst>
                                </p:cTn>
                              </p:par>
                              <p:par>
                                <p:cTn id="42" presetID="42" presetClass="path" presetSubtype="0" decel="100000" fill="hold" nodeType="withEffect">
                                  <p:stCondLst>
                                    <p:cond delay="1100"/>
                                  </p:stCondLst>
                                  <p:childTnLst>
                                    <p:animMotion origin="layout" path="M -2.43809E-6 2.67363E-6 L -0.40567 -0.51226 " pathEditMode="relative" rAng="0" ptsTypes="AA">
                                      <p:cBhvr>
                                        <p:cTn id="43" dur="1000" fill="hold"/>
                                        <p:tgtEl>
                                          <p:spTgt spid="5197"/>
                                        </p:tgtEl>
                                        <p:attrNameLst>
                                          <p:attrName>ppt_x</p:attrName>
                                          <p:attrName>ppt_y</p:attrName>
                                        </p:attrNameLst>
                                      </p:cBhvr>
                                      <p:rCtr x="-20232" y="-25624"/>
                                    </p:animMotion>
                                  </p:childTnLst>
                                </p:cTn>
                              </p:par>
                              <p:par>
                                <p:cTn id="44" presetID="42" presetClass="path" presetSubtype="0" decel="57000" fill="hold" nodeType="withEffect">
                                  <p:stCondLst>
                                    <p:cond delay="1100"/>
                                  </p:stCondLst>
                                  <p:childTnLst>
                                    <p:animMotion origin="layout" path="M -3.70692E-6 4.56196E-6 L -0.46145 -0.29006 " pathEditMode="relative" rAng="0" ptsTypes="AA">
                                      <p:cBhvr>
                                        <p:cTn id="45" dur="1000" fill="hold"/>
                                        <p:tgtEl>
                                          <p:spTgt spid="5200"/>
                                        </p:tgtEl>
                                        <p:attrNameLst>
                                          <p:attrName>ppt_x</p:attrName>
                                          <p:attrName>ppt_y</p:attrName>
                                        </p:attrNameLst>
                                      </p:cBhvr>
                                      <p:rCtr x="-23117" y="-14526"/>
                                    </p:animMotion>
                                  </p:childTnLst>
                                </p:cTn>
                              </p:par>
                              <p:par>
                                <p:cTn id="46" presetID="42" presetClass="path" presetSubtype="0" decel="100000" fill="hold" nodeType="withEffect">
                                  <p:stCondLst>
                                    <p:cond delay="1100"/>
                                  </p:stCondLst>
                                  <p:childTnLst>
                                    <p:animMotion origin="layout" path="M -3.51034E-6 -3.35906E-6 L -0.38256 -0.28983 " pathEditMode="relative" rAng="0" ptsTypes="AA">
                                      <p:cBhvr>
                                        <p:cTn id="47" dur="1000" fill="hold"/>
                                        <p:tgtEl>
                                          <p:spTgt spid="5203"/>
                                        </p:tgtEl>
                                        <p:attrNameLst>
                                          <p:attrName>ppt_x</p:attrName>
                                          <p:attrName>ppt_y</p:attrName>
                                        </p:attrNameLst>
                                      </p:cBhvr>
                                      <p:rCtr x="-19135" y="-14503"/>
                                    </p:animMotion>
                                  </p:childTnLst>
                                </p:cTn>
                              </p:par>
                              <p:par>
                                <p:cTn id="48" presetID="42" presetClass="path" presetSubtype="0" decel="100000" fill="hold" nodeType="withEffect">
                                  <p:stCondLst>
                                    <p:cond delay="1100"/>
                                  </p:stCondLst>
                                  <p:childTnLst>
                                    <p:animMotion origin="layout" path="M -3.78095E-6 -2.70994E-6 L -0.33227 -0.30072 " pathEditMode="relative" rAng="0" ptsTypes="AA">
                                      <p:cBhvr>
                                        <p:cTn id="49" dur="1000" fill="hold"/>
                                        <p:tgtEl>
                                          <p:spTgt spid="5215"/>
                                        </p:tgtEl>
                                        <p:attrNameLst>
                                          <p:attrName>ppt_x</p:attrName>
                                          <p:attrName>ppt_y</p:attrName>
                                        </p:attrNameLst>
                                      </p:cBhvr>
                                      <p:rCtr x="-16594" y="-15070"/>
                                    </p:animMotion>
                                  </p:childTnLst>
                                </p:cTn>
                              </p:par>
                              <p:par>
                                <p:cTn id="50" presetID="42" presetClass="path" presetSubtype="0" decel="100000" fill="hold" nodeType="withEffect">
                                  <p:stCondLst>
                                    <p:cond delay="1100"/>
                                  </p:stCondLst>
                                  <p:childTnLst>
                                    <p:animMotion origin="layout" path="M -2.78785E-6 2.85066E-6 L -0.41473 -0.42578 " pathEditMode="relative" rAng="0" ptsTypes="AA">
                                      <p:cBhvr>
                                        <p:cTn id="51" dur="1000" fill="hold"/>
                                        <p:tgtEl>
                                          <p:spTgt spid="5212"/>
                                        </p:tgtEl>
                                        <p:attrNameLst>
                                          <p:attrName>ppt_x</p:attrName>
                                          <p:attrName>ppt_y</p:attrName>
                                        </p:attrNameLst>
                                      </p:cBhvr>
                                      <p:rCtr x="-20756" y="-21289"/>
                                    </p:animMotion>
                                  </p:childTnLst>
                                </p:cTn>
                              </p:par>
                              <p:par>
                                <p:cTn id="52" presetID="42" presetClass="path" presetSubtype="0" decel="100000" fill="hold" nodeType="withEffect">
                                  <p:stCondLst>
                                    <p:cond delay="1100"/>
                                  </p:stCondLst>
                                  <p:childTnLst>
                                    <p:animMotion origin="layout" path="M -3.41588E-6 -2.93236E-6 L -0.36801 -0.30413 " pathEditMode="relative" rAng="0" ptsTypes="AA">
                                      <p:cBhvr>
                                        <p:cTn id="53" dur="1000" fill="hold"/>
                                        <p:tgtEl>
                                          <p:spTgt spid="5225"/>
                                        </p:tgtEl>
                                        <p:attrNameLst>
                                          <p:attrName>ppt_x</p:attrName>
                                          <p:attrName>ppt_y</p:attrName>
                                        </p:attrNameLst>
                                      </p:cBhvr>
                                      <p:rCtr x="-18369" y="-15252"/>
                                    </p:animMotion>
                                  </p:childTnLst>
                                </p:cTn>
                              </p:par>
                              <p:par>
                                <p:cTn id="54" presetID="42" presetClass="path" presetSubtype="0" decel="100000" fill="hold" nodeType="withEffect">
                                  <p:stCondLst>
                                    <p:cond delay="1100"/>
                                  </p:stCondLst>
                                  <p:childTnLst>
                                    <p:animMotion origin="layout" path="M 3.87286E-6 -7.85293E-7 L -0.37299 -0.30504 " pathEditMode="relative" rAng="0" ptsTypes="AA">
                                      <p:cBhvr>
                                        <p:cTn id="55" dur="1000" fill="hold"/>
                                        <p:tgtEl>
                                          <p:spTgt spid="5228"/>
                                        </p:tgtEl>
                                        <p:attrNameLst>
                                          <p:attrName>ppt_x</p:attrName>
                                          <p:attrName>ppt_y</p:attrName>
                                        </p:attrNameLst>
                                      </p:cBhvr>
                                      <p:rCtr x="-18586" y="-15297"/>
                                    </p:animMotion>
                                  </p:childTnLst>
                                </p:cTn>
                              </p:par>
                              <p:par>
                                <p:cTn id="56" presetID="42" presetClass="path" presetSubtype="0" decel="100000" fill="hold" nodeType="withEffect">
                                  <p:stCondLst>
                                    <p:cond delay="1100"/>
                                  </p:stCondLst>
                                  <p:childTnLst>
                                    <p:animMotion origin="layout" path="M -2.88231E-6 2.79165E-6 L -0.42583 -0.40967 " pathEditMode="relative" rAng="0" ptsTypes="AA">
                                      <p:cBhvr>
                                        <p:cTn id="57" dur="1000" fill="hold"/>
                                        <p:tgtEl>
                                          <p:spTgt spid="5222"/>
                                        </p:tgtEl>
                                        <p:attrNameLst>
                                          <p:attrName>ppt_x</p:attrName>
                                          <p:attrName>ppt_y</p:attrName>
                                        </p:attrNameLst>
                                      </p:cBhvr>
                                      <p:rCtr x="-21266" y="-20427"/>
                                    </p:animMotion>
                                  </p:childTnLst>
                                </p:cTn>
                              </p:par>
                              <p:par>
                                <p:cTn id="58" presetID="2" presetClass="entr" presetSubtype="8" decel="100000" fill="hold" grpId="0" nodeType="withEffect">
                                  <p:stCondLst>
                                    <p:cond delay="2100"/>
                                  </p:stCondLst>
                                  <p:childTnLst>
                                    <p:set>
                                      <p:cBhvr>
                                        <p:cTn id="59" dur="1" fill="hold">
                                          <p:stCondLst>
                                            <p:cond delay="0"/>
                                          </p:stCondLst>
                                        </p:cTn>
                                        <p:tgtEl>
                                          <p:spTgt spid="2566"/>
                                        </p:tgtEl>
                                        <p:attrNameLst>
                                          <p:attrName>style.visibility</p:attrName>
                                        </p:attrNameLst>
                                      </p:cBhvr>
                                      <p:to>
                                        <p:strVal val="visible"/>
                                      </p:to>
                                    </p:set>
                                    <p:anim calcmode="lin" valueType="num">
                                      <p:cBhvr additive="base">
                                        <p:cTn id="60" dur="750" fill="hold"/>
                                        <p:tgtEl>
                                          <p:spTgt spid="2566"/>
                                        </p:tgtEl>
                                        <p:attrNameLst>
                                          <p:attrName>ppt_x</p:attrName>
                                        </p:attrNameLst>
                                      </p:cBhvr>
                                      <p:tavLst>
                                        <p:tav tm="0">
                                          <p:val>
                                            <p:strVal val="0-#ppt_w/2"/>
                                          </p:val>
                                        </p:tav>
                                        <p:tav tm="100000">
                                          <p:val>
                                            <p:strVal val="#ppt_x"/>
                                          </p:val>
                                        </p:tav>
                                      </p:tavLst>
                                    </p:anim>
                                    <p:anim calcmode="lin" valueType="num">
                                      <p:cBhvr additive="base">
                                        <p:cTn id="61" dur="750" fill="hold"/>
                                        <p:tgtEl>
                                          <p:spTgt spid="2566"/>
                                        </p:tgtEl>
                                        <p:attrNameLst>
                                          <p:attrName>ppt_y</p:attrName>
                                        </p:attrNameLst>
                                      </p:cBhvr>
                                      <p:tavLst>
                                        <p:tav tm="0">
                                          <p:val>
                                            <p:strVal val="#ppt_y"/>
                                          </p:val>
                                        </p:tav>
                                        <p:tav tm="100000">
                                          <p:val>
                                            <p:strVal val="#ppt_y"/>
                                          </p:val>
                                        </p:tav>
                                      </p:tavLst>
                                    </p:anim>
                                  </p:childTnLst>
                                </p:cTn>
                              </p:par>
                              <p:par>
                                <p:cTn id="62" presetID="10" presetClass="entr" presetSubtype="0" fill="hold" nodeType="withEffect">
                                  <p:stCondLst>
                                    <p:cond delay="2200"/>
                                  </p:stCondLst>
                                  <p:childTnLst>
                                    <p:set>
                                      <p:cBhvr>
                                        <p:cTn id="63" dur="1" fill="hold">
                                          <p:stCondLst>
                                            <p:cond delay="0"/>
                                          </p:stCondLst>
                                        </p:cTn>
                                        <p:tgtEl>
                                          <p:spTgt spid="2563"/>
                                        </p:tgtEl>
                                        <p:attrNameLst>
                                          <p:attrName>style.visibility</p:attrName>
                                        </p:attrNameLst>
                                      </p:cBhvr>
                                      <p:to>
                                        <p:strVal val="visible"/>
                                      </p:to>
                                    </p:set>
                                    <p:animEffect transition="in" filter="fade">
                                      <p:cBhvr>
                                        <p:cTn id="64" dur="250"/>
                                        <p:tgtEl>
                                          <p:spTgt spid="2563"/>
                                        </p:tgtEl>
                                      </p:cBhvr>
                                    </p:animEffect>
                                  </p:childTnLst>
                                </p:cTn>
                              </p:par>
                              <p:par>
                                <p:cTn id="65" presetID="10" presetClass="entr" presetSubtype="0" fill="hold" grpId="0" nodeType="withEffect">
                                  <p:stCondLst>
                                    <p:cond delay="2200"/>
                                  </p:stCondLst>
                                  <p:childTnLst>
                                    <p:set>
                                      <p:cBhvr>
                                        <p:cTn id="66" dur="1" fill="hold">
                                          <p:stCondLst>
                                            <p:cond delay="0"/>
                                          </p:stCondLst>
                                        </p:cTn>
                                        <p:tgtEl>
                                          <p:spTgt spid="5148"/>
                                        </p:tgtEl>
                                        <p:attrNameLst>
                                          <p:attrName>style.visibility</p:attrName>
                                        </p:attrNameLst>
                                      </p:cBhvr>
                                      <p:to>
                                        <p:strVal val="visible"/>
                                      </p:to>
                                    </p:set>
                                    <p:animEffect transition="in" filter="fade">
                                      <p:cBhvr>
                                        <p:cTn id="67" dur="250"/>
                                        <p:tgtEl>
                                          <p:spTgt spid="5148"/>
                                        </p:tgtEl>
                                      </p:cBhvr>
                                    </p:animEffect>
                                  </p:childTnLst>
                                </p:cTn>
                              </p:par>
                              <p:par>
                                <p:cTn id="68" presetID="10" presetClass="entr" presetSubtype="0" fill="hold" nodeType="withEffect">
                                  <p:stCondLst>
                                    <p:cond delay="2200"/>
                                  </p:stCondLst>
                                  <p:childTnLst>
                                    <p:set>
                                      <p:cBhvr>
                                        <p:cTn id="69" dur="1" fill="hold">
                                          <p:stCondLst>
                                            <p:cond delay="0"/>
                                          </p:stCondLst>
                                        </p:cTn>
                                        <p:tgtEl>
                                          <p:spTgt spid="2552"/>
                                        </p:tgtEl>
                                        <p:attrNameLst>
                                          <p:attrName>style.visibility</p:attrName>
                                        </p:attrNameLst>
                                      </p:cBhvr>
                                      <p:to>
                                        <p:strVal val="visible"/>
                                      </p:to>
                                    </p:set>
                                    <p:animEffect transition="in" filter="fade">
                                      <p:cBhvr>
                                        <p:cTn id="70" dur="250"/>
                                        <p:tgtEl>
                                          <p:spTgt spid="2552"/>
                                        </p:tgtEl>
                                      </p:cBhvr>
                                    </p:animEffect>
                                  </p:childTnLst>
                                </p:cTn>
                              </p:par>
                              <p:par>
                                <p:cTn id="71" presetID="10" presetClass="entr" presetSubtype="0" fill="hold" grpId="0" nodeType="withEffect">
                                  <p:stCondLst>
                                    <p:cond delay="2200"/>
                                  </p:stCondLst>
                                  <p:childTnLst>
                                    <p:set>
                                      <p:cBhvr>
                                        <p:cTn id="72" dur="1" fill="hold">
                                          <p:stCondLst>
                                            <p:cond delay="0"/>
                                          </p:stCondLst>
                                        </p:cTn>
                                        <p:tgtEl>
                                          <p:spTgt spid="5103"/>
                                        </p:tgtEl>
                                        <p:attrNameLst>
                                          <p:attrName>style.visibility</p:attrName>
                                        </p:attrNameLst>
                                      </p:cBhvr>
                                      <p:to>
                                        <p:strVal val="visible"/>
                                      </p:to>
                                    </p:set>
                                    <p:animEffect transition="in" filter="fade">
                                      <p:cBhvr>
                                        <p:cTn id="73" dur="250"/>
                                        <p:tgtEl>
                                          <p:spTgt spid="5103"/>
                                        </p:tgtEl>
                                      </p:cBhvr>
                                    </p:animEffect>
                                  </p:childTnLst>
                                </p:cTn>
                              </p:par>
                              <p:par>
                                <p:cTn id="74" presetID="10" presetClass="entr" presetSubtype="0" fill="hold" nodeType="withEffect">
                                  <p:stCondLst>
                                    <p:cond delay="2200"/>
                                  </p:stCondLst>
                                  <p:childTnLst>
                                    <p:set>
                                      <p:cBhvr>
                                        <p:cTn id="75" dur="1" fill="hold">
                                          <p:stCondLst>
                                            <p:cond delay="0"/>
                                          </p:stCondLst>
                                        </p:cTn>
                                        <p:tgtEl>
                                          <p:spTgt spid="2558"/>
                                        </p:tgtEl>
                                        <p:attrNameLst>
                                          <p:attrName>style.visibility</p:attrName>
                                        </p:attrNameLst>
                                      </p:cBhvr>
                                      <p:to>
                                        <p:strVal val="visible"/>
                                      </p:to>
                                    </p:set>
                                    <p:animEffect transition="in" filter="fade">
                                      <p:cBhvr>
                                        <p:cTn id="76" dur="250"/>
                                        <p:tgtEl>
                                          <p:spTgt spid="2558"/>
                                        </p:tgtEl>
                                      </p:cBhvr>
                                    </p:animEffect>
                                  </p:childTnLst>
                                </p:cTn>
                              </p:par>
                              <p:par>
                                <p:cTn id="77" presetID="10" presetClass="entr" presetSubtype="0" fill="hold" grpId="0" nodeType="withEffect">
                                  <p:stCondLst>
                                    <p:cond delay="2200"/>
                                  </p:stCondLst>
                                  <p:childTnLst>
                                    <p:set>
                                      <p:cBhvr>
                                        <p:cTn id="78" dur="1" fill="hold">
                                          <p:stCondLst>
                                            <p:cond delay="0"/>
                                          </p:stCondLst>
                                        </p:cTn>
                                        <p:tgtEl>
                                          <p:spTgt spid="5102"/>
                                        </p:tgtEl>
                                        <p:attrNameLst>
                                          <p:attrName>style.visibility</p:attrName>
                                        </p:attrNameLst>
                                      </p:cBhvr>
                                      <p:to>
                                        <p:strVal val="visible"/>
                                      </p:to>
                                    </p:set>
                                    <p:animEffect transition="in" filter="fade">
                                      <p:cBhvr>
                                        <p:cTn id="79" dur="250"/>
                                        <p:tgtEl>
                                          <p:spTgt spid="5102"/>
                                        </p:tgtEl>
                                      </p:cBhvr>
                                    </p:animEffect>
                                  </p:childTnLst>
                                </p:cTn>
                              </p:par>
                              <p:par>
                                <p:cTn id="80" presetID="10" presetClass="entr" presetSubtype="0" fill="hold" nodeType="withEffect">
                                  <p:stCondLst>
                                    <p:cond delay="2200"/>
                                  </p:stCondLst>
                                  <p:childTnLst>
                                    <p:set>
                                      <p:cBhvr>
                                        <p:cTn id="81" dur="1" fill="hold">
                                          <p:stCondLst>
                                            <p:cond delay="0"/>
                                          </p:stCondLst>
                                        </p:cTn>
                                        <p:tgtEl>
                                          <p:spTgt spid="2502"/>
                                        </p:tgtEl>
                                        <p:attrNameLst>
                                          <p:attrName>style.visibility</p:attrName>
                                        </p:attrNameLst>
                                      </p:cBhvr>
                                      <p:to>
                                        <p:strVal val="visible"/>
                                      </p:to>
                                    </p:set>
                                    <p:animEffect transition="in" filter="fade">
                                      <p:cBhvr>
                                        <p:cTn id="82" dur="250"/>
                                        <p:tgtEl>
                                          <p:spTgt spid="2502"/>
                                        </p:tgtEl>
                                      </p:cBhvr>
                                    </p:animEffect>
                                  </p:childTnLst>
                                </p:cTn>
                              </p:par>
                              <p:par>
                                <p:cTn id="83" presetID="10" presetClass="entr" presetSubtype="0" fill="hold" grpId="0" nodeType="withEffect">
                                  <p:stCondLst>
                                    <p:cond delay="2200"/>
                                  </p:stCondLst>
                                  <p:childTnLst>
                                    <p:set>
                                      <p:cBhvr>
                                        <p:cTn id="84" dur="1" fill="hold">
                                          <p:stCondLst>
                                            <p:cond delay="0"/>
                                          </p:stCondLst>
                                        </p:cTn>
                                        <p:tgtEl>
                                          <p:spTgt spid="5177"/>
                                        </p:tgtEl>
                                        <p:attrNameLst>
                                          <p:attrName>style.visibility</p:attrName>
                                        </p:attrNameLst>
                                      </p:cBhvr>
                                      <p:to>
                                        <p:strVal val="visible"/>
                                      </p:to>
                                    </p:set>
                                    <p:animEffect transition="in" filter="fade">
                                      <p:cBhvr>
                                        <p:cTn id="85" dur="250"/>
                                        <p:tgtEl>
                                          <p:spTgt spid="5177"/>
                                        </p:tgtEl>
                                      </p:cBhvr>
                                    </p:animEffect>
                                  </p:childTnLst>
                                </p:cTn>
                              </p:par>
                              <p:par>
                                <p:cTn id="86" presetID="10" presetClass="entr" presetSubtype="0" fill="hold" nodeType="withEffect">
                                  <p:stCondLst>
                                    <p:cond delay="2200"/>
                                  </p:stCondLst>
                                  <p:childTnLst>
                                    <p:set>
                                      <p:cBhvr>
                                        <p:cTn id="87" dur="1" fill="hold">
                                          <p:stCondLst>
                                            <p:cond delay="0"/>
                                          </p:stCondLst>
                                        </p:cTn>
                                        <p:tgtEl>
                                          <p:spTgt spid="2508"/>
                                        </p:tgtEl>
                                        <p:attrNameLst>
                                          <p:attrName>style.visibility</p:attrName>
                                        </p:attrNameLst>
                                      </p:cBhvr>
                                      <p:to>
                                        <p:strVal val="visible"/>
                                      </p:to>
                                    </p:set>
                                    <p:animEffect transition="in" filter="fade">
                                      <p:cBhvr>
                                        <p:cTn id="88" dur="250"/>
                                        <p:tgtEl>
                                          <p:spTgt spid="2508"/>
                                        </p:tgtEl>
                                      </p:cBhvr>
                                    </p:animEffect>
                                  </p:childTnLst>
                                </p:cTn>
                              </p:par>
                              <p:par>
                                <p:cTn id="89" presetID="10" presetClass="entr" presetSubtype="0" fill="hold" grpId="0" nodeType="withEffect">
                                  <p:stCondLst>
                                    <p:cond delay="2200"/>
                                  </p:stCondLst>
                                  <p:childTnLst>
                                    <p:set>
                                      <p:cBhvr>
                                        <p:cTn id="90" dur="1" fill="hold">
                                          <p:stCondLst>
                                            <p:cond delay="0"/>
                                          </p:stCondLst>
                                        </p:cTn>
                                        <p:tgtEl>
                                          <p:spTgt spid="5176"/>
                                        </p:tgtEl>
                                        <p:attrNameLst>
                                          <p:attrName>style.visibility</p:attrName>
                                        </p:attrNameLst>
                                      </p:cBhvr>
                                      <p:to>
                                        <p:strVal val="visible"/>
                                      </p:to>
                                    </p:set>
                                    <p:animEffect transition="in" filter="fade">
                                      <p:cBhvr>
                                        <p:cTn id="91" dur="250"/>
                                        <p:tgtEl>
                                          <p:spTgt spid="5176"/>
                                        </p:tgtEl>
                                      </p:cBhvr>
                                    </p:animEffect>
                                  </p:childTnLst>
                                </p:cTn>
                              </p:par>
                              <p:par>
                                <p:cTn id="92" presetID="10" presetClass="entr" presetSubtype="0" fill="hold" nodeType="withEffect">
                                  <p:stCondLst>
                                    <p:cond delay="2200"/>
                                  </p:stCondLst>
                                  <p:childTnLst>
                                    <p:set>
                                      <p:cBhvr>
                                        <p:cTn id="93" dur="1" fill="hold">
                                          <p:stCondLst>
                                            <p:cond delay="0"/>
                                          </p:stCondLst>
                                        </p:cTn>
                                        <p:tgtEl>
                                          <p:spTgt spid="2504"/>
                                        </p:tgtEl>
                                        <p:attrNameLst>
                                          <p:attrName>style.visibility</p:attrName>
                                        </p:attrNameLst>
                                      </p:cBhvr>
                                      <p:to>
                                        <p:strVal val="visible"/>
                                      </p:to>
                                    </p:set>
                                    <p:animEffect transition="in" filter="fade">
                                      <p:cBhvr>
                                        <p:cTn id="94" dur="250"/>
                                        <p:tgtEl>
                                          <p:spTgt spid="2504"/>
                                        </p:tgtEl>
                                      </p:cBhvr>
                                    </p:animEffect>
                                  </p:childTnLst>
                                </p:cTn>
                              </p:par>
                              <p:par>
                                <p:cTn id="95" presetID="10" presetClass="entr" presetSubtype="0" fill="hold" grpId="0" nodeType="withEffect">
                                  <p:stCondLst>
                                    <p:cond delay="2200"/>
                                  </p:stCondLst>
                                  <p:childTnLst>
                                    <p:set>
                                      <p:cBhvr>
                                        <p:cTn id="96" dur="1" fill="hold">
                                          <p:stCondLst>
                                            <p:cond delay="0"/>
                                          </p:stCondLst>
                                        </p:cTn>
                                        <p:tgtEl>
                                          <p:spTgt spid="5175"/>
                                        </p:tgtEl>
                                        <p:attrNameLst>
                                          <p:attrName>style.visibility</p:attrName>
                                        </p:attrNameLst>
                                      </p:cBhvr>
                                      <p:to>
                                        <p:strVal val="visible"/>
                                      </p:to>
                                    </p:set>
                                    <p:animEffect transition="in" filter="fade">
                                      <p:cBhvr>
                                        <p:cTn id="97" dur="250"/>
                                        <p:tgtEl>
                                          <p:spTgt spid="5175"/>
                                        </p:tgtEl>
                                      </p:cBhvr>
                                    </p:animEffect>
                                  </p:childTnLst>
                                </p:cTn>
                              </p:par>
                              <p:par>
                                <p:cTn id="98" presetID="10" presetClass="entr" presetSubtype="0" fill="hold" grpId="0" nodeType="withEffect">
                                  <p:stCondLst>
                                    <p:cond delay="2200"/>
                                  </p:stCondLst>
                                  <p:childTnLst>
                                    <p:set>
                                      <p:cBhvr>
                                        <p:cTn id="99" dur="1" fill="hold">
                                          <p:stCondLst>
                                            <p:cond delay="0"/>
                                          </p:stCondLst>
                                        </p:cTn>
                                        <p:tgtEl>
                                          <p:spTgt spid="5082"/>
                                        </p:tgtEl>
                                        <p:attrNameLst>
                                          <p:attrName>style.visibility</p:attrName>
                                        </p:attrNameLst>
                                      </p:cBhvr>
                                      <p:to>
                                        <p:strVal val="visible"/>
                                      </p:to>
                                    </p:set>
                                    <p:animEffect transition="in" filter="fade">
                                      <p:cBhvr>
                                        <p:cTn id="100" dur="250"/>
                                        <p:tgtEl>
                                          <p:spTgt spid="5082"/>
                                        </p:tgtEl>
                                      </p:cBhvr>
                                    </p:animEffect>
                                  </p:childTnLst>
                                </p:cTn>
                              </p:par>
                              <p:par>
                                <p:cTn id="101" presetID="10" presetClass="entr" presetSubtype="0" fill="hold" grpId="0" nodeType="withEffect">
                                  <p:stCondLst>
                                    <p:cond delay="2200"/>
                                  </p:stCondLst>
                                  <p:childTnLst>
                                    <p:set>
                                      <p:cBhvr>
                                        <p:cTn id="102" dur="1" fill="hold">
                                          <p:stCondLst>
                                            <p:cond delay="0"/>
                                          </p:stCondLst>
                                        </p:cTn>
                                        <p:tgtEl>
                                          <p:spTgt spid="5104"/>
                                        </p:tgtEl>
                                        <p:attrNameLst>
                                          <p:attrName>style.visibility</p:attrName>
                                        </p:attrNameLst>
                                      </p:cBhvr>
                                      <p:to>
                                        <p:strVal val="visible"/>
                                      </p:to>
                                    </p:set>
                                    <p:animEffect transition="in" filter="fade">
                                      <p:cBhvr>
                                        <p:cTn id="103" dur="250"/>
                                        <p:tgtEl>
                                          <p:spTgt spid="5104"/>
                                        </p:tgtEl>
                                      </p:cBhvr>
                                    </p:animEffect>
                                  </p:childTnLst>
                                </p:cTn>
                              </p:par>
                              <p:par>
                                <p:cTn id="104" presetID="10" presetClass="entr" presetSubtype="0" fill="hold" grpId="0" nodeType="withEffect">
                                  <p:stCondLst>
                                    <p:cond delay="2200"/>
                                  </p:stCondLst>
                                  <p:childTnLst>
                                    <p:set>
                                      <p:cBhvr>
                                        <p:cTn id="105" dur="1" fill="hold">
                                          <p:stCondLst>
                                            <p:cond delay="0"/>
                                          </p:stCondLst>
                                        </p:cTn>
                                        <p:tgtEl>
                                          <p:spTgt spid="5080"/>
                                        </p:tgtEl>
                                        <p:attrNameLst>
                                          <p:attrName>style.visibility</p:attrName>
                                        </p:attrNameLst>
                                      </p:cBhvr>
                                      <p:to>
                                        <p:strVal val="visible"/>
                                      </p:to>
                                    </p:set>
                                    <p:animEffect transition="in" filter="fade">
                                      <p:cBhvr>
                                        <p:cTn id="106" dur="250"/>
                                        <p:tgtEl>
                                          <p:spTgt spid="5080"/>
                                        </p:tgtEl>
                                      </p:cBhvr>
                                    </p:animEffect>
                                  </p:childTnLst>
                                </p:cTn>
                              </p:par>
                              <p:par>
                                <p:cTn id="107" presetID="10" presetClass="entr" presetSubtype="0" fill="hold" grpId="0" nodeType="withEffect">
                                  <p:stCondLst>
                                    <p:cond delay="2200"/>
                                  </p:stCondLst>
                                  <p:childTnLst>
                                    <p:set>
                                      <p:cBhvr>
                                        <p:cTn id="108" dur="1" fill="hold">
                                          <p:stCondLst>
                                            <p:cond delay="0"/>
                                          </p:stCondLst>
                                        </p:cTn>
                                        <p:tgtEl>
                                          <p:spTgt spid="5161"/>
                                        </p:tgtEl>
                                        <p:attrNameLst>
                                          <p:attrName>style.visibility</p:attrName>
                                        </p:attrNameLst>
                                      </p:cBhvr>
                                      <p:to>
                                        <p:strVal val="visible"/>
                                      </p:to>
                                    </p:set>
                                    <p:animEffect transition="in" filter="fade">
                                      <p:cBhvr>
                                        <p:cTn id="109" dur="250"/>
                                        <p:tgtEl>
                                          <p:spTgt spid="5161"/>
                                        </p:tgtEl>
                                      </p:cBhvr>
                                    </p:animEffect>
                                  </p:childTnLst>
                                </p:cTn>
                              </p:par>
                              <p:par>
                                <p:cTn id="110" presetID="10" presetClass="entr" presetSubtype="0" fill="hold" grpId="0" nodeType="withEffect">
                                  <p:stCondLst>
                                    <p:cond delay="2200"/>
                                  </p:stCondLst>
                                  <p:childTnLst>
                                    <p:set>
                                      <p:cBhvr>
                                        <p:cTn id="111" dur="1" fill="hold">
                                          <p:stCondLst>
                                            <p:cond delay="0"/>
                                          </p:stCondLst>
                                        </p:cTn>
                                        <p:tgtEl>
                                          <p:spTgt spid="2550"/>
                                        </p:tgtEl>
                                        <p:attrNameLst>
                                          <p:attrName>style.visibility</p:attrName>
                                        </p:attrNameLst>
                                      </p:cBhvr>
                                      <p:to>
                                        <p:strVal val="visible"/>
                                      </p:to>
                                    </p:set>
                                    <p:animEffect transition="in" filter="fade">
                                      <p:cBhvr>
                                        <p:cTn id="112" dur="250"/>
                                        <p:tgtEl>
                                          <p:spTgt spid="2550"/>
                                        </p:tgtEl>
                                      </p:cBhvr>
                                    </p:animEffect>
                                  </p:childTnLst>
                                </p:cTn>
                              </p:par>
                              <p:par>
                                <p:cTn id="113" presetID="10" presetClass="entr" presetSubtype="0" fill="hold" grpId="0" nodeType="withEffect">
                                  <p:stCondLst>
                                    <p:cond delay="2200"/>
                                  </p:stCondLst>
                                  <p:childTnLst>
                                    <p:set>
                                      <p:cBhvr>
                                        <p:cTn id="114" dur="1" fill="hold">
                                          <p:stCondLst>
                                            <p:cond delay="0"/>
                                          </p:stCondLst>
                                        </p:cTn>
                                        <p:tgtEl>
                                          <p:spTgt spid="5168"/>
                                        </p:tgtEl>
                                        <p:attrNameLst>
                                          <p:attrName>style.visibility</p:attrName>
                                        </p:attrNameLst>
                                      </p:cBhvr>
                                      <p:to>
                                        <p:strVal val="visible"/>
                                      </p:to>
                                    </p:set>
                                    <p:animEffect transition="in" filter="fade">
                                      <p:cBhvr>
                                        <p:cTn id="115" dur="250"/>
                                        <p:tgtEl>
                                          <p:spTgt spid="5168"/>
                                        </p:tgtEl>
                                      </p:cBhvr>
                                    </p:animEffect>
                                  </p:childTnLst>
                                </p:cTn>
                              </p:par>
                              <p:par>
                                <p:cTn id="116" presetID="10" presetClass="entr" presetSubtype="0" fill="hold" nodeType="withEffect">
                                  <p:stCondLst>
                                    <p:cond delay="2200"/>
                                  </p:stCondLst>
                                  <p:childTnLst>
                                    <p:set>
                                      <p:cBhvr>
                                        <p:cTn id="117" dur="1" fill="hold">
                                          <p:stCondLst>
                                            <p:cond delay="0"/>
                                          </p:stCondLst>
                                        </p:cTn>
                                        <p:tgtEl>
                                          <p:spTgt spid="2556"/>
                                        </p:tgtEl>
                                        <p:attrNameLst>
                                          <p:attrName>style.visibility</p:attrName>
                                        </p:attrNameLst>
                                      </p:cBhvr>
                                      <p:to>
                                        <p:strVal val="visible"/>
                                      </p:to>
                                    </p:set>
                                    <p:animEffect transition="in" filter="fade">
                                      <p:cBhvr>
                                        <p:cTn id="118" dur="250"/>
                                        <p:tgtEl>
                                          <p:spTgt spid="2556"/>
                                        </p:tgtEl>
                                      </p:cBhvr>
                                    </p:animEffect>
                                  </p:childTnLst>
                                </p:cTn>
                              </p:par>
                              <p:par>
                                <p:cTn id="119" presetID="10" presetClass="entr" presetSubtype="0" fill="hold" grpId="0" nodeType="withEffect">
                                  <p:stCondLst>
                                    <p:cond delay="2200"/>
                                  </p:stCondLst>
                                  <p:childTnLst>
                                    <p:set>
                                      <p:cBhvr>
                                        <p:cTn id="120" dur="1" fill="hold">
                                          <p:stCondLst>
                                            <p:cond delay="0"/>
                                          </p:stCondLst>
                                        </p:cTn>
                                        <p:tgtEl>
                                          <p:spTgt spid="5164"/>
                                        </p:tgtEl>
                                        <p:attrNameLst>
                                          <p:attrName>style.visibility</p:attrName>
                                        </p:attrNameLst>
                                      </p:cBhvr>
                                      <p:to>
                                        <p:strVal val="visible"/>
                                      </p:to>
                                    </p:set>
                                    <p:animEffect transition="in" filter="fade">
                                      <p:cBhvr>
                                        <p:cTn id="121" dur="250"/>
                                        <p:tgtEl>
                                          <p:spTgt spid="5164"/>
                                        </p:tgtEl>
                                      </p:cBhvr>
                                    </p:animEffect>
                                  </p:childTnLst>
                                </p:cTn>
                              </p:par>
                              <p:par>
                                <p:cTn id="122" presetID="10" presetClass="exit" presetSubtype="0" fill="hold" nodeType="withEffect">
                                  <p:stCondLst>
                                    <p:cond delay="2200"/>
                                  </p:stCondLst>
                                  <p:childTnLst>
                                    <p:animEffect transition="out" filter="fade">
                                      <p:cBhvr>
                                        <p:cTn id="123" dur="250"/>
                                        <p:tgtEl>
                                          <p:spTgt spid="5183"/>
                                        </p:tgtEl>
                                      </p:cBhvr>
                                    </p:animEffect>
                                    <p:set>
                                      <p:cBhvr>
                                        <p:cTn id="124" dur="1" fill="hold">
                                          <p:stCondLst>
                                            <p:cond delay="249"/>
                                          </p:stCondLst>
                                        </p:cTn>
                                        <p:tgtEl>
                                          <p:spTgt spid="5183"/>
                                        </p:tgtEl>
                                        <p:attrNameLst>
                                          <p:attrName>style.visibility</p:attrName>
                                        </p:attrNameLst>
                                      </p:cBhvr>
                                      <p:to>
                                        <p:strVal val="hidden"/>
                                      </p:to>
                                    </p:set>
                                  </p:childTnLst>
                                </p:cTn>
                              </p:par>
                              <p:par>
                                <p:cTn id="125" presetID="10" presetClass="exit" presetSubtype="0" fill="hold" nodeType="withEffect">
                                  <p:stCondLst>
                                    <p:cond delay="2100"/>
                                  </p:stCondLst>
                                  <p:childTnLst>
                                    <p:animEffect transition="out" filter="fade">
                                      <p:cBhvr>
                                        <p:cTn id="126" dur="250"/>
                                        <p:tgtEl>
                                          <p:spTgt spid="5186"/>
                                        </p:tgtEl>
                                      </p:cBhvr>
                                    </p:animEffect>
                                    <p:set>
                                      <p:cBhvr>
                                        <p:cTn id="127" dur="1" fill="hold">
                                          <p:stCondLst>
                                            <p:cond delay="249"/>
                                          </p:stCondLst>
                                        </p:cTn>
                                        <p:tgtEl>
                                          <p:spTgt spid="5186"/>
                                        </p:tgtEl>
                                        <p:attrNameLst>
                                          <p:attrName>style.visibility</p:attrName>
                                        </p:attrNameLst>
                                      </p:cBhvr>
                                      <p:to>
                                        <p:strVal val="hidden"/>
                                      </p:to>
                                    </p:set>
                                  </p:childTnLst>
                                </p:cTn>
                              </p:par>
                              <p:par>
                                <p:cTn id="128" presetID="10" presetClass="exit" presetSubtype="0" fill="hold" nodeType="withEffect">
                                  <p:stCondLst>
                                    <p:cond delay="2100"/>
                                  </p:stCondLst>
                                  <p:childTnLst>
                                    <p:animEffect transition="out" filter="fade">
                                      <p:cBhvr>
                                        <p:cTn id="129" dur="250"/>
                                        <p:tgtEl>
                                          <p:spTgt spid="5197"/>
                                        </p:tgtEl>
                                      </p:cBhvr>
                                    </p:animEffect>
                                    <p:set>
                                      <p:cBhvr>
                                        <p:cTn id="130" dur="1" fill="hold">
                                          <p:stCondLst>
                                            <p:cond delay="249"/>
                                          </p:stCondLst>
                                        </p:cTn>
                                        <p:tgtEl>
                                          <p:spTgt spid="5197"/>
                                        </p:tgtEl>
                                        <p:attrNameLst>
                                          <p:attrName>style.visibility</p:attrName>
                                        </p:attrNameLst>
                                      </p:cBhvr>
                                      <p:to>
                                        <p:strVal val="hidden"/>
                                      </p:to>
                                    </p:set>
                                  </p:childTnLst>
                                </p:cTn>
                              </p:par>
                              <p:par>
                                <p:cTn id="131" presetID="10" presetClass="exit" presetSubtype="0" fill="hold" nodeType="withEffect">
                                  <p:stCondLst>
                                    <p:cond delay="2100"/>
                                  </p:stCondLst>
                                  <p:childTnLst>
                                    <p:animEffect transition="out" filter="fade">
                                      <p:cBhvr>
                                        <p:cTn id="132" dur="250"/>
                                        <p:tgtEl>
                                          <p:spTgt spid="5200"/>
                                        </p:tgtEl>
                                      </p:cBhvr>
                                    </p:animEffect>
                                    <p:set>
                                      <p:cBhvr>
                                        <p:cTn id="133" dur="1" fill="hold">
                                          <p:stCondLst>
                                            <p:cond delay="249"/>
                                          </p:stCondLst>
                                        </p:cTn>
                                        <p:tgtEl>
                                          <p:spTgt spid="5200"/>
                                        </p:tgtEl>
                                        <p:attrNameLst>
                                          <p:attrName>style.visibility</p:attrName>
                                        </p:attrNameLst>
                                      </p:cBhvr>
                                      <p:to>
                                        <p:strVal val="hidden"/>
                                      </p:to>
                                    </p:set>
                                  </p:childTnLst>
                                </p:cTn>
                              </p:par>
                              <p:par>
                                <p:cTn id="134" presetID="10" presetClass="exit" presetSubtype="0" fill="hold" nodeType="withEffect">
                                  <p:stCondLst>
                                    <p:cond delay="2100"/>
                                  </p:stCondLst>
                                  <p:childTnLst>
                                    <p:animEffect transition="out" filter="fade">
                                      <p:cBhvr>
                                        <p:cTn id="135" dur="250"/>
                                        <p:tgtEl>
                                          <p:spTgt spid="5203"/>
                                        </p:tgtEl>
                                      </p:cBhvr>
                                    </p:animEffect>
                                    <p:set>
                                      <p:cBhvr>
                                        <p:cTn id="136" dur="1" fill="hold">
                                          <p:stCondLst>
                                            <p:cond delay="249"/>
                                          </p:stCondLst>
                                        </p:cTn>
                                        <p:tgtEl>
                                          <p:spTgt spid="5203"/>
                                        </p:tgtEl>
                                        <p:attrNameLst>
                                          <p:attrName>style.visibility</p:attrName>
                                        </p:attrNameLst>
                                      </p:cBhvr>
                                      <p:to>
                                        <p:strVal val="hidden"/>
                                      </p:to>
                                    </p:set>
                                  </p:childTnLst>
                                </p:cTn>
                              </p:par>
                              <p:par>
                                <p:cTn id="137" presetID="10" presetClass="exit" presetSubtype="0" fill="hold" nodeType="withEffect">
                                  <p:stCondLst>
                                    <p:cond delay="2100"/>
                                  </p:stCondLst>
                                  <p:childTnLst>
                                    <p:animEffect transition="out" filter="fade">
                                      <p:cBhvr>
                                        <p:cTn id="138" dur="250"/>
                                        <p:tgtEl>
                                          <p:spTgt spid="5215"/>
                                        </p:tgtEl>
                                      </p:cBhvr>
                                    </p:animEffect>
                                    <p:set>
                                      <p:cBhvr>
                                        <p:cTn id="139" dur="1" fill="hold">
                                          <p:stCondLst>
                                            <p:cond delay="249"/>
                                          </p:stCondLst>
                                        </p:cTn>
                                        <p:tgtEl>
                                          <p:spTgt spid="5215"/>
                                        </p:tgtEl>
                                        <p:attrNameLst>
                                          <p:attrName>style.visibility</p:attrName>
                                        </p:attrNameLst>
                                      </p:cBhvr>
                                      <p:to>
                                        <p:strVal val="hidden"/>
                                      </p:to>
                                    </p:set>
                                  </p:childTnLst>
                                </p:cTn>
                              </p:par>
                              <p:par>
                                <p:cTn id="140" presetID="10" presetClass="exit" presetSubtype="0" fill="hold" nodeType="withEffect">
                                  <p:stCondLst>
                                    <p:cond delay="2100"/>
                                  </p:stCondLst>
                                  <p:childTnLst>
                                    <p:animEffect transition="out" filter="fade">
                                      <p:cBhvr>
                                        <p:cTn id="141" dur="250"/>
                                        <p:tgtEl>
                                          <p:spTgt spid="5212"/>
                                        </p:tgtEl>
                                      </p:cBhvr>
                                    </p:animEffect>
                                    <p:set>
                                      <p:cBhvr>
                                        <p:cTn id="142" dur="1" fill="hold">
                                          <p:stCondLst>
                                            <p:cond delay="249"/>
                                          </p:stCondLst>
                                        </p:cTn>
                                        <p:tgtEl>
                                          <p:spTgt spid="5212"/>
                                        </p:tgtEl>
                                        <p:attrNameLst>
                                          <p:attrName>style.visibility</p:attrName>
                                        </p:attrNameLst>
                                      </p:cBhvr>
                                      <p:to>
                                        <p:strVal val="hidden"/>
                                      </p:to>
                                    </p:set>
                                  </p:childTnLst>
                                </p:cTn>
                              </p:par>
                              <p:par>
                                <p:cTn id="143" presetID="10" presetClass="exit" presetSubtype="0" fill="hold" nodeType="withEffect">
                                  <p:stCondLst>
                                    <p:cond delay="2100"/>
                                  </p:stCondLst>
                                  <p:childTnLst>
                                    <p:animEffect transition="out" filter="fade">
                                      <p:cBhvr>
                                        <p:cTn id="144" dur="250"/>
                                        <p:tgtEl>
                                          <p:spTgt spid="5225"/>
                                        </p:tgtEl>
                                      </p:cBhvr>
                                    </p:animEffect>
                                    <p:set>
                                      <p:cBhvr>
                                        <p:cTn id="145" dur="1" fill="hold">
                                          <p:stCondLst>
                                            <p:cond delay="249"/>
                                          </p:stCondLst>
                                        </p:cTn>
                                        <p:tgtEl>
                                          <p:spTgt spid="5225"/>
                                        </p:tgtEl>
                                        <p:attrNameLst>
                                          <p:attrName>style.visibility</p:attrName>
                                        </p:attrNameLst>
                                      </p:cBhvr>
                                      <p:to>
                                        <p:strVal val="hidden"/>
                                      </p:to>
                                    </p:set>
                                  </p:childTnLst>
                                </p:cTn>
                              </p:par>
                              <p:par>
                                <p:cTn id="146" presetID="10" presetClass="exit" presetSubtype="0" fill="hold" nodeType="withEffect">
                                  <p:stCondLst>
                                    <p:cond delay="2100"/>
                                  </p:stCondLst>
                                  <p:childTnLst>
                                    <p:animEffect transition="out" filter="fade">
                                      <p:cBhvr>
                                        <p:cTn id="147" dur="250"/>
                                        <p:tgtEl>
                                          <p:spTgt spid="5228"/>
                                        </p:tgtEl>
                                      </p:cBhvr>
                                    </p:animEffect>
                                    <p:set>
                                      <p:cBhvr>
                                        <p:cTn id="148" dur="1" fill="hold">
                                          <p:stCondLst>
                                            <p:cond delay="249"/>
                                          </p:stCondLst>
                                        </p:cTn>
                                        <p:tgtEl>
                                          <p:spTgt spid="5228"/>
                                        </p:tgtEl>
                                        <p:attrNameLst>
                                          <p:attrName>style.visibility</p:attrName>
                                        </p:attrNameLst>
                                      </p:cBhvr>
                                      <p:to>
                                        <p:strVal val="hidden"/>
                                      </p:to>
                                    </p:set>
                                  </p:childTnLst>
                                </p:cTn>
                              </p:par>
                              <p:par>
                                <p:cTn id="149" presetID="10" presetClass="exit" presetSubtype="0" fill="hold" nodeType="withEffect">
                                  <p:stCondLst>
                                    <p:cond delay="2100"/>
                                  </p:stCondLst>
                                  <p:childTnLst>
                                    <p:animEffect transition="out" filter="fade">
                                      <p:cBhvr>
                                        <p:cTn id="150" dur="250"/>
                                        <p:tgtEl>
                                          <p:spTgt spid="5222"/>
                                        </p:tgtEl>
                                      </p:cBhvr>
                                    </p:animEffect>
                                    <p:set>
                                      <p:cBhvr>
                                        <p:cTn id="151" dur="1" fill="hold">
                                          <p:stCondLst>
                                            <p:cond delay="249"/>
                                          </p:stCondLst>
                                        </p:cTn>
                                        <p:tgtEl>
                                          <p:spTgt spid="5222"/>
                                        </p:tgtEl>
                                        <p:attrNameLst>
                                          <p:attrName>style.visibility</p:attrName>
                                        </p:attrNameLst>
                                      </p:cBhvr>
                                      <p:to>
                                        <p:strVal val="hidden"/>
                                      </p:to>
                                    </p:set>
                                  </p:childTnLst>
                                </p:cTn>
                              </p:par>
                              <p:par>
                                <p:cTn id="152" presetID="10" presetClass="entr" presetSubtype="0" fill="hold" grpId="0" nodeType="withEffect">
                                  <p:stCondLst>
                                    <p:cond delay="2800"/>
                                  </p:stCondLst>
                                  <p:childTnLst>
                                    <p:set>
                                      <p:cBhvr>
                                        <p:cTn id="153" dur="1" fill="hold">
                                          <p:stCondLst>
                                            <p:cond delay="0"/>
                                          </p:stCondLst>
                                        </p:cTn>
                                        <p:tgtEl>
                                          <p:spTgt spid="2501"/>
                                        </p:tgtEl>
                                        <p:attrNameLst>
                                          <p:attrName>style.visibility</p:attrName>
                                        </p:attrNameLst>
                                      </p:cBhvr>
                                      <p:to>
                                        <p:strVal val="visible"/>
                                      </p:to>
                                    </p:set>
                                    <p:animEffect transition="in" filter="fade">
                                      <p:cBhvr>
                                        <p:cTn id="154" dur="250"/>
                                        <p:tgtEl>
                                          <p:spTgt spid="2501"/>
                                        </p:tgtEl>
                                      </p:cBhvr>
                                    </p:animEffect>
                                  </p:childTnLst>
                                </p:cTn>
                              </p:par>
                              <p:par>
                                <p:cTn id="155" presetID="10" presetClass="entr" presetSubtype="0" fill="hold" grpId="0" nodeType="withEffect">
                                  <p:stCondLst>
                                    <p:cond delay="2800"/>
                                  </p:stCondLst>
                                  <p:childTnLst>
                                    <p:set>
                                      <p:cBhvr>
                                        <p:cTn id="156" dur="1" fill="hold">
                                          <p:stCondLst>
                                            <p:cond delay="0"/>
                                          </p:stCondLst>
                                        </p:cTn>
                                        <p:tgtEl>
                                          <p:spTgt spid="2507"/>
                                        </p:tgtEl>
                                        <p:attrNameLst>
                                          <p:attrName>style.visibility</p:attrName>
                                        </p:attrNameLst>
                                      </p:cBhvr>
                                      <p:to>
                                        <p:strVal val="visible"/>
                                      </p:to>
                                    </p:set>
                                    <p:animEffect transition="in" filter="fade">
                                      <p:cBhvr>
                                        <p:cTn id="157" dur="250"/>
                                        <p:tgtEl>
                                          <p:spTgt spid="2507"/>
                                        </p:tgtEl>
                                      </p:cBhvr>
                                    </p:animEffect>
                                  </p:childTnLst>
                                </p:cTn>
                              </p:par>
                              <p:par>
                                <p:cTn id="158" presetID="10" presetClass="entr" presetSubtype="0" fill="hold" grpId="0" nodeType="withEffect">
                                  <p:stCondLst>
                                    <p:cond delay="2800"/>
                                  </p:stCondLst>
                                  <p:childTnLst>
                                    <p:set>
                                      <p:cBhvr>
                                        <p:cTn id="159" dur="1" fill="hold">
                                          <p:stCondLst>
                                            <p:cond delay="0"/>
                                          </p:stCondLst>
                                        </p:cTn>
                                        <p:tgtEl>
                                          <p:spTgt spid="2557"/>
                                        </p:tgtEl>
                                        <p:attrNameLst>
                                          <p:attrName>style.visibility</p:attrName>
                                        </p:attrNameLst>
                                      </p:cBhvr>
                                      <p:to>
                                        <p:strVal val="visible"/>
                                      </p:to>
                                    </p:set>
                                    <p:animEffect transition="in" filter="fade">
                                      <p:cBhvr>
                                        <p:cTn id="160" dur="250"/>
                                        <p:tgtEl>
                                          <p:spTgt spid="2557"/>
                                        </p:tgtEl>
                                      </p:cBhvr>
                                    </p:animEffect>
                                  </p:childTnLst>
                                </p:cTn>
                              </p:par>
                              <p:par>
                                <p:cTn id="161" presetID="10" presetClass="entr" presetSubtype="0" fill="hold" grpId="0" nodeType="withEffect">
                                  <p:stCondLst>
                                    <p:cond delay="2800"/>
                                  </p:stCondLst>
                                  <p:childTnLst>
                                    <p:set>
                                      <p:cBhvr>
                                        <p:cTn id="162" dur="1" fill="hold">
                                          <p:stCondLst>
                                            <p:cond delay="0"/>
                                          </p:stCondLst>
                                        </p:cTn>
                                        <p:tgtEl>
                                          <p:spTgt spid="2503"/>
                                        </p:tgtEl>
                                        <p:attrNameLst>
                                          <p:attrName>style.visibility</p:attrName>
                                        </p:attrNameLst>
                                      </p:cBhvr>
                                      <p:to>
                                        <p:strVal val="visible"/>
                                      </p:to>
                                    </p:set>
                                    <p:animEffect transition="in" filter="fade">
                                      <p:cBhvr>
                                        <p:cTn id="163" dur="250"/>
                                        <p:tgtEl>
                                          <p:spTgt spid="2503"/>
                                        </p:tgtEl>
                                      </p:cBhvr>
                                    </p:animEffect>
                                  </p:childTnLst>
                                </p:cTn>
                              </p:par>
                              <p:par>
                                <p:cTn id="164" presetID="10" presetClass="entr" presetSubtype="0" fill="hold" grpId="0" nodeType="withEffect">
                                  <p:stCondLst>
                                    <p:cond delay="2800"/>
                                  </p:stCondLst>
                                  <p:childTnLst>
                                    <p:set>
                                      <p:cBhvr>
                                        <p:cTn id="165" dur="1" fill="hold">
                                          <p:stCondLst>
                                            <p:cond delay="0"/>
                                          </p:stCondLst>
                                        </p:cTn>
                                        <p:tgtEl>
                                          <p:spTgt spid="2551"/>
                                        </p:tgtEl>
                                        <p:attrNameLst>
                                          <p:attrName>style.visibility</p:attrName>
                                        </p:attrNameLst>
                                      </p:cBhvr>
                                      <p:to>
                                        <p:strVal val="visible"/>
                                      </p:to>
                                    </p:set>
                                    <p:animEffect transition="in" filter="fade">
                                      <p:cBhvr>
                                        <p:cTn id="166" dur="250"/>
                                        <p:tgtEl>
                                          <p:spTgt spid="2551"/>
                                        </p:tgtEl>
                                      </p:cBhvr>
                                    </p:animEffect>
                                  </p:childTnLst>
                                </p:cTn>
                              </p:par>
                              <p:par>
                                <p:cTn id="167" presetID="10" presetClass="entr" presetSubtype="0" fill="hold" grpId="0" nodeType="withEffect">
                                  <p:stCondLst>
                                    <p:cond delay="2800"/>
                                  </p:stCondLst>
                                  <p:childTnLst>
                                    <p:set>
                                      <p:cBhvr>
                                        <p:cTn id="168" dur="1" fill="hold">
                                          <p:stCondLst>
                                            <p:cond delay="0"/>
                                          </p:stCondLst>
                                        </p:cTn>
                                        <p:tgtEl>
                                          <p:spTgt spid="2553"/>
                                        </p:tgtEl>
                                        <p:attrNameLst>
                                          <p:attrName>style.visibility</p:attrName>
                                        </p:attrNameLst>
                                      </p:cBhvr>
                                      <p:to>
                                        <p:strVal val="visible"/>
                                      </p:to>
                                    </p:set>
                                    <p:animEffect transition="in" filter="fade">
                                      <p:cBhvr>
                                        <p:cTn id="169" dur="250"/>
                                        <p:tgtEl>
                                          <p:spTgt spid="2553"/>
                                        </p:tgtEl>
                                      </p:cBhvr>
                                    </p:animEffect>
                                  </p:childTnLst>
                                </p:cTn>
                              </p:par>
                              <p:par>
                                <p:cTn id="170" presetID="10" presetClass="entr" presetSubtype="0" fill="hold" grpId="0" nodeType="withEffect">
                                  <p:stCondLst>
                                    <p:cond delay="2800"/>
                                  </p:stCondLst>
                                  <p:childTnLst>
                                    <p:set>
                                      <p:cBhvr>
                                        <p:cTn id="171" dur="1" fill="hold">
                                          <p:stCondLst>
                                            <p:cond delay="0"/>
                                          </p:stCondLst>
                                        </p:cTn>
                                        <p:tgtEl>
                                          <p:spTgt spid="2562"/>
                                        </p:tgtEl>
                                        <p:attrNameLst>
                                          <p:attrName>style.visibility</p:attrName>
                                        </p:attrNameLst>
                                      </p:cBhvr>
                                      <p:to>
                                        <p:strVal val="visible"/>
                                      </p:to>
                                    </p:set>
                                    <p:animEffect transition="in" filter="fade">
                                      <p:cBhvr>
                                        <p:cTn id="172" dur="250"/>
                                        <p:tgtEl>
                                          <p:spTgt spid="2562"/>
                                        </p:tgtEl>
                                      </p:cBhvr>
                                    </p:animEffect>
                                  </p:childTnLst>
                                </p:cTn>
                              </p:par>
                              <p:par>
                                <p:cTn id="173" presetID="10" presetClass="entr" presetSubtype="0" fill="hold" grpId="0" nodeType="withEffect">
                                  <p:stCondLst>
                                    <p:cond delay="2800"/>
                                  </p:stCondLst>
                                  <p:childTnLst>
                                    <p:set>
                                      <p:cBhvr>
                                        <p:cTn id="174" dur="1" fill="hold">
                                          <p:stCondLst>
                                            <p:cond delay="0"/>
                                          </p:stCondLst>
                                        </p:cTn>
                                        <p:tgtEl>
                                          <p:spTgt spid="2555"/>
                                        </p:tgtEl>
                                        <p:attrNameLst>
                                          <p:attrName>style.visibility</p:attrName>
                                        </p:attrNameLst>
                                      </p:cBhvr>
                                      <p:to>
                                        <p:strVal val="visible"/>
                                      </p:to>
                                    </p:set>
                                    <p:animEffect transition="in" filter="fade">
                                      <p:cBhvr>
                                        <p:cTn id="175" dur="250"/>
                                        <p:tgtEl>
                                          <p:spTgt spid="2555"/>
                                        </p:tgtEl>
                                      </p:cBhvr>
                                    </p:animEffect>
                                  </p:childTnLst>
                                </p:cTn>
                              </p:par>
                              <p:par>
                                <p:cTn id="176" presetID="10" presetClass="entr" presetSubtype="0" fill="hold" grpId="0" nodeType="withEffect">
                                  <p:stCondLst>
                                    <p:cond delay="2800"/>
                                  </p:stCondLst>
                                  <p:childTnLst>
                                    <p:set>
                                      <p:cBhvr>
                                        <p:cTn id="177" dur="1" fill="hold">
                                          <p:stCondLst>
                                            <p:cond delay="0"/>
                                          </p:stCondLst>
                                        </p:cTn>
                                        <p:tgtEl>
                                          <p:spTgt spid="2564"/>
                                        </p:tgtEl>
                                        <p:attrNameLst>
                                          <p:attrName>style.visibility</p:attrName>
                                        </p:attrNameLst>
                                      </p:cBhvr>
                                      <p:to>
                                        <p:strVal val="visible"/>
                                      </p:to>
                                    </p:set>
                                    <p:animEffect transition="in" filter="fade">
                                      <p:cBhvr>
                                        <p:cTn id="178" dur="250"/>
                                        <p:tgtEl>
                                          <p:spTgt spid="2564"/>
                                        </p:tgtEl>
                                      </p:cBhvr>
                                    </p:animEffect>
                                  </p:childTnLst>
                                </p:cTn>
                              </p:par>
                              <p:par>
                                <p:cTn id="179" presetID="10" presetClass="entr" presetSubtype="0" fill="hold" grpId="0" nodeType="withEffect">
                                  <p:stCondLst>
                                    <p:cond delay="2800"/>
                                  </p:stCondLst>
                                  <p:childTnLst>
                                    <p:set>
                                      <p:cBhvr>
                                        <p:cTn id="180" dur="1" fill="hold">
                                          <p:stCondLst>
                                            <p:cond delay="0"/>
                                          </p:stCondLst>
                                        </p:cTn>
                                        <p:tgtEl>
                                          <p:spTgt spid="2549"/>
                                        </p:tgtEl>
                                        <p:attrNameLst>
                                          <p:attrName>style.visibility</p:attrName>
                                        </p:attrNameLst>
                                      </p:cBhvr>
                                      <p:to>
                                        <p:strVal val="visible"/>
                                      </p:to>
                                    </p:set>
                                    <p:animEffect transition="in" filter="fade">
                                      <p:cBhvr>
                                        <p:cTn id="181" dur="250"/>
                                        <p:tgtEl>
                                          <p:spTgt spid="2549"/>
                                        </p:tgtEl>
                                      </p:cBhvr>
                                    </p:animEffect>
                                  </p:childTnLst>
                                </p:cTn>
                              </p:par>
                              <p:par>
                                <p:cTn id="182" presetID="10" presetClass="exit" presetSubtype="0" fill="hold" grpId="1" nodeType="withEffect">
                                  <p:stCondLst>
                                    <p:cond delay="2800"/>
                                  </p:stCondLst>
                                  <p:childTnLst>
                                    <p:animEffect transition="out" filter="fade">
                                      <p:cBhvr>
                                        <p:cTn id="183" dur="250"/>
                                        <p:tgtEl>
                                          <p:spTgt spid="5148"/>
                                        </p:tgtEl>
                                      </p:cBhvr>
                                    </p:animEffect>
                                    <p:set>
                                      <p:cBhvr>
                                        <p:cTn id="184" dur="1" fill="hold">
                                          <p:stCondLst>
                                            <p:cond delay="249"/>
                                          </p:stCondLst>
                                        </p:cTn>
                                        <p:tgtEl>
                                          <p:spTgt spid="5148"/>
                                        </p:tgtEl>
                                        <p:attrNameLst>
                                          <p:attrName>style.visibility</p:attrName>
                                        </p:attrNameLst>
                                      </p:cBhvr>
                                      <p:to>
                                        <p:strVal val="hidden"/>
                                      </p:to>
                                    </p:set>
                                  </p:childTnLst>
                                </p:cTn>
                              </p:par>
                              <p:par>
                                <p:cTn id="185" presetID="10" presetClass="exit" presetSubtype="0" fill="hold" grpId="1" nodeType="withEffect">
                                  <p:stCondLst>
                                    <p:cond delay="2800"/>
                                  </p:stCondLst>
                                  <p:childTnLst>
                                    <p:animEffect transition="out" filter="fade">
                                      <p:cBhvr>
                                        <p:cTn id="186" dur="250"/>
                                        <p:tgtEl>
                                          <p:spTgt spid="5103"/>
                                        </p:tgtEl>
                                      </p:cBhvr>
                                    </p:animEffect>
                                    <p:set>
                                      <p:cBhvr>
                                        <p:cTn id="187" dur="1" fill="hold">
                                          <p:stCondLst>
                                            <p:cond delay="249"/>
                                          </p:stCondLst>
                                        </p:cTn>
                                        <p:tgtEl>
                                          <p:spTgt spid="5103"/>
                                        </p:tgtEl>
                                        <p:attrNameLst>
                                          <p:attrName>style.visibility</p:attrName>
                                        </p:attrNameLst>
                                      </p:cBhvr>
                                      <p:to>
                                        <p:strVal val="hidden"/>
                                      </p:to>
                                    </p:set>
                                  </p:childTnLst>
                                </p:cTn>
                              </p:par>
                              <p:par>
                                <p:cTn id="188" presetID="10" presetClass="exit" presetSubtype="0" fill="hold" grpId="1" nodeType="withEffect">
                                  <p:stCondLst>
                                    <p:cond delay="2800"/>
                                  </p:stCondLst>
                                  <p:childTnLst>
                                    <p:animEffect transition="out" filter="fade">
                                      <p:cBhvr>
                                        <p:cTn id="189" dur="250"/>
                                        <p:tgtEl>
                                          <p:spTgt spid="5102"/>
                                        </p:tgtEl>
                                      </p:cBhvr>
                                    </p:animEffect>
                                    <p:set>
                                      <p:cBhvr>
                                        <p:cTn id="190" dur="1" fill="hold">
                                          <p:stCondLst>
                                            <p:cond delay="249"/>
                                          </p:stCondLst>
                                        </p:cTn>
                                        <p:tgtEl>
                                          <p:spTgt spid="5102"/>
                                        </p:tgtEl>
                                        <p:attrNameLst>
                                          <p:attrName>style.visibility</p:attrName>
                                        </p:attrNameLst>
                                      </p:cBhvr>
                                      <p:to>
                                        <p:strVal val="hidden"/>
                                      </p:to>
                                    </p:set>
                                  </p:childTnLst>
                                </p:cTn>
                              </p:par>
                              <p:par>
                                <p:cTn id="191" presetID="10" presetClass="exit" presetSubtype="0" fill="hold" grpId="1" nodeType="withEffect">
                                  <p:stCondLst>
                                    <p:cond delay="2800"/>
                                  </p:stCondLst>
                                  <p:childTnLst>
                                    <p:animEffect transition="out" filter="fade">
                                      <p:cBhvr>
                                        <p:cTn id="192" dur="250"/>
                                        <p:tgtEl>
                                          <p:spTgt spid="5177"/>
                                        </p:tgtEl>
                                      </p:cBhvr>
                                    </p:animEffect>
                                    <p:set>
                                      <p:cBhvr>
                                        <p:cTn id="193" dur="1" fill="hold">
                                          <p:stCondLst>
                                            <p:cond delay="249"/>
                                          </p:stCondLst>
                                        </p:cTn>
                                        <p:tgtEl>
                                          <p:spTgt spid="5177"/>
                                        </p:tgtEl>
                                        <p:attrNameLst>
                                          <p:attrName>style.visibility</p:attrName>
                                        </p:attrNameLst>
                                      </p:cBhvr>
                                      <p:to>
                                        <p:strVal val="hidden"/>
                                      </p:to>
                                    </p:set>
                                  </p:childTnLst>
                                </p:cTn>
                              </p:par>
                              <p:par>
                                <p:cTn id="194" presetID="10" presetClass="exit" presetSubtype="0" fill="hold" grpId="1" nodeType="withEffect">
                                  <p:stCondLst>
                                    <p:cond delay="2800"/>
                                  </p:stCondLst>
                                  <p:childTnLst>
                                    <p:animEffect transition="out" filter="fade">
                                      <p:cBhvr>
                                        <p:cTn id="195" dur="250"/>
                                        <p:tgtEl>
                                          <p:spTgt spid="5176"/>
                                        </p:tgtEl>
                                      </p:cBhvr>
                                    </p:animEffect>
                                    <p:set>
                                      <p:cBhvr>
                                        <p:cTn id="196" dur="1" fill="hold">
                                          <p:stCondLst>
                                            <p:cond delay="249"/>
                                          </p:stCondLst>
                                        </p:cTn>
                                        <p:tgtEl>
                                          <p:spTgt spid="5176"/>
                                        </p:tgtEl>
                                        <p:attrNameLst>
                                          <p:attrName>style.visibility</p:attrName>
                                        </p:attrNameLst>
                                      </p:cBhvr>
                                      <p:to>
                                        <p:strVal val="hidden"/>
                                      </p:to>
                                    </p:set>
                                  </p:childTnLst>
                                </p:cTn>
                              </p:par>
                              <p:par>
                                <p:cTn id="197" presetID="10" presetClass="exit" presetSubtype="0" fill="hold" grpId="1" nodeType="withEffect">
                                  <p:stCondLst>
                                    <p:cond delay="2800"/>
                                  </p:stCondLst>
                                  <p:childTnLst>
                                    <p:animEffect transition="out" filter="fade">
                                      <p:cBhvr>
                                        <p:cTn id="198" dur="250"/>
                                        <p:tgtEl>
                                          <p:spTgt spid="5175"/>
                                        </p:tgtEl>
                                      </p:cBhvr>
                                    </p:animEffect>
                                    <p:set>
                                      <p:cBhvr>
                                        <p:cTn id="199" dur="1" fill="hold">
                                          <p:stCondLst>
                                            <p:cond delay="249"/>
                                          </p:stCondLst>
                                        </p:cTn>
                                        <p:tgtEl>
                                          <p:spTgt spid="5175"/>
                                        </p:tgtEl>
                                        <p:attrNameLst>
                                          <p:attrName>style.visibility</p:attrName>
                                        </p:attrNameLst>
                                      </p:cBhvr>
                                      <p:to>
                                        <p:strVal val="hidden"/>
                                      </p:to>
                                    </p:set>
                                  </p:childTnLst>
                                </p:cTn>
                              </p:par>
                              <p:par>
                                <p:cTn id="200" presetID="10" presetClass="exit" presetSubtype="0" fill="hold" grpId="1" nodeType="withEffect">
                                  <p:stCondLst>
                                    <p:cond delay="2800"/>
                                  </p:stCondLst>
                                  <p:childTnLst>
                                    <p:animEffect transition="out" filter="fade">
                                      <p:cBhvr>
                                        <p:cTn id="201" dur="250"/>
                                        <p:tgtEl>
                                          <p:spTgt spid="5104"/>
                                        </p:tgtEl>
                                      </p:cBhvr>
                                    </p:animEffect>
                                    <p:set>
                                      <p:cBhvr>
                                        <p:cTn id="202" dur="1" fill="hold">
                                          <p:stCondLst>
                                            <p:cond delay="249"/>
                                          </p:stCondLst>
                                        </p:cTn>
                                        <p:tgtEl>
                                          <p:spTgt spid="5104"/>
                                        </p:tgtEl>
                                        <p:attrNameLst>
                                          <p:attrName>style.visibility</p:attrName>
                                        </p:attrNameLst>
                                      </p:cBhvr>
                                      <p:to>
                                        <p:strVal val="hidden"/>
                                      </p:to>
                                    </p:set>
                                  </p:childTnLst>
                                </p:cTn>
                              </p:par>
                              <p:par>
                                <p:cTn id="203" presetID="10" presetClass="exit" presetSubtype="0" fill="hold" grpId="1" nodeType="withEffect">
                                  <p:stCondLst>
                                    <p:cond delay="2800"/>
                                  </p:stCondLst>
                                  <p:childTnLst>
                                    <p:animEffect transition="out" filter="fade">
                                      <p:cBhvr>
                                        <p:cTn id="204" dur="250"/>
                                        <p:tgtEl>
                                          <p:spTgt spid="5161"/>
                                        </p:tgtEl>
                                      </p:cBhvr>
                                    </p:animEffect>
                                    <p:set>
                                      <p:cBhvr>
                                        <p:cTn id="205" dur="1" fill="hold">
                                          <p:stCondLst>
                                            <p:cond delay="249"/>
                                          </p:stCondLst>
                                        </p:cTn>
                                        <p:tgtEl>
                                          <p:spTgt spid="5161"/>
                                        </p:tgtEl>
                                        <p:attrNameLst>
                                          <p:attrName>style.visibility</p:attrName>
                                        </p:attrNameLst>
                                      </p:cBhvr>
                                      <p:to>
                                        <p:strVal val="hidden"/>
                                      </p:to>
                                    </p:set>
                                  </p:childTnLst>
                                </p:cTn>
                              </p:par>
                              <p:par>
                                <p:cTn id="206" presetID="10" presetClass="exit" presetSubtype="0" fill="hold" grpId="1" nodeType="withEffect">
                                  <p:stCondLst>
                                    <p:cond delay="2800"/>
                                  </p:stCondLst>
                                  <p:childTnLst>
                                    <p:animEffect transition="out" filter="fade">
                                      <p:cBhvr>
                                        <p:cTn id="207" dur="250"/>
                                        <p:tgtEl>
                                          <p:spTgt spid="5168"/>
                                        </p:tgtEl>
                                      </p:cBhvr>
                                    </p:animEffect>
                                    <p:set>
                                      <p:cBhvr>
                                        <p:cTn id="208" dur="1" fill="hold">
                                          <p:stCondLst>
                                            <p:cond delay="249"/>
                                          </p:stCondLst>
                                        </p:cTn>
                                        <p:tgtEl>
                                          <p:spTgt spid="5168"/>
                                        </p:tgtEl>
                                        <p:attrNameLst>
                                          <p:attrName>style.visibility</p:attrName>
                                        </p:attrNameLst>
                                      </p:cBhvr>
                                      <p:to>
                                        <p:strVal val="hidden"/>
                                      </p:to>
                                    </p:set>
                                  </p:childTnLst>
                                </p:cTn>
                              </p:par>
                              <p:par>
                                <p:cTn id="209" presetID="10" presetClass="exit" presetSubtype="0" fill="hold" grpId="1" nodeType="withEffect">
                                  <p:stCondLst>
                                    <p:cond delay="2800"/>
                                  </p:stCondLst>
                                  <p:childTnLst>
                                    <p:animEffect transition="out" filter="fade">
                                      <p:cBhvr>
                                        <p:cTn id="210" dur="250"/>
                                        <p:tgtEl>
                                          <p:spTgt spid="5164"/>
                                        </p:tgtEl>
                                      </p:cBhvr>
                                    </p:animEffect>
                                    <p:set>
                                      <p:cBhvr>
                                        <p:cTn id="211" dur="1" fill="hold">
                                          <p:stCondLst>
                                            <p:cond delay="249"/>
                                          </p:stCondLst>
                                        </p:cTn>
                                        <p:tgtEl>
                                          <p:spTgt spid="5164"/>
                                        </p:tgtEl>
                                        <p:attrNameLst>
                                          <p:attrName>style.visibility</p:attrName>
                                        </p:attrNameLst>
                                      </p:cBhvr>
                                      <p:to>
                                        <p:strVal val="hidden"/>
                                      </p:to>
                                    </p:set>
                                  </p:childTnLst>
                                </p:cTn>
                              </p:par>
                              <p:par>
                                <p:cTn id="212" presetID="10" presetClass="entr" presetSubtype="0" fill="hold" nodeType="withEffect">
                                  <p:stCondLst>
                                    <p:cond delay="3500"/>
                                  </p:stCondLst>
                                  <p:childTnLst>
                                    <p:set>
                                      <p:cBhvr>
                                        <p:cTn id="213" dur="1" fill="hold">
                                          <p:stCondLst>
                                            <p:cond delay="0"/>
                                          </p:stCondLst>
                                        </p:cTn>
                                        <p:tgtEl>
                                          <p:spTgt spid="5240"/>
                                        </p:tgtEl>
                                        <p:attrNameLst>
                                          <p:attrName>style.visibility</p:attrName>
                                        </p:attrNameLst>
                                      </p:cBhvr>
                                      <p:to>
                                        <p:strVal val="visible"/>
                                      </p:to>
                                    </p:set>
                                    <p:animEffect transition="in" filter="fade">
                                      <p:cBhvr>
                                        <p:cTn id="214" dur="250"/>
                                        <p:tgtEl>
                                          <p:spTgt spid="5240"/>
                                        </p:tgtEl>
                                      </p:cBhvr>
                                    </p:animEffect>
                                  </p:childTnLst>
                                </p:cTn>
                              </p:par>
                              <p:par>
                                <p:cTn id="215" presetID="10" presetClass="entr" presetSubtype="0" fill="hold" nodeType="withEffect">
                                  <p:stCondLst>
                                    <p:cond delay="3500"/>
                                  </p:stCondLst>
                                  <p:childTnLst>
                                    <p:set>
                                      <p:cBhvr>
                                        <p:cTn id="216" dur="1" fill="hold">
                                          <p:stCondLst>
                                            <p:cond delay="0"/>
                                          </p:stCondLst>
                                        </p:cTn>
                                        <p:tgtEl>
                                          <p:spTgt spid="5231"/>
                                        </p:tgtEl>
                                        <p:attrNameLst>
                                          <p:attrName>style.visibility</p:attrName>
                                        </p:attrNameLst>
                                      </p:cBhvr>
                                      <p:to>
                                        <p:strVal val="visible"/>
                                      </p:to>
                                    </p:set>
                                    <p:animEffect transition="in" filter="fade">
                                      <p:cBhvr>
                                        <p:cTn id="217" dur="250"/>
                                        <p:tgtEl>
                                          <p:spTgt spid="5231"/>
                                        </p:tgtEl>
                                      </p:cBhvr>
                                    </p:animEffect>
                                  </p:childTnLst>
                                </p:cTn>
                              </p:par>
                              <p:par>
                                <p:cTn id="218" presetID="10" presetClass="entr" presetSubtype="0" fill="hold" nodeType="withEffect">
                                  <p:stCondLst>
                                    <p:cond delay="3500"/>
                                  </p:stCondLst>
                                  <p:childTnLst>
                                    <p:set>
                                      <p:cBhvr>
                                        <p:cTn id="219" dur="1" fill="hold">
                                          <p:stCondLst>
                                            <p:cond delay="0"/>
                                          </p:stCondLst>
                                        </p:cTn>
                                        <p:tgtEl>
                                          <p:spTgt spid="5237"/>
                                        </p:tgtEl>
                                        <p:attrNameLst>
                                          <p:attrName>style.visibility</p:attrName>
                                        </p:attrNameLst>
                                      </p:cBhvr>
                                      <p:to>
                                        <p:strVal val="visible"/>
                                      </p:to>
                                    </p:set>
                                    <p:animEffect transition="in" filter="fade">
                                      <p:cBhvr>
                                        <p:cTn id="220" dur="250"/>
                                        <p:tgtEl>
                                          <p:spTgt spid="5237"/>
                                        </p:tgtEl>
                                      </p:cBhvr>
                                    </p:animEffect>
                                  </p:childTnLst>
                                </p:cTn>
                              </p:par>
                              <p:par>
                                <p:cTn id="221" presetID="10" presetClass="entr" presetSubtype="0" fill="hold" nodeType="withEffect">
                                  <p:stCondLst>
                                    <p:cond delay="3500"/>
                                  </p:stCondLst>
                                  <p:childTnLst>
                                    <p:set>
                                      <p:cBhvr>
                                        <p:cTn id="222" dur="1" fill="hold">
                                          <p:stCondLst>
                                            <p:cond delay="0"/>
                                          </p:stCondLst>
                                        </p:cTn>
                                        <p:tgtEl>
                                          <p:spTgt spid="5234"/>
                                        </p:tgtEl>
                                        <p:attrNameLst>
                                          <p:attrName>style.visibility</p:attrName>
                                        </p:attrNameLst>
                                      </p:cBhvr>
                                      <p:to>
                                        <p:strVal val="visible"/>
                                      </p:to>
                                    </p:set>
                                    <p:animEffect transition="in" filter="fade">
                                      <p:cBhvr>
                                        <p:cTn id="223" dur="250"/>
                                        <p:tgtEl>
                                          <p:spTgt spid="5234"/>
                                        </p:tgtEl>
                                      </p:cBhvr>
                                    </p:animEffect>
                                  </p:childTnLst>
                                </p:cTn>
                              </p:par>
                              <p:par>
                                <p:cTn id="224" presetID="42" presetClass="path" presetSubtype="0" decel="100000" fill="hold" nodeType="withEffect">
                                  <p:stCondLst>
                                    <p:cond delay="3800"/>
                                  </p:stCondLst>
                                  <p:childTnLst>
                                    <p:animMotion origin="layout" path="M 2.24662E-6 3.39991E-6 L -0.35563 -0.10236 " pathEditMode="relative" rAng="0" ptsTypes="AA">
                                      <p:cBhvr>
                                        <p:cTn id="225" dur="1000" fill="hold"/>
                                        <p:tgtEl>
                                          <p:spTgt spid="5240"/>
                                        </p:tgtEl>
                                        <p:attrNameLst>
                                          <p:attrName>ppt_x</p:attrName>
                                          <p:attrName>ppt_y</p:attrName>
                                        </p:attrNameLst>
                                      </p:cBhvr>
                                      <p:rCtr x="-17833" y="-5039"/>
                                    </p:animMotion>
                                  </p:childTnLst>
                                </p:cTn>
                              </p:par>
                              <p:par>
                                <p:cTn id="226" presetID="42" presetClass="path" presetSubtype="0" decel="100000" fill="hold" nodeType="withEffect">
                                  <p:stCondLst>
                                    <p:cond delay="3800"/>
                                  </p:stCondLst>
                                  <p:childTnLst>
                                    <p:animMotion origin="layout" path="M -1.10288E-6 2.16523E-6 L -0.51711 -0.14389 " pathEditMode="relative" rAng="0" ptsTypes="AA">
                                      <p:cBhvr>
                                        <p:cTn id="227" dur="1000" fill="hold"/>
                                        <p:tgtEl>
                                          <p:spTgt spid="5231"/>
                                        </p:tgtEl>
                                        <p:attrNameLst>
                                          <p:attrName>ppt_x</p:attrName>
                                          <p:attrName>ppt_y</p:attrName>
                                        </p:attrNameLst>
                                      </p:cBhvr>
                                      <p:rCtr x="-25938" y="-7217"/>
                                    </p:animMotion>
                                  </p:childTnLst>
                                </p:cTn>
                              </p:par>
                              <p:par>
                                <p:cTn id="228" presetID="42" presetClass="path" presetSubtype="0" decel="100000" fill="hold" nodeType="withEffect">
                                  <p:stCondLst>
                                    <p:cond delay="3800"/>
                                  </p:stCondLst>
                                  <p:childTnLst>
                                    <p:animMotion origin="layout" path="M 4.56472E-6 2.601E-6 L -0.37784 -0.27622 " pathEditMode="relative" rAng="0" ptsTypes="AA">
                                      <p:cBhvr>
                                        <p:cTn id="229" dur="1000" fill="hold"/>
                                        <p:tgtEl>
                                          <p:spTgt spid="5237"/>
                                        </p:tgtEl>
                                        <p:attrNameLst>
                                          <p:attrName>ppt_x</p:attrName>
                                          <p:attrName>ppt_y</p:attrName>
                                        </p:attrNameLst>
                                      </p:cBhvr>
                                      <p:rCtr x="-18866" y="-13618"/>
                                    </p:animMotion>
                                  </p:childTnLst>
                                </p:cTn>
                              </p:par>
                              <p:par>
                                <p:cTn id="230" presetID="42" presetClass="path" presetSubtype="0" decel="100000" fill="hold" nodeType="withEffect">
                                  <p:stCondLst>
                                    <p:cond delay="3800"/>
                                  </p:stCondLst>
                                  <p:childTnLst>
                                    <p:animMotion origin="layout" path="M 4.26091E-6 -4.63459E-6 L -0.53779 -0.25624 " pathEditMode="relative" rAng="0" ptsTypes="AA">
                                      <p:cBhvr>
                                        <p:cTn id="231" dur="1000" fill="hold"/>
                                        <p:tgtEl>
                                          <p:spTgt spid="5234"/>
                                        </p:tgtEl>
                                        <p:attrNameLst>
                                          <p:attrName>ppt_x</p:attrName>
                                          <p:attrName>ppt_y</p:attrName>
                                        </p:attrNameLst>
                                      </p:cBhvr>
                                      <p:rCtr x="-26896" y="-12823"/>
                                    </p:animMotion>
                                  </p:childTnLst>
                                </p:cTn>
                              </p:par>
                              <p:par>
                                <p:cTn id="232" presetID="2" presetClass="entr" presetSubtype="8" decel="100000" fill="hold" grpId="0" nodeType="withEffect">
                                  <p:stCondLst>
                                    <p:cond delay="4800"/>
                                  </p:stCondLst>
                                  <p:childTnLst>
                                    <p:set>
                                      <p:cBhvr>
                                        <p:cTn id="233" dur="1" fill="hold">
                                          <p:stCondLst>
                                            <p:cond delay="0"/>
                                          </p:stCondLst>
                                        </p:cTn>
                                        <p:tgtEl>
                                          <p:spTgt spid="2538"/>
                                        </p:tgtEl>
                                        <p:attrNameLst>
                                          <p:attrName>style.visibility</p:attrName>
                                        </p:attrNameLst>
                                      </p:cBhvr>
                                      <p:to>
                                        <p:strVal val="visible"/>
                                      </p:to>
                                    </p:set>
                                    <p:anim calcmode="lin" valueType="num">
                                      <p:cBhvr additive="base">
                                        <p:cTn id="234" dur="750" fill="hold"/>
                                        <p:tgtEl>
                                          <p:spTgt spid="2538"/>
                                        </p:tgtEl>
                                        <p:attrNameLst>
                                          <p:attrName>ppt_x</p:attrName>
                                        </p:attrNameLst>
                                      </p:cBhvr>
                                      <p:tavLst>
                                        <p:tav tm="0">
                                          <p:val>
                                            <p:strVal val="0-#ppt_w/2"/>
                                          </p:val>
                                        </p:tav>
                                        <p:tav tm="100000">
                                          <p:val>
                                            <p:strVal val="#ppt_x"/>
                                          </p:val>
                                        </p:tav>
                                      </p:tavLst>
                                    </p:anim>
                                    <p:anim calcmode="lin" valueType="num">
                                      <p:cBhvr additive="base">
                                        <p:cTn id="235" dur="750" fill="hold"/>
                                        <p:tgtEl>
                                          <p:spTgt spid="2538"/>
                                        </p:tgtEl>
                                        <p:attrNameLst>
                                          <p:attrName>ppt_y</p:attrName>
                                        </p:attrNameLst>
                                      </p:cBhvr>
                                      <p:tavLst>
                                        <p:tav tm="0">
                                          <p:val>
                                            <p:strVal val="#ppt_y"/>
                                          </p:val>
                                        </p:tav>
                                        <p:tav tm="100000">
                                          <p:val>
                                            <p:strVal val="#ppt_y"/>
                                          </p:val>
                                        </p:tav>
                                      </p:tavLst>
                                    </p:anim>
                                  </p:childTnLst>
                                </p:cTn>
                              </p:par>
                              <p:par>
                                <p:cTn id="236" presetID="10" presetClass="entr" presetSubtype="0" fill="hold" grpId="0" nodeType="withEffect">
                                  <p:stCondLst>
                                    <p:cond delay="4900"/>
                                  </p:stCondLst>
                                  <p:childTnLst>
                                    <p:set>
                                      <p:cBhvr>
                                        <p:cTn id="237" dur="1" fill="hold">
                                          <p:stCondLst>
                                            <p:cond delay="0"/>
                                          </p:stCondLst>
                                        </p:cTn>
                                        <p:tgtEl>
                                          <p:spTgt spid="5169"/>
                                        </p:tgtEl>
                                        <p:attrNameLst>
                                          <p:attrName>style.visibility</p:attrName>
                                        </p:attrNameLst>
                                      </p:cBhvr>
                                      <p:to>
                                        <p:strVal val="visible"/>
                                      </p:to>
                                    </p:set>
                                    <p:animEffect transition="in" filter="fade">
                                      <p:cBhvr>
                                        <p:cTn id="238" dur="250"/>
                                        <p:tgtEl>
                                          <p:spTgt spid="5169"/>
                                        </p:tgtEl>
                                      </p:cBhvr>
                                    </p:animEffect>
                                  </p:childTnLst>
                                </p:cTn>
                              </p:par>
                              <p:par>
                                <p:cTn id="239" presetID="10" presetClass="entr" presetSubtype="0" fill="hold" grpId="0" nodeType="withEffect">
                                  <p:stCondLst>
                                    <p:cond delay="4900"/>
                                  </p:stCondLst>
                                  <p:childTnLst>
                                    <p:set>
                                      <p:cBhvr>
                                        <p:cTn id="240" dur="1" fill="hold">
                                          <p:stCondLst>
                                            <p:cond delay="0"/>
                                          </p:stCondLst>
                                        </p:cTn>
                                        <p:tgtEl>
                                          <p:spTgt spid="2572"/>
                                        </p:tgtEl>
                                        <p:attrNameLst>
                                          <p:attrName>style.visibility</p:attrName>
                                        </p:attrNameLst>
                                      </p:cBhvr>
                                      <p:to>
                                        <p:strVal val="visible"/>
                                      </p:to>
                                    </p:set>
                                    <p:animEffect transition="in" filter="fade">
                                      <p:cBhvr>
                                        <p:cTn id="241" dur="250"/>
                                        <p:tgtEl>
                                          <p:spTgt spid="2572"/>
                                        </p:tgtEl>
                                      </p:cBhvr>
                                    </p:animEffect>
                                  </p:childTnLst>
                                </p:cTn>
                              </p:par>
                              <p:par>
                                <p:cTn id="242" presetID="10" presetClass="entr" presetSubtype="0" fill="hold" nodeType="withEffect">
                                  <p:stCondLst>
                                    <p:cond delay="4900"/>
                                  </p:stCondLst>
                                  <p:childTnLst>
                                    <p:set>
                                      <p:cBhvr>
                                        <p:cTn id="243" dur="1" fill="hold">
                                          <p:stCondLst>
                                            <p:cond delay="0"/>
                                          </p:stCondLst>
                                        </p:cTn>
                                        <p:tgtEl>
                                          <p:spTgt spid="2533"/>
                                        </p:tgtEl>
                                        <p:attrNameLst>
                                          <p:attrName>style.visibility</p:attrName>
                                        </p:attrNameLst>
                                      </p:cBhvr>
                                      <p:to>
                                        <p:strVal val="visible"/>
                                      </p:to>
                                    </p:set>
                                    <p:animEffect transition="in" filter="fade">
                                      <p:cBhvr>
                                        <p:cTn id="244" dur="250"/>
                                        <p:tgtEl>
                                          <p:spTgt spid="2533"/>
                                        </p:tgtEl>
                                      </p:cBhvr>
                                    </p:animEffect>
                                  </p:childTnLst>
                                </p:cTn>
                              </p:par>
                              <p:par>
                                <p:cTn id="245" presetID="10" presetClass="entr" presetSubtype="0" fill="hold" grpId="0" nodeType="withEffect">
                                  <p:stCondLst>
                                    <p:cond delay="4900"/>
                                  </p:stCondLst>
                                  <p:childTnLst>
                                    <p:set>
                                      <p:cBhvr>
                                        <p:cTn id="246" dur="1" fill="hold">
                                          <p:stCondLst>
                                            <p:cond delay="0"/>
                                          </p:stCondLst>
                                        </p:cTn>
                                        <p:tgtEl>
                                          <p:spTgt spid="5170"/>
                                        </p:tgtEl>
                                        <p:attrNameLst>
                                          <p:attrName>style.visibility</p:attrName>
                                        </p:attrNameLst>
                                      </p:cBhvr>
                                      <p:to>
                                        <p:strVal val="visible"/>
                                      </p:to>
                                    </p:set>
                                    <p:animEffect transition="in" filter="fade">
                                      <p:cBhvr>
                                        <p:cTn id="247" dur="250"/>
                                        <p:tgtEl>
                                          <p:spTgt spid="5170"/>
                                        </p:tgtEl>
                                      </p:cBhvr>
                                    </p:animEffect>
                                  </p:childTnLst>
                                </p:cTn>
                              </p:par>
                              <p:par>
                                <p:cTn id="248" presetID="10" presetClass="entr" presetSubtype="0" fill="hold" nodeType="withEffect">
                                  <p:stCondLst>
                                    <p:cond delay="4900"/>
                                  </p:stCondLst>
                                  <p:childTnLst>
                                    <p:set>
                                      <p:cBhvr>
                                        <p:cTn id="249" dur="1" fill="hold">
                                          <p:stCondLst>
                                            <p:cond delay="0"/>
                                          </p:stCondLst>
                                        </p:cTn>
                                        <p:tgtEl>
                                          <p:spTgt spid="2535"/>
                                        </p:tgtEl>
                                        <p:attrNameLst>
                                          <p:attrName>style.visibility</p:attrName>
                                        </p:attrNameLst>
                                      </p:cBhvr>
                                      <p:to>
                                        <p:strVal val="visible"/>
                                      </p:to>
                                    </p:set>
                                    <p:animEffect transition="in" filter="fade">
                                      <p:cBhvr>
                                        <p:cTn id="250" dur="250"/>
                                        <p:tgtEl>
                                          <p:spTgt spid="2535"/>
                                        </p:tgtEl>
                                      </p:cBhvr>
                                    </p:animEffect>
                                  </p:childTnLst>
                                </p:cTn>
                              </p:par>
                              <p:par>
                                <p:cTn id="251" presetID="10" presetClass="entr" presetSubtype="0" fill="hold" grpId="0" nodeType="withEffect">
                                  <p:stCondLst>
                                    <p:cond delay="4900"/>
                                  </p:stCondLst>
                                  <p:childTnLst>
                                    <p:set>
                                      <p:cBhvr>
                                        <p:cTn id="252" dur="1" fill="hold">
                                          <p:stCondLst>
                                            <p:cond delay="0"/>
                                          </p:stCondLst>
                                        </p:cTn>
                                        <p:tgtEl>
                                          <p:spTgt spid="5172"/>
                                        </p:tgtEl>
                                        <p:attrNameLst>
                                          <p:attrName>style.visibility</p:attrName>
                                        </p:attrNameLst>
                                      </p:cBhvr>
                                      <p:to>
                                        <p:strVal val="visible"/>
                                      </p:to>
                                    </p:set>
                                    <p:animEffect transition="in" filter="fade">
                                      <p:cBhvr>
                                        <p:cTn id="253" dur="250"/>
                                        <p:tgtEl>
                                          <p:spTgt spid="5172"/>
                                        </p:tgtEl>
                                      </p:cBhvr>
                                    </p:animEffect>
                                  </p:childTnLst>
                                </p:cTn>
                              </p:par>
                              <p:par>
                                <p:cTn id="254" presetID="10" presetClass="entr" presetSubtype="0" fill="hold" nodeType="withEffect">
                                  <p:stCondLst>
                                    <p:cond delay="4900"/>
                                  </p:stCondLst>
                                  <p:childTnLst>
                                    <p:set>
                                      <p:cBhvr>
                                        <p:cTn id="255" dur="1" fill="hold">
                                          <p:stCondLst>
                                            <p:cond delay="0"/>
                                          </p:stCondLst>
                                        </p:cTn>
                                        <p:tgtEl>
                                          <p:spTgt spid="2531"/>
                                        </p:tgtEl>
                                        <p:attrNameLst>
                                          <p:attrName>style.visibility</p:attrName>
                                        </p:attrNameLst>
                                      </p:cBhvr>
                                      <p:to>
                                        <p:strVal val="visible"/>
                                      </p:to>
                                    </p:set>
                                    <p:animEffect transition="in" filter="fade">
                                      <p:cBhvr>
                                        <p:cTn id="256" dur="250"/>
                                        <p:tgtEl>
                                          <p:spTgt spid="2531"/>
                                        </p:tgtEl>
                                      </p:cBhvr>
                                    </p:animEffect>
                                  </p:childTnLst>
                                </p:cTn>
                              </p:par>
                              <p:par>
                                <p:cTn id="257" presetID="10" presetClass="entr" presetSubtype="0" fill="hold" grpId="0" nodeType="withEffect">
                                  <p:stCondLst>
                                    <p:cond delay="4900"/>
                                  </p:stCondLst>
                                  <p:childTnLst>
                                    <p:set>
                                      <p:cBhvr>
                                        <p:cTn id="258" dur="1" fill="hold">
                                          <p:stCondLst>
                                            <p:cond delay="0"/>
                                          </p:stCondLst>
                                        </p:cTn>
                                        <p:tgtEl>
                                          <p:spTgt spid="5173"/>
                                        </p:tgtEl>
                                        <p:attrNameLst>
                                          <p:attrName>style.visibility</p:attrName>
                                        </p:attrNameLst>
                                      </p:cBhvr>
                                      <p:to>
                                        <p:strVal val="visible"/>
                                      </p:to>
                                    </p:set>
                                    <p:animEffect transition="in" filter="fade">
                                      <p:cBhvr>
                                        <p:cTn id="259" dur="250"/>
                                        <p:tgtEl>
                                          <p:spTgt spid="5173"/>
                                        </p:tgtEl>
                                      </p:cBhvr>
                                    </p:animEffect>
                                  </p:childTnLst>
                                </p:cTn>
                              </p:par>
                              <p:par>
                                <p:cTn id="260" presetID="10" presetClass="exit" presetSubtype="0" fill="hold" nodeType="withEffect">
                                  <p:stCondLst>
                                    <p:cond delay="4900"/>
                                  </p:stCondLst>
                                  <p:childTnLst>
                                    <p:animEffect transition="out" filter="fade">
                                      <p:cBhvr>
                                        <p:cTn id="261" dur="250"/>
                                        <p:tgtEl>
                                          <p:spTgt spid="5240"/>
                                        </p:tgtEl>
                                      </p:cBhvr>
                                    </p:animEffect>
                                    <p:set>
                                      <p:cBhvr>
                                        <p:cTn id="262" dur="1" fill="hold">
                                          <p:stCondLst>
                                            <p:cond delay="249"/>
                                          </p:stCondLst>
                                        </p:cTn>
                                        <p:tgtEl>
                                          <p:spTgt spid="5240"/>
                                        </p:tgtEl>
                                        <p:attrNameLst>
                                          <p:attrName>style.visibility</p:attrName>
                                        </p:attrNameLst>
                                      </p:cBhvr>
                                      <p:to>
                                        <p:strVal val="hidden"/>
                                      </p:to>
                                    </p:set>
                                  </p:childTnLst>
                                </p:cTn>
                              </p:par>
                              <p:par>
                                <p:cTn id="263" presetID="10" presetClass="exit" presetSubtype="0" fill="hold" nodeType="withEffect">
                                  <p:stCondLst>
                                    <p:cond delay="4900"/>
                                  </p:stCondLst>
                                  <p:childTnLst>
                                    <p:animEffect transition="out" filter="fade">
                                      <p:cBhvr>
                                        <p:cTn id="264" dur="250"/>
                                        <p:tgtEl>
                                          <p:spTgt spid="5231"/>
                                        </p:tgtEl>
                                      </p:cBhvr>
                                    </p:animEffect>
                                    <p:set>
                                      <p:cBhvr>
                                        <p:cTn id="265" dur="1" fill="hold">
                                          <p:stCondLst>
                                            <p:cond delay="249"/>
                                          </p:stCondLst>
                                        </p:cTn>
                                        <p:tgtEl>
                                          <p:spTgt spid="5231"/>
                                        </p:tgtEl>
                                        <p:attrNameLst>
                                          <p:attrName>style.visibility</p:attrName>
                                        </p:attrNameLst>
                                      </p:cBhvr>
                                      <p:to>
                                        <p:strVal val="hidden"/>
                                      </p:to>
                                    </p:set>
                                  </p:childTnLst>
                                </p:cTn>
                              </p:par>
                              <p:par>
                                <p:cTn id="266" presetID="10" presetClass="exit" presetSubtype="0" fill="hold" nodeType="withEffect">
                                  <p:stCondLst>
                                    <p:cond delay="4900"/>
                                  </p:stCondLst>
                                  <p:childTnLst>
                                    <p:animEffect transition="out" filter="fade">
                                      <p:cBhvr>
                                        <p:cTn id="267" dur="250"/>
                                        <p:tgtEl>
                                          <p:spTgt spid="5237"/>
                                        </p:tgtEl>
                                      </p:cBhvr>
                                    </p:animEffect>
                                    <p:set>
                                      <p:cBhvr>
                                        <p:cTn id="268" dur="1" fill="hold">
                                          <p:stCondLst>
                                            <p:cond delay="249"/>
                                          </p:stCondLst>
                                        </p:cTn>
                                        <p:tgtEl>
                                          <p:spTgt spid="5237"/>
                                        </p:tgtEl>
                                        <p:attrNameLst>
                                          <p:attrName>style.visibility</p:attrName>
                                        </p:attrNameLst>
                                      </p:cBhvr>
                                      <p:to>
                                        <p:strVal val="hidden"/>
                                      </p:to>
                                    </p:set>
                                  </p:childTnLst>
                                </p:cTn>
                              </p:par>
                              <p:par>
                                <p:cTn id="269" presetID="10" presetClass="exit" presetSubtype="0" fill="hold" nodeType="withEffect">
                                  <p:stCondLst>
                                    <p:cond delay="4900"/>
                                  </p:stCondLst>
                                  <p:childTnLst>
                                    <p:animEffect transition="out" filter="fade">
                                      <p:cBhvr>
                                        <p:cTn id="270" dur="250"/>
                                        <p:tgtEl>
                                          <p:spTgt spid="5234"/>
                                        </p:tgtEl>
                                      </p:cBhvr>
                                    </p:animEffect>
                                    <p:set>
                                      <p:cBhvr>
                                        <p:cTn id="271" dur="1" fill="hold">
                                          <p:stCondLst>
                                            <p:cond delay="249"/>
                                          </p:stCondLst>
                                        </p:cTn>
                                        <p:tgtEl>
                                          <p:spTgt spid="5234"/>
                                        </p:tgtEl>
                                        <p:attrNameLst>
                                          <p:attrName>style.visibility</p:attrName>
                                        </p:attrNameLst>
                                      </p:cBhvr>
                                      <p:to>
                                        <p:strVal val="hidden"/>
                                      </p:to>
                                    </p:set>
                                  </p:childTnLst>
                                </p:cTn>
                              </p:par>
                              <p:par>
                                <p:cTn id="272" presetID="10" presetClass="entr" presetSubtype="0" fill="hold" grpId="0" nodeType="withEffect">
                                  <p:stCondLst>
                                    <p:cond delay="5700"/>
                                  </p:stCondLst>
                                  <p:childTnLst>
                                    <p:set>
                                      <p:cBhvr>
                                        <p:cTn id="273" dur="1" fill="hold">
                                          <p:stCondLst>
                                            <p:cond delay="0"/>
                                          </p:stCondLst>
                                        </p:cTn>
                                        <p:tgtEl>
                                          <p:spTgt spid="2536"/>
                                        </p:tgtEl>
                                        <p:attrNameLst>
                                          <p:attrName>style.visibility</p:attrName>
                                        </p:attrNameLst>
                                      </p:cBhvr>
                                      <p:to>
                                        <p:strVal val="visible"/>
                                      </p:to>
                                    </p:set>
                                    <p:animEffect transition="in" filter="fade">
                                      <p:cBhvr>
                                        <p:cTn id="274" dur="250"/>
                                        <p:tgtEl>
                                          <p:spTgt spid="2536"/>
                                        </p:tgtEl>
                                      </p:cBhvr>
                                    </p:animEffect>
                                  </p:childTnLst>
                                </p:cTn>
                              </p:par>
                              <p:par>
                                <p:cTn id="275" presetID="10" presetClass="entr" presetSubtype="0" fill="hold" grpId="0" nodeType="withEffect">
                                  <p:stCondLst>
                                    <p:cond delay="5700"/>
                                  </p:stCondLst>
                                  <p:childTnLst>
                                    <p:set>
                                      <p:cBhvr>
                                        <p:cTn id="276" dur="1" fill="hold">
                                          <p:stCondLst>
                                            <p:cond delay="0"/>
                                          </p:stCondLst>
                                        </p:cTn>
                                        <p:tgtEl>
                                          <p:spTgt spid="2532"/>
                                        </p:tgtEl>
                                        <p:attrNameLst>
                                          <p:attrName>style.visibility</p:attrName>
                                        </p:attrNameLst>
                                      </p:cBhvr>
                                      <p:to>
                                        <p:strVal val="visible"/>
                                      </p:to>
                                    </p:set>
                                    <p:animEffect transition="in" filter="fade">
                                      <p:cBhvr>
                                        <p:cTn id="277" dur="250"/>
                                        <p:tgtEl>
                                          <p:spTgt spid="2532"/>
                                        </p:tgtEl>
                                      </p:cBhvr>
                                    </p:animEffect>
                                  </p:childTnLst>
                                </p:cTn>
                              </p:par>
                              <p:par>
                                <p:cTn id="278" presetID="10" presetClass="entr" presetSubtype="0" fill="hold" grpId="0" nodeType="withEffect">
                                  <p:stCondLst>
                                    <p:cond delay="5700"/>
                                  </p:stCondLst>
                                  <p:childTnLst>
                                    <p:set>
                                      <p:cBhvr>
                                        <p:cTn id="279" dur="1" fill="hold">
                                          <p:stCondLst>
                                            <p:cond delay="0"/>
                                          </p:stCondLst>
                                        </p:cTn>
                                        <p:tgtEl>
                                          <p:spTgt spid="2534"/>
                                        </p:tgtEl>
                                        <p:attrNameLst>
                                          <p:attrName>style.visibility</p:attrName>
                                        </p:attrNameLst>
                                      </p:cBhvr>
                                      <p:to>
                                        <p:strVal val="visible"/>
                                      </p:to>
                                    </p:set>
                                    <p:animEffect transition="in" filter="fade">
                                      <p:cBhvr>
                                        <p:cTn id="280" dur="250"/>
                                        <p:tgtEl>
                                          <p:spTgt spid="2534"/>
                                        </p:tgtEl>
                                      </p:cBhvr>
                                    </p:animEffect>
                                  </p:childTnLst>
                                </p:cTn>
                              </p:par>
                              <p:par>
                                <p:cTn id="281" presetID="10" presetClass="entr" presetSubtype="0" fill="hold" grpId="0" nodeType="withEffect">
                                  <p:stCondLst>
                                    <p:cond delay="5700"/>
                                  </p:stCondLst>
                                  <p:childTnLst>
                                    <p:set>
                                      <p:cBhvr>
                                        <p:cTn id="282" dur="1" fill="hold">
                                          <p:stCondLst>
                                            <p:cond delay="0"/>
                                          </p:stCondLst>
                                        </p:cTn>
                                        <p:tgtEl>
                                          <p:spTgt spid="2530"/>
                                        </p:tgtEl>
                                        <p:attrNameLst>
                                          <p:attrName>style.visibility</p:attrName>
                                        </p:attrNameLst>
                                      </p:cBhvr>
                                      <p:to>
                                        <p:strVal val="visible"/>
                                      </p:to>
                                    </p:set>
                                    <p:animEffect transition="in" filter="fade">
                                      <p:cBhvr>
                                        <p:cTn id="283" dur="250"/>
                                        <p:tgtEl>
                                          <p:spTgt spid="2530"/>
                                        </p:tgtEl>
                                      </p:cBhvr>
                                    </p:animEffect>
                                  </p:childTnLst>
                                </p:cTn>
                              </p:par>
                              <p:par>
                                <p:cTn id="284" presetID="10" presetClass="exit" presetSubtype="0" fill="hold" grpId="1" nodeType="withEffect">
                                  <p:stCondLst>
                                    <p:cond delay="5700"/>
                                  </p:stCondLst>
                                  <p:childTnLst>
                                    <p:animEffect transition="out" filter="fade">
                                      <p:cBhvr>
                                        <p:cTn id="285" dur="250"/>
                                        <p:tgtEl>
                                          <p:spTgt spid="5169"/>
                                        </p:tgtEl>
                                      </p:cBhvr>
                                    </p:animEffect>
                                    <p:set>
                                      <p:cBhvr>
                                        <p:cTn id="286" dur="1" fill="hold">
                                          <p:stCondLst>
                                            <p:cond delay="249"/>
                                          </p:stCondLst>
                                        </p:cTn>
                                        <p:tgtEl>
                                          <p:spTgt spid="5169"/>
                                        </p:tgtEl>
                                        <p:attrNameLst>
                                          <p:attrName>style.visibility</p:attrName>
                                        </p:attrNameLst>
                                      </p:cBhvr>
                                      <p:to>
                                        <p:strVal val="hidden"/>
                                      </p:to>
                                    </p:set>
                                  </p:childTnLst>
                                </p:cTn>
                              </p:par>
                              <p:par>
                                <p:cTn id="287" presetID="10" presetClass="exit" presetSubtype="0" fill="hold" grpId="1" nodeType="withEffect">
                                  <p:stCondLst>
                                    <p:cond delay="5700"/>
                                  </p:stCondLst>
                                  <p:childTnLst>
                                    <p:animEffect transition="out" filter="fade">
                                      <p:cBhvr>
                                        <p:cTn id="288" dur="250"/>
                                        <p:tgtEl>
                                          <p:spTgt spid="5170"/>
                                        </p:tgtEl>
                                      </p:cBhvr>
                                    </p:animEffect>
                                    <p:set>
                                      <p:cBhvr>
                                        <p:cTn id="289" dur="1" fill="hold">
                                          <p:stCondLst>
                                            <p:cond delay="249"/>
                                          </p:stCondLst>
                                        </p:cTn>
                                        <p:tgtEl>
                                          <p:spTgt spid="5170"/>
                                        </p:tgtEl>
                                        <p:attrNameLst>
                                          <p:attrName>style.visibility</p:attrName>
                                        </p:attrNameLst>
                                      </p:cBhvr>
                                      <p:to>
                                        <p:strVal val="hidden"/>
                                      </p:to>
                                    </p:set>
                                  </p:childTnLst>
                                </p:cTn>
                              </p:par>
                              <p:par>
                                <p:cTn id="290" presetID="10" presetClass="exit" presetSubtype="0" fill="hold" grpId="1" nodeType="withEffect">
                                  <p:stCondLst>
                                    <p:cond delay="5700"/>
                                  </p:stCondLst>
                                  <p:childTnLst>
                                    <p:animEffect transition="out" filter="fade">
                                      <p:cBhvr>
                                        <p:cTn id="291" dur="250"/>
                                        <p:tgtEl>
                                          <p:spTgt spid="5172"/>
                                        </p:tgtEl>
                                      </p:cBhvr>
                                    </p:animEffect>
                                    <p:set>
                                      <p:cBhvr>
                                        <p:cTn id="292" dur="1" fill="hold">
                                          <p:stCondLst>
                                            <p:cond delay="249"/>
                                          </p:stCondLst>
                                        </p:cTn>
                                        <p:tgtEl>
                                          <p:spTgt spid="5172"/>
                                        </p:tgtEl>
                                        <p:attrNameLst>
                                          <p:attrName>style.visibility</p:attrName>
                                        </p:attrNameLst>
                                      </p:cBhvr>
                                      <p:to>
                                        <p:strVal val="hidden"/>
                                      </p:to>
                                    </p:set>
                                  </p:childTnLst>
                                </p:cTn>
                              </p:par>
                              <p:par>
                                <p:cTn id="293" presetID="10" presetClass="exit" presetSubtype="0" fill="hold" grpId="1" nodeType="withEffect">
                                  <p:stCondLst>
                                    <p:cond delay="5700"/>
                                  </p:stCondLst>
                                  <p:childTnLst>
                                    <p:animEffect transition="out" filter="fade">
                                      <p:cBhvr>
                                        <p:cTn id="294" dur="250"/>
                                        <p:tgtEl>
                                          <p:spTgt spid="5173"/>
                                        </p:tgtEl>
                                      </p:cBhvr>
                                    </p:animEffect>
                                    <p:set>
                                      <p:cBhvr>
                                        <p:cTn id="295" dur="1" fill="hold">
                                          <p:stCondLst>
                                            <p:cond delay="249"/>
                                          </p:stCondLst>
                                        </p:cTn>
                                        <p:tgtEl>
                                          <p:spTgt spid="5173"/>
                                        </p:tgtEl>
                                        <p:attrNameLst>
                                          <p:attrName>style.visibility</p:attrName>
                                        </p:attrNameLst>
                                      </p:cBhvr>
                                      <p:to>
                                        <p:strVal val="hidden"/>
                                      </p:to>
                                    </p:set>
                                  </p:childTnLst>
                                </p:cTn>
                              </p:par>
                              <p:par>
                                <p:cTn id="296" presetID="10" presetClass="entr" presetSubtype="0" fill="hold" nodeType="withEffect">
                                  <p:stCondLst>
                                    <p:cond delay="6400"/>
                                  </p:stCondLst>
                                  <p:childTnLst>
                                    <p:set>
                                      <p:cBhvr>
                                        <p:cTn id="297" dur="1" fill="hold">
                                          <p:stCondLst>
                                            <p:cond delay="0"/>
                                          </p:stCondLst>
                                        </p:cTn>
                                        <p:tgtEl>
                                          <p:spTgt spid="5252"/>
                                        </p:tgtEl>
                                        <p:attrNameLst>
                                          <p:attrName>style.visibility</p:attrName>
                                        </p:attrNameLst>
                                      </p:cBhvr>
                                      <p:to>
                                        <p:strVal val="visible"/>
                                      </p:to>
                                    </p:set>
                                    <p:animEffect transition="in" filter="fade">
                                      <p:cBhvr>
                                        <p:cTn id="298" dur="250"/>
                                        <p:tgtEl>
                                          <p:spTgt spid="5252"/>
                                        </p:tgtEl>
                                      </p:cBhvr>
                                    </p:animEffect>
                                  </p:childTnLst>
                                </p:cTn>
                              </p:par>
                              <p:par>
                                <p:cTn id="299" presetID="10" presetClass="entr" presetSubtype="0" fill="hold" nodeType="withEffect">
                                  <p:stCondLst>
                                    <p:cond delay="6400"/>
                                  </p:stCondLst>
                                  <p:childTnLst>
                                    <p:set>
                                      <p:cBhvr>
                                        <p:cTn id="300" dur="1" fill="hold">
                                          <p:stCondLst>
                                            <p:cond delay="0"/>
                                          </p:stCondLst>
                                        </p:cTn>
                                        <p:tgtEl>
                                          <p:spTgt spid="5255"/>
                                        </p:tgtEl>
                                        <p:attrNameLst>
                                          <p:attrName>style.visibility</p:attrName>
                                        </p:attrNameLst>
                                      </p:cBhvr>
                                      <p:to>
                                        <p:strVal val="visible"/>
                                      </p:to>
                                    </p:set>
                                    <p:animEffect transition="in" filter="fade">
                                      <p:cBhvr>
                                        <p:cTn id="301" dur="250"/>
                                        <p:tgtEl>
                                          <p:spTgt spid="5255"/>
                                        </p:tgtEl>
                                      </p:cBhvr>
                                    </p:animEffect>
                                  </p:childTnLst>
                                </p:cTn>
                              </p:par>
                              <p:par>
                                <p:cTn id="302" presetID="10" presetClass="entr" presetSubtype="0" fill="hold" nodeType="withEffect">
                                  <p:stCondLst>
                                    <p:cond delay="6400"/>
                                  </p:stCondLst>
                                  <p:childTnLst>
                                    <p:set>
                                      <p:cBhvr>
                                        <p:cTn id="303" dur="1" fill="hold">
                                          <p:stCondLst>
                                            <p:cond delay="0"/>
                                          </p:stCondLst>
                                        </p:cTn>
                                        <p:tgtEl>
                                          <p:spTgt spid="5246"/>
                                        </p:tgtEl>
                                        <p:attrNameLst>
                                          <p:attrName>style.visibility</p:attrName>
                                        </p:attrNameLst>
                                      </p:cBhvr>
                                      <p:to>
                                        <p:strVal val="visible"/>
                                      </p:to>
                                    </p:set>
                                    <p:animEffect transition="in" filter="fade">
                                      <p:cBhvr>
                                        <p:cTn id="304" dur="250"/>
                                        <p:tgtEl>
                                          <p:spTgt spid="5246"/>
                                        </p:tgtEl>
                                      </p:cBhvr>
                                    </p:animEffect>
                                  </p:childTnLst>
                                </p:cTn>
                              </p:par>
                              <p:par>
                                <p:cTn id="305" presetID="10" presetClass="entr" presetSubtype="0" fill="hold" nodeType="withEffect">
                                  <p:stCondLst>
                                    <p:cond delay="6400"/>
                                  </p:stCondLst>
                                  <p:childTnLst>
                                    <p:set>
                                      <p:cBhvr>
                                        <p:cTn id="306" dur="1" fill="hold">
                                          <p:stCondLst>
                                            <p:cond delay="0"/>
                                          </p:stCondLst>
                                        </p:cTn>
                                        <p:tgtEl>
                                          <p:spTgt spid="5243"/>
                                        </p:tgtEl>
                                        <p:attrNameLst>
                                          <p:attrName>style.visibility</p:attrName>
                                        </p:attrNameLst>
                                      </p:cBhvr>
                                      <p:to>
                                        <p:strVal val="visible"/>
                                      </p:to>
                                    </p:set>
                                    <p:animEffect transition="in" filter="fade">
                                      <p:cBhvr>
                                        <p:cTn id="307" dur="250"/>
                                        <p:tgtEl>
                                          <p:spTgt spid="5243"/>
                                        </p:tgtEl>
                                      </p:cBhvr>
                                    </p:animEffect>
                                  </p:childTnLst>
                                </p:cTn>
                              </p:par>
                              <p:par>
                                <p:cTn id="308" presetID="10" presetClass="entr" presetSubtype="0" fill="hold" nodeType="withEffect">
                                  <p:stCondLst>
                                    <p:cond delay="6400"/>
                                  </p:stCondLst>
                                  <p:childTnLst>
                                    <p:set>
                                      <p:cBhvr>
                                        <p:cTn id="309" dur="1" fill="hold">
                                          <p:stCondLst>
                                            <p:cond delay="0"/>
                                          </p:stCondLst>
                                        </p:cTn>
                                        <p:tgtEl>
                                          <p:spTgt spid="5249"/>
                                        </p:tgtEl>
                                        <p:attrNameLst>
                                          <p:attrName>style.visibility</p:attrName>
                                        </p:attrNameLst>
                                      </p:cBhvr>
                                      <p:to>
                                        <p:strVal val="visible"/>
                                      </p:to>
                                    </p:set>
                                    <p:animEffect transition="in" filter="fade">
                                      <p:cBhvr>
                                        <p:cTn id="310" dur="250"/>
                                        <p:tgtEl>
                                          <p:spTgt spid="5249"/>
                                        </p:tgtEl>
                                      </p:cBhvr>
                                    </p:animEffect>
                                  </p:childTnLst>
                                </p:cTn>
                              </p:par>
                              <p:par>
                                <p:cTn id="311" presetID="42" presetClass="path" presetSubtype="0" decel="80000" fill="hold" nodeType="withEffect">
                                  <p:stCondLst>
                                    <p:cond delay="6700"/>
                                  </p:stCondLst>
                                  <p:childTnLst>
                                    <p:animMotion origin="layout" path="M -4.70003E-6 1.51611E-6 L -0.30686 0.17408 " pathEditMode="relative" rAng="0" ptsTypes="AA">
                                      <p:cBhvr>
                                        <p:cTn id="312" dur="1000" fill="hold"/>
                                        <p:tgtEl>
                                          <p:spTgt spid="5252"/>
                                        </p:tgtEl>
                                        <p:attrNameLst>
                                          <p:attrName>ppt_x</p:attrName>
                                          <p:attrName>ppt_y</p:attrName>
                                        </p:attrNameLst>
                                      </p:cBhvr>
                                      <p:rCtr x="-15343" y="8693"/>
                                    </p:animMotion>
                                  </p:childTnLst>
                                </p:cTn>
                              </p:par>
                              <p:par>
                                <p:cTn id="313" presetID="42" presetClass="path" presetSubtype="0" decel="100000" fill="hold" nodeType="withEffect">
                                  <p:stCondLst>
                                    <p:cond delay="6700"/>
                                  </p:stCondLst>
                                  <p:childTnLst>
                                    <p:animMotion origin="layout" path="M -5.25913E-7 -4.76623E-7 L -0.30394 0.18112 " pathEditMode="relative" rAng="0" ptsTypes="AA">
                                      <p:cBhvr>
                                        <p:cTn id="314" dur="1000" fill="hold"/>
                                        <p:tgtEl>
                                          <p:spTgt spid="5255"/>
                                        </p:tgtEl>
                                        <p:attrNameLst>
                                          <p:attrName>ppt_x</p:attrName>
                                          <p:attrName>ppt_y</p:attrName>
                                        </p:attrNameLst>
                                      </p:cBhvr>
                                      <p:rCtr x="-15216" y="9010"/>
                                    </p:animMotion>
                                  </p:childTnLst>
                                </p:cTn>
                              </p:par>
                              <p:par>
                                <p:cTn id="315" presetID="42" presetClass="path" presetSubtype="0" decel="59000" fill="hold" nodeType="withEffect">
                                  <p:stCondLst>
                                    <p:cond delay="6700"/>
                                  </p:stCondLst>
                                  <p:childTnLst>
                                    <p:animMotion origin="layout" path="M -1.58029E-6 -2.4966E-6 L -0.48456 0.03836 " pathEditMode="relative" rAng="0" ptsTypes="AA">
                                      <p:cBhvr>
                                        <p:cTn id="316" dur="1000" fill="hold"/>
                                        <p:tgtEl>
                                          <p:spTgt spid="5246"/>
                                        </p:tgtEl>
                                        <p:attrNameLst>
                                          <p:attrName>ppt_x</p:attrName>
                                          <p:attrName>ppt_y</p:attrName>
                                        </p:attrNameLst>
                                      </p:cBhvr>
                                      <p:rCtr x="-24253" y="1906"/>
                                    </p:animMotion>
                                  </p:childTnLst>
                                </p:cTn>
                              </p:par>
                              <p:par>
                                <p:cTn id="317" presetID="42" presetClass="path" presetSubtype="0" decel="100000" fill="hold" nodeType="withEffect">
                                  <p:stCondLst>
                                    <p:cond delay="6700"/>
                                  </p:stCondLst>
                                  <p:childTnLst>
                                    <p:animMotion origin="layout" path="M 8.09293E-7 -1.82025E-6 L -0.64208 0.04652 " pathEditMode="relative" rAng="0" ptsTypes="AA">
                                      <p:cBhvr>
                                        <p:cTn id="318" dur="1000" fill="hold"/>
                                        <p:tgtEl>
                                          <p:spTgt spid="5243"/>
                                        </p:tgtEl>
                                        <p:attrNameLst>
                                          <p:attrName>ppt_x</p:attrName>
                                          <p:attrName>ppt_y</p:attrName>
                                        </p:attrNameLst>
                                      </p:cBhvr>
                                      <p:rCtr x="-32180" y="2406"/>
                                    </p:animMotion>
                                  </p:childTnLst>
                                </p:cTn>
                              </p:par>
                              <p:par>
                                <p:cTn id="319" presetID="42" presetClass="path" presetSubtype="0" decel="81000" fill="hold" nodeType="withEffect">
                                  <p:stCondLst>
                                    <p:cond delay="6700"/>
                                  </p:stCondLst>
                                  <p:childTnLst>
                                    <p:animMotion origin="layout" path="M -3.54353E-6 1.06219E-6 L -0.32308 0.04108 " pathEditMode="relative" rAng="0" ptsTypes="AA">
                                      <p:cBhvr>
                                        <p:cTn id="320" dur="1000" fill="hold"/>
                                        <p:tgtEl>
                                          <p:spTgt spid="5249"/>
                                        </p:tgtEl>
                                        <p:attrNameLst>
                                          <p:attrName>ppt_x</p:attrName>
                                          <p:attrName>ppt_y</p:attrName>
                                        </p:attrNameLst>
                                      </p:cBhvr>
                                      <p:rCtr x="-16097" y="2111"/>
                                    </p:animMotion>
                                  </p:childTnLst>
                                </p:cTn>
                              </p:par>
                              <p:par>
                                <p:cTn id="321" presetID="2" presetClass="entr" presetSubtype="8" decel="100000" fill="hold" grpId="0" nodeType="withEffect">
                                  <p:stCondLst>
                                    <p:cond delay="7700"/>
                                  </p:stCondLst>
                                  <p:childTnLst>
                                    <p:set>
                                      <p:cBhvr>
                                        <p:cTn id="322" dur="1" fill="hold">
                                          <p:stCondLst>
                                            <p:cond delay="0"/>
                                          </p:stCondLst>
                                        </p:cTn>
                                        <p:tgtEl>
                                          <p:spTgt spid="2509"/>
                                        </p:tgtEl>
                                        <p:attrNameLst>
                                          <p:attrName>style.visibility</p:attrName>
                                        </p:attrNameLst>
                                      </p:cBhvr>
                                      <p:to>
                                        <p:strVal val="visible"/>
                                      </p:to>
                                    </p:set>
                                    <p:anim calcmode="lin" valueType="num">
                                      <p:cBhvr additive="base">
                                        <p:cTn id="323" dur="750" fill="hold"/>
                                        <p:tgtEl>
                                          <p:spTgt spid="2509"/>
                                        </p:tgtEl>
                                        <p:attrNameLst>
                                          <p:attrName>ppt_x</p:attrName>
                                        </p:attrNameLst>
                                      </p:cBhvr>
                                      <p:tavLst>
                                        <p:tav tm="0">
                                          <p:val>
                                            <p:strVal val="0-#ppt_w/2"/>
                                          </p:val>
                                        </p:tav>
                                        <p:tav tm="100000">
                                          <p:val>
                                            <p:strVal val="#ppt_x"/>
                                          </p:val>
                                        </p:tav>
                                      </p:tavLst>
                                    </p:anim>
                                    <p:anim calcmode="lin" valueType="num">
                                      <p:cBhvr additive="base">
                                        <p:cTn id="324" dur="750" fill="hold"/>
                                        <p:tgtEl>
                                          <p:spTgt spid="2509"/>
                                        </p:tgtEl>
                                        <p:attrNameLst>
                                          <p:attrName>ppt_y</p:attrName>
                                        </p:attrNameLst>
                                      </p:cBhvr>
                                      <p:tavLst>
                                        <p:tav tm="0">
                                          <p:val>
                                            <p:strVal val="#ppt_y"/>
                                          </p:val>
                                        </p:tav>
                                        <p:tav tm="100000">
                                          <p:val>
                                            <p:strVal val="#ppt_y"/>
                                          </p:val>
                                        </p:tav>
                                      </p:tavLst>
                                    </p:anim>
                                  </p:childTnLst>
                                </p:cTn>
                              </p:par>
                              <p:par>
                                <p:cTn id="325" presetID="10" presetClass="entr" presetSubtype="0" fill="hold" nodeType="withEffect">
                                  <p:stCondLst>
                                    <p:cond delay="7800"/>
                                  </p:stCondLst>
                                  <p:childTnLst>
                                    <p:set>
                                      <p:cBhvr>
                                        <p:cTn id="326" dur="1" fill="hold">
                                          <p:stCondLst>
                                            <p:cond delay="0"/>
                                          </p:stCondLst>
                                        </p:cTn>
                                        <p:tgtEl>
                                          <p:spTgt spid="2561"/>
                                        </p:tgtEl>
                                        <p:attrNameLst>
                                          <p:attrName>style.visibility</p:attrName>
                                        </p:attrNameLst>
                                      </p:cBhvr>
                                      <p:to>
                                        <p:strVal val="visible"/>
                                      </p:to>
                                    </p:set>
                                    <p:animEffect transition="in" filter="fade">
                                      <p:cBhvr>
                                        <p:cTn id="327" dur="250"/>
                                        <p:tgtEl>
                                          <p:spTgt spid="2561"/>
                                        </p:tgtEl>
                                      </p:cBhvr>
                                    </p:animEffect>
                                  </p:childTnLst>
                                </p:cTn>
                              </p:par>
                              <p:par>
                                <p:cTn id="328" presetID="10" presetClass="entr" presetSubtype="0" fill="hold" grpId="0" nodeType="withEffect">
                                  <p:stCondLst>
                                    <p:cond delay="7800"/>
                                  </p:stCondLst>
                                  <p:childTnLst>
                                    <p:set>
                                      <p:cBhvr>
                                        <p:cTn id="329" dur="1" fill="hold">
                                          <p:stCondLst>
                                            <p:cond delay="0"/>
                                          </p:stCondLst>
                                        </p:cTn>
                                        <p:tgtEl>
                                          <p:spTgt spid="5181"/>
                                        </p:tgtEl>
                                        <p:attrNameLst>
                                          <p:attrName>style.visibility</p:attrName>
                                        </p:attrNameLst>
                                      </p:cBhvr>
                                      <p:to>
                                        <p:strVal val="visible"/>
                                      </p:to>
                                    </p:set>
                                    <p:animEffect transition="in" filter="fade">
                                      <p:cBhvr>
                                        <p:cTn id="330" dur="250"/>
                                        <p:tgtEl>
                                          <p:spTgt spid="5181"/>
                                        </p:tgtEl>
                                      </p:cBhvr>
                                    </p:animEffect>
                                  </p:childTnLst>
                                </p:cTn>
                              </p:par>
                              <p:par>
                                <p:cTn id="331" presetID="10" presetClass="entr" presetSubtype="0" fill="hold" nodeType="withEffect">
                                  <p:stCondLst>
                                    <p:cond delay="7800"/>
                                  </p:stCondLst>
                                  <p:childTnLst>
                                    <p:set>
                                      <p:cBhvr>
                                        <p:cTn id="332" dur="1" fill="hold">
                                          <p:stCondLst>
                                            <p:cond delay="0"/>
                                          </p:stCondLst>
                                        </p:cTn>
                                        <p:tgtEl>
                                          <p:spTgt spid="2517"/>
                                        </p:tgtEl>
                                        <p:attrNameLst>
                                          <p:attrName>style.visibility</p:attrName>
                                        </p:attrNameLst>
                                      </p:cBhvr>
                                      <p:to>
                                        <p:strVal val="visible"/>
                                      </p:to>
                                    </p:set>
                                    <p:animEffect transition="in" filter="fade">
                                      <p:cBhvr>
                                        <p:cTn id="333" dur="250"/>
                                        <p:tgtEl>
                                          <p:spTgt spid="2517"/>
                                        </p:tgtEl>
                                      </p:cBhvr>
                                    </p:animEffect>
                                  </p:childTnLst>
                                </p:cTn>
                              </p:par>
                              <p:par>
                                <p:cTn id="334" presetID="10" presetClass="entr" presetSubtype="0" fill="hold" grpId="0" nodeType="withEffect">
                                  <p:stCondLst>
                                    <p:cond delay="7800"/>
                                  </p:stCondLst>
                                  <p:childTnLst>
                                    <p:set>
                                      <p:cBhvr>
                                        <p:cTn id="335" dur="1" fill="hold">
                                          <p:stCondLst>
                                            <p:cond delay="0"/>
                                          </p:stCondLst>
                                        </p:cTn>
                                        <p:tgtEl>
                                          <p:spTgt spid="5180"/>
                                        </p:tgtEl>
                                        <p:attrNameLst>
                                          <p:attrName>style.visibility</p:attrName>
                                        </p:attrNameLst>
                                      </p:cBhvr>
                                      <p:to>
                                        <p:strVal val="visible"/>
                                      </p:to>
                                    </p:set>
                                    <p:animEffect transition="in" filter="fade">
                                      <p:cBhvr>
                                        <p:cTn id="336" dur="250"/>
                                        <p:tgtEl>
                                          <p:spTgt spid="5180"/>
                                        </p:tgtEl>
                                      </p:cBhvr>
                                    </p:animEffect>
                                  </p:childTnLst>
                                </p:cTn>
                              </p:par>
                              <p:par>
                                <p:cTn id="337" presetID="10" presetClass="entr" presetSubtype="0" fill="hold" grpId="0" nodeType="withEffect">
                                  <p:stCondLst>
                                    <p:cond delay="7800"/>
                                  </p:stCondLst>
                                  <p:childTnLst>
                                    <p:set>
                                      <p:cBhvr>
                                        <p:cTn id="338" dur="1" fill="hold">
                                          <p:stCondLst>
                                            <p:cond delay="0"/>
                                          </p:stCondLst>
                                        </p:cTn>
                                        <p:tgtEl>
                                          <p:spTgt spid="2521"/>
                                        </p:tgtEl>
                                        <p:attrNameLst>
                                          <p:attrName>style.visibility</p:attrName>
                                        </p:attrNameLst>
                                      </p:cBhvr>
                                      <p:to>
                                        <p:strVal val="visible"/>
                                      </p:to>
                                    </p:set>
                                    <p:animEffect transition="in" filter="fade">
                                      <p:cBhvr>
                                        <p:cTn id="339" dur="250"/>
                                        <p:tgtEl>
                                          <p:spTgt spid="2521"/>
                                        </p:tgtEl>
                                      </p:cBhvr>
                                    </p:animEffect>
                                  </p:childTnLst>
                                </p:cTn>
                              </p:par>
                              <p:par>
                                <p:cTn id="340" presetID="10" presetClass="entr" presetSubtype="0" fill="hold" grpId="0" nodeType="withEffect">
                                  <p:stCondLst>
                                    <p:cond delay="7800"/>
                                  </p:stCondLst>
                                  <p:childTnLst>
                                    <p:set>
                                      <p:cBhvr>
                                        <p:cTn id="341" dur="1" fill="hold">
                                          <p:stCondLst>
                                            <p:cond delay="0"/>
                                          </p:stCondLst>
                                        </p:cTn>
                                        <p:tgtEl>
                                          <p:spTgt spid="5179"/>
                                        </p:tgtEl>
                                        <p:attrNameLst>
                                          <p:attrName>style.visibility</p:attrName>
                                        </p:attrNameLst>
                                      </p:cBhvr>
                                      <p:to>
                                        <p:strVal val="visible"/>
                                      </p:to>
                                    </p:set>
                                    <p:animEffect transition="in" filter="fade">
                                      <p:cBhvr>
                                        <p:cTn id="342" dur="250"/>
                                        <p:tgtEl>
                                          <p:spTgt spid="5179"/>
                                        </p:tgtEl>
                                      </p:cBhvr>
                                    </p:animEffect>
                                  </p:childTnLst>
                                </p:cTn>
                              </p:par>
                              <p:par>
                                <p:cTn id="343" presetID="10" presetClass="entr" presetSubtype="0" fill="hold" grpId="0" nodeType="withEffect">
                                  <p:stCondLst>
                                    <p:cond delay="7800"/>
                                  </p:stCondLst>
                                  <p:childTnLst>
                                    <p:set>
                                      <p:cBhvr>
                                        <p:cTn id="344" dur="1" fill="hold">
                                          <p:stCondLst>
                                            <p:cond delay="0"/>
                                          </p:stCondLst>
                                        </p:cTn>
                                        <p:tgtEl>
                                          <p:spTgt spid="2519"/>
                                        </p:tgtEl>
                                        <p:attrNameLst>
                                          <p:attrName>style.visibility</p:attrName>
                                        </p:attrNameLst>
                                      </p:cBhvr>
                                      <p:to>
                                        <p:strVal val="visible"/>
                                      </p:to>
                                    </p:set>
                                    <p:animEffect transition="in" filter="fade">
                                      <p:cBhvr>
                                        <p:cTn id="345" dur="250"/>
                                        <p:tgtEl>
                                          <p:spTgt spid="2519"/>
                                        </p:tgtEl>
                                      </p:cBhvr>
                                    </p:animEffect>
                                  </p:childTnLst>
                                </p:cTn>
                              </p:par>
                              <p:par>
                                <p:cTn id="346" presetID="10" presetClass="entr" presetSubtype="0" fill="hold" grpId="0" nodeType="withEffect">
                                  <p:stCondLst>
                                    <p:cond delay="7800"/>
                                  </p:stCondLst>
                                  <p:childTnLst>
                                    <p:set>
                                      <p:cBhvr>
                                        <p:cTn id="347" dur="1" fill="hold">
                                          <p:stCondLst>
                                            <p:cond delay="0"/>
                                          </p:stCondLst>
                                        </p:cTn>
                                        <p:tgtEl>
                                          <p:spTgt spid="5178"/>
                                        </p:tgtEl>
                                        <p:attrNameLst>
                                          <p:attrName>style.visibility</p:attrName>
                                        </p:attrNameLst>
                                      </p:cBhvr>
                                      <p:to>
                                        <p:strVal val="visible"/>
                                      </p:to>
                                    </p:set>
                                    <p:animEffect transition="in" filter="fade">
                                      <p:cBhvr>
                                        <p:cTn id="348" dur="250"/>
                                        <p:tgtEl>
                                          <p:spTgt spid="5178"/>
                                        </p:tgtEl>
                                      </p:cBhvr>
                                    </p:animEffect>
                                  </p:childTnLst>
                                </p:cTn>
                              </p:par>
                              <p:par>
                                <p:cTn id="349" presetID="10" presetClass="entr" presetSubtype="0" fill="hold" nodeType="withEffect">
                                  <p:stCondLst>
                                    <p:cond delay="7800"/>
                                  </p:stCondLst>
                                  <p:childTnLst>
                                    <p:set>
                                      <p:cBhvr>
                                        <p:cTn id="350" dur="1" fill="hold">
                                          <p:stCondLst>
                                            <p:cond delay="0"/>
                                          </p:stCondLst>
                                        </p:cTn>
                                        <p:tgtEl>
                                          <p:spTgt spid="2506"/>
                                        </p:tgtEl>
                                        <p:attrNameLst>
                                          <p:attrName>style.visibility</p:attrName>
                                        </p:attrNameLst>
                                      </p:cBhvr>
                                      <p:to>
                                        <p:strVal val="visible"/>
                                      </p:to>
                                    </p:set>
                                    <p:animEffect transition="in" filter="fade">
                                      <p:cBhvr>
                                        <p:cTn id="351" dur="250"/>
                                        <p:tgtEl>
                                          <p:spTgt spid="2506"/>
                                        </p:tgtEl>
                                      </p:cBhvr>
                                    </p:animEffect>
                                  </p:childTnLst>
                                </p:cTn>
                              </p:par>
                              <p:par>
                                <p:cTn id="352" presetID="10" presetClass="entr" presetSubtype="0" fill="hold" grpId="0" nodeType="withEffect">
                                  <p:stCondLst>
                                    <p:cond delay="7800"/>
                                  </p:stCondLst>
                                  <p:childTnLst>
                                    <p:set>
                                      <p:cBhvr>
                                        <p:cTn id="353" dur="1" fill="hold">
                                          <p:stCondLst>
                                            <p:cond delay="0"/>
                                          </p:stCondLst>
                                        </p:cTn>
                                        <p:tgtEl>
                                          <p:spTgt spid="5174"/>
                                        </p:tgtEl>
                                        <p:attrNameLst>
                                          <p:attrName>style.visibility</p:attrName>
                                        </p:attrNameLst>
                                      </p:cBhvr>
                                      <p:to>
                                        <p:strVal val="visible"/>
                                      </p:to>
                                    </p:set>
                                    <p:animEffect transition="in" filter="fade">
                                      <p:cBhvr>
                                        <p:cTn id="354" dur="250"/>
                                        <p:tgtEl>
                                          <p:spTgt spid="5174"/>
                                        </p:tgtEl>
                                      </p:cBhvr>
                                    </p:animEffect>
                                  </p:childTnLst>
                                </p:cTn>
                              </p:par>
                              <p:par>
                                <p:cTn id="355" presetID="10" presetClass="exit" presetSubtype="0" fill="hold" nodeType="withEffect">
                                  <p:stCondLst>
                                    <p:cond delay="7800"/>
                                  </p:stCondLst>
                                  <p:childTnLst>
                                    <p:animEffect transition="out" filter="fade">
                                      <p:cBhvr>
                                        <p:cTn id="356" dur="250"/>
                                        <p:tgtEl>
                                          <p:spTgt spid="5252"/>
                                        </p:tgtEl>
                                      </p:cBhvr>
                                    </p:animEffect>
                                    <p:set>
                                      <p:cBhvr>
                                        <p:cTn id="357" dur="1" fill="hold">
                                          <p:stCondLst>
                                            <p:cond delay="249"/>
                                          </p:stCondLst>
                                        </p:cTn>
                                        <p:tgtEl>
                                          <p:spTgt spid="5252"/>
                                        </p:tgtEl>
                                        <p:attrNameLst>
                                          <p:attrName>style.visibility</p:attrName>
                                        </p:attrNameLst>
                                      </p:cBhvr>
                                      <p:to>
                                        <p:strVal val="hidden"/>
                                      </p:to>
                                    </p:set>
                                  </p:childTnLst>
                                </p:cTn>
                              </p:par>
                              <p:par>
                                <p:cTn id="358" presetID="10" presetClass="exit" presetSubtype="0" fill="hold" nodeType="withEffect">
                                  <p:stCondLst>
                                    <p:cond delay="7800"/>
                                  </p:stCondLst>
                                  <p:childTnLst>
                                    <p:animEffect transition="out" filter="fade">
                                      <p:cBhvr>
                                        <p:cTn id="359" dur="250"/>
                                        <p:tgtEl>
                                          <p:spTgt spid="5255"/>
                                        </p:tgtEl>
                                      </p:cBhvr>
                                    </p:animEffect>
                                    <p:set>
                                      <p:cBhvr>
                                        <p:cTn id="360" dur="1" fill="hold">
                                          <p:stCondLst>
                                            <p:cond delay="249"/>
                                          </p:stCondLst>
                                        </p:cTn>
                                        <p:tgtEl>
                                          <p:spTgt spid="5255"/>
                                        </p:tgtEl>
                                        <p:attrNameLst>
                                          <p:attrName>style.visibility</p:attrName>
                                        </p:attrNameLst>
                                      </p:cBhvr>
                                      <p:to>
                                        <p:strVal val="hidden"/>
                                      </p:to>
                                    </p:set>
                                  </p:childTnLst>
                                </p:cTn>
                              </p:par>
                              <p:par>
                                <p:cTn id="361" presetID="10" presetClass="exit" presetSubtype="0" fill="hold" nodeType="withEffect">
                                  <p:stCondLst>
                                    <p:cond delay="7800"/>
                                  </p:stCondLst>
                                  <p:childTnLst>
                                    <p:animEffect transition="out" filter="fade">
                                      <p:cBhvr>
                                        <p:cTn id="362" dur="250"/>
                                        <p:tgtEl>
                                          <p:spTgt spid="5246"/>
                                        </p:tgtEl>
                                      </p:cBhvr>
                                    </p:animEffect>
                                    <p:set>
                                      <p:cBhvr>
                                        <p:cTn id="363" dur="1" fill="hold">
                                          <p:stCondLst>
                                            <p:cond delay="249"/>
                                          </p:stCondLst>
                                        </p:cTn>
                                        <p:tgtEl>
                                          <p:spTgt spid="5246"/>
                                        </p:tgtEl>
                                        <p:attrNameLst>
                                          <p:attrName>style.visibility</p:attrName>
                                        </p:attrNameLst>
                                      </p:cBhvr>
                                      <p:to>
                                        <p:strVal val="hidden"/>
                                      </p:to>
                                    </p:set>
                                  </p:childTnLst>
                                </p:cTn>
                              </p:par>
                              <p:par>
                                <p:cTn id="364" presetID="10" presetClass="exit" presetSubtype="0" fill="hold" nodeType="withEffect">
                                  <p:stCondLst>
                                    <p:cond delay="7800"/>
                                  </p:stCondLst>
                                  <p:childTnLst>
                                    <p:animEffect transition="out" filter="fade">
                                      <p:cBhvr>
                                        <p:cTn id="365" dur="250"/>
                                        <p:tgtEl>
                                          <p:spTgt spid="5243"/>
                                        </p:tgtEl>
                                      </p:cBhvr>
                                    </p:animEffect>
                                    <p:set>
                                      <p:cBhvr>
                                        <p:cTn id="366" dur="1" fill="hold">
                                          <p:stCondLst>
                                            <p:cond delay="249"/>
                                          </p:stCondLst>
                                        </p:cTn>
                                        <p:tgtEl>
                                          <p:spTgt spid="5243"/>
                                        </p:tgtEl>
                                        <p:attrNameLst>
                                          <p:attrName>style.visibility</p:attrName>
                                        </p:attrNameLst>
                                      </p:cBhvr>
                                      <p:to>
                                        <p:strVal val="hidden"/>
                                      </p:to>
                                    </p:set>
                                  </p:childTnLst>
                                </p:cTn>
                              </p:par>
                              <p:par>
                                <p:cTn id="367" presetID="10" presetClass="exit" presetSubtype="0" fill="hold" nodeType="withEffect">
                                  <p:stCondLst>
                                    <p:cond delay="7800"/>
                                  </p:stCondLst>
                                  <p:childTnLst>
                                    <p:animEffect transition="out" filter="fade">
                                      <p:cBhvr>
                                        <p:cTn id="368" dur="250"/>
                                        <p:tgtEl>
                                          <p:spTgt spid="5249"/>
                                        </p:tgtEl>
                                      </p:cBhvr>
                                    </p:animEffect>
                                    <p:set>
                                      <p:cBhvr>
                                        <p:cTn id="369" dur="1" fill="hold">
                                          <p:stCondLst>
                                            <p:cond delay="249"/>
                                          </p:stCondLst>
                                        </p:cTn>
                                        <p:tgtEl>
                                          <p:spTgt spid="5249"/>
                                        </p:tgtEl>
                                        <p:attrNameLst>
                                          <p:attrName>style.visibility</p:attrName>
                                        </p:attrNameLst>
                                      </p:cBhvr>
                                      <p:to>
                                        <p:strVal val="hidden"/>
                                      </p:to>
                                    </p:set>
                                  </p:childTnLst>
                                </p:cTn>
                              </p:par>
                              <p:par>
                                <p:cTn id="370" presetID="10" presetClass="exit" presetSubtype="0" fill="hold" grpId="1" nodeType="withEffect">
                                  <p:stCondLst>
                                    <p:cond delay="8600"/>
                                  </p:stCondLst>
                                  <p:childTnLst>
                                    <p:animEffect transition="out" filter="fade">
                                      <p:cBhvr>
                                        <p:cTn id="371" dur="250"/>
                                        <p:tgtEl>
                                          <p:spTgt spid="5181"/>
                                        </p:tgtEl>
                                      </p:cBhvr>
                                    </p:animEffect>
                                    <p:set>
                                      <p:cBhvr>
                                        <p:cTn id="372" dur="1" fill="hold">
                                          <p:stCondLst>
                                            <p:cond delay="249"/>
                                          </p:stCondLst>
                                        </p:cTn>
                                        <p:tgtEl>
                                          <p:spTgt spid="5181"/>
                                        </p:tgtEl>
                                        <p:attrNameLst>
                                          <p:attrName>style.visibility</p:attrName>
                                        </p:attrNameLst>
                                      </p:cBhvr>
                                      <p:to>
                                        <p:strVal val="hidden"/>
                                      </p:to>
                                    </p:set>
                                  </p:childTnLst>
                                </p:cTn>
                              </p:par>
                              <p:par>
                                <p:cTn id="373" presetID="10" presetClass="exit" presetSubtype="0" fill="hold" grpId="1" nodeType="withEffect">
                                  <p:stCondLst>
                                    <p:cond delay="8600"/>
                                  </p:stCondLst>
                                  <p:childTnLst>
                                    <p:animEffect transition="out" filter="fade">
                                      <p:cBhvr>
                                        <p:cTn id="374" dur="250"/>
                                        <p:tgtEl>
                                          <p:spTgt spid="5180"/>
                                        </p:tgtEl>
                                      </p:cBhvr>
                                    </p:animEffect>
                                    <p:set>
                                      <p:cBhvr>
                                        <p:cTn id="375" dur="1" fill="hold">
                                          <p:stCondLst>
                                            <p:cond delay="249"/>
                                          </p:stCondLst>
                                        </p:cTn>
                                        <p:tgtEl>
                                          <p:spTgt spid="5180"/>
                                        </p:tgtEl>
                                        <p:attrNameLst>
                                          <p:attrName>style.visibility</p:attrName>
                                        </p:attrNameLst>
                                      </p:cBhvr>
                                      <p:to>
                                        <p:strVal val="hidden"/>
                                      </p:to>
                                    </p:set>
                                  </p:childTnLst>
                                </p:cTn>
                              </p:par>
                              <p:par>
                                <p:cTn id="376" presetID="10" presetClass="exit" presetSubtype="0" fill="hold" grpId="1" nodeType="withEffect">
                                  <p:stCondLst>
                                    <p:cond delay="8600"/>
                                  </p:stCondLst>
                                  <p:childTnLst>
                                    <p:animEffect transition="out" filter="fade">
                                      <p:cBhvr>
                                        <p:cTn id="377" dur="250"/>
                                        <p:tgtEl>
                                          <p:spTgt spid="5179"/>
                                        </p:tgtEl>
                                      </p:cBhvr>
                                    </p:animEffect>
                                    <p:set>
                                      <p:cBhvr>
                                        <p:cTn id="378" dur="1" fill="hold">
                                          <p:stCondLst>
                                            <p:cond delay="249"/>
                                          </p:stCondLst>
                                        </p:cTn>
                                        <p:tgtEl>
                                          <p:spTgt spid="5179"/>
                                        </p:tgtEl>
                                        <p:attrNameLst>
                                          <p:attrName>style.visibility</p:attrName>
                                        </p:attrNameLst>
                                      </p:cBhvr>
                                      <p:to>
                                        <p:strVal val="hidden"/>
                                      </p:to>
                                    </p:set>
                                  </p:childTnLst>
                                </p:cTn>
                              </p:par>
                              <p:par>
                                <p:cTn id="379" presetID="10" presetClass="exit" presetSubtype="0" fill="hold" grpId="1" nodeType="withEffect">
                                  <p:stCondLst>
                                    <p:cond delay="8600"/>
                                  </p:stCondLst>
                                  <p:childTnLst>
                                    <p:animEffect transition="out" filter="fade">
                                      <p:cBhvr>
                                        <p:cTn id="380" dur="250"/>
                                        <p:tgtEl>
                                          <p:spTgt spid="5178"/>
                                        </p:tgtEl>
                                      </p:cBhvr>
                                    </p:animEffect>
                                    <p:set>
                                      <p:cBhvr>
                                        <p:cTn id="381" dur="1" fill="hold">
                                          <p:stCondLst>
                                            <p:cond delay="249"/>
                                          </p:stCondLst>
                                        </p:cTn>
                                        <p:tgtEl>
                                          <p:spTgt spid="5178"/>
                                        </p:tgtEl>
                                        <p:attrNameLst>
                                          <p:attrName>style.visibility</p:attrName>
                                        </p:attrNameLst>
                                      </p:cBhvr>
                                      <p:to>
                                        <p:strVal val="hidden"/>
                                      </p:to>
                                    </p:set>
                                  </p:childTnLst>
                                </p:cTn>
                              </p:par>
                              <p:par>
                                <p:cTn id="382" presetID="10" presetClass="exit" presetSubtype="0" fill="hold" grpId="1" nodeType="withEffect">
                                  <p:stCondLst>
                                    <p:cond delay="8600"/>
                                  </p:stCondLst>
                                  <p:childTnLst>
                                    <p:animEffect transition="out" filter="fade">
                                      <p:cBhvr>
                                        <p:cTn id="383" dur="250"/>
                                        <p:tgtEl>
                                          <p:spTgt spid="5174"/>
                                        </p:tgtEl>
                                      </p:cBhvr>
                                    </p:animEffect>
                                    <p:set>
                                      <p:cBhvr>
                                        <p:cTn id="384" dur="1" fill="hold">
                                          <p:stCondLst>
                                            <p:cond delay="249"/>
                                          </p:stCondLst>
                                        </p:cTn>
                                        <p:tgtEl>
                                          <p:spTgt spid="5174"/>
                                        </p:tgtEl>
                                        <p:attrNameLst>
                                          <p:attrName>style.visibility</p:attrName>
                                        </p:attrNameLst>
                                      </p:cBhvr>
                                      <p:to>
                                        <p:strVal val="hidden"/>
                                      </p:to>
                                    </p:set>
                                  </p:childTnLst>
                                </p:cTn>
                              </p:par>
                              <p:par>
                                <p:cTn id="385" presetID="10" presetClass="entr" presetSubtype="0" fill="hold" grpId="0" nodeType="withEffect">
                                  <p:stCondLst>
                                    <p:cond delay="8600"/>
                                  </p:stCondLst>
                                  <p:childTnLst>
                                    <p:set>
                                      <p:cBhvr>
                                        <p:cTn id="386" dur="1" fill="hold">
                                          <p:stCondLst>
                                            <p:cond delay="0"/>
                                          </p:stCondLst>
                                        </p:cTn>
                                        <p:tgtEl>
                                          <p:spTgt spid="2518"/>
                                        </p:tgtEl>
                                        <p:attrNameLst>
                                          <p:attrName>style.visibility</p:attrName>
                                        </p:attrNameLst>
                                      </p:cBhvr>
                                      <p:to>
                                        <p:strVal val="visible"/>
                                      </p:to>
                                    </p:set>
                                    <p:animEffect transition="in" filter="fade">
                                      <p:cBhvr>
                                        <p:cTn id="387" dur="250"/>
                                        <p:tgtEl>
                                          <p:spTgt spid="2518"/>
                                        </p:tgtEl>
                                      </p:cBhvr>
                                    </p:animEffect>
                                  </p:childTnLst>
                                </p:cTn>
                              </p:par>
                              <p:par>
                                <p:cTn id="388" presetID="10" presetClass="entr" presetSubtype="0" fill="hold" grpId="0" nodeType="withEffect">
                                  <p:stCondLst>
                                    <p:cond delay="8600"/>
                                  </p:stCondLst>
                                  <p:childTnLst>
                                    <p:set>
                                      <p:cBhvr>
                                        <p:cTn id="389" dur="1" fill="hold">
                                          <p:stCondLst>
                                            <p:cond delay="0"/>
                                          </p:stCondLst>
                                        </p:cTn>
                                        <p:tgtEl>
                                          <p:spTgt spid="2505"/>
                                        </p:tgtEl>
                                        <p:attrNameLst>
                                          <p:attrName>style.visibility</p:attrName>
                                        </p:attrNameLst>
                                      </p:cBhvr>
                                      <p:to>
                                        <p:strVal val="visible"/>
                                      </p:to>
                                    </p:set>
                                    <p:animEffect transition="in" filter="fade">
                                      <p:cBhvr>
                                        <p:cTn id="390" dur="250"/>
                                        <p:tgtEl>
                                          <p:spTgt spid="2505"/>
                                        </p:tgtEl>
                                      </p:cBhvr>
                                    </p:animEffect>
                                  </p:childTnLst>
                                </p:cTn>
                              </p:par>
                              <p:par>
                                <p:cTn id="391" presetID="10" presetClass="entr" presetSubtype="0" fill="hold" grpId="0" nodeType="withEffect">
                                  <p:stCondLst>
                                    <p:cond delay="8600"/>
                                  </p:stCondLst>
                                  <p:childTnLst>
                                    <p:set>
                                      <p:cBhvr>
                                        <p:cTn id="392" dur="1" fill="hold">
                                          <p:stCondLst>
                                            <p:cond delay="0"/>
                                          </p:stCondLst>
                                        </p:cTn>
                                        <p:tgtEl>
                                          <p:spTgt spid="2520"/>
                                        </p:tgtEl>
                                        <p:attrNameLst>
                                          <p:attrName>style.visibility</p:attrName>
                                        </p:attrNameLst>
                                      </p:cBhvr>
                                      <p:to>
                                        <p:strVal val="visible"/>
                                      </p:to>
                                    </p:set>
                                    <p:animEffect transition="in" filter="fade">
                                      <p:cBhvr>
                                        <p:cTn id="393" dur="250"/>
                                        <p:tgtEl>
                                          <p:spTgt spid="2520"/>
                                        </p:tgtEl>
                                      </p:cBhvr>
                                    </p:animEffect>
                                  </p:childTnLst>
                                </p:cTn>
                              </p:par>
                              <p:par>
                                <p:cTn id="394" presetID="10" presetClass="entr" presetSubtype="0" fill="hold" grpId="0" nodeType="withEffect">
                                  <p:stCondLst>
                                    <p:cond delay="8600"/>
                                  </p:stCondLst>
                                  <p:childTnLst>
                                    <p:set>
                                      <p:cBhvr>
                                        <p:cTn id="395" dur="1" fill="hold">
                                          <p:stCondLst>
                                            <p:cond delay="0"/>
                                          </p:stCondLst>
                                        </p:cTn>
                                        <p:tgtEl>
                                          <p:spTgt spid="2516"/>
                                        </p:tgtEl>
                                        <p:attrNameLst>
                                          <p:attrName>style.visibility</p:attrName>
                                        </p:attrNameLst>
                                      </p:cBhvr>
                                      <p:to>
                                        <p:strVal val="visible"/>
                                      </p:to>
                                    </p:set>
                                    <p:animEffect transition="in" filter="fade">
                                      <p:cBhvr>
                                        <p:cTn id="396" dur="250"/>
                                        <p:tgtEl>
                                          <p:spTgt spid="2516"/>
                                        </p:tgtEl>
                                      </p:cBhvr>
                                    </p:animEffect>
                                  </p:childTnLst>
                                </p:cTn>
                              </p:par>
                              <p:par>
                                <p:cTn id="397" presetID="10" presetClass="entr" presetSubtype="0" fill="hold" grpId="0" nodeType="withEffect">
                                  <p:stCondLst>
                                    <p:cond delay="8600"/>
                                  </p:stCondLst>
                                  <p:childTnLst>
                                    <p:set>
                                      <p:cBhvr>
                                        <p:cTn id="398" dur="1" fill="hold">
                                          <p:stCondLst>
                                            <p:cond delay="0"/>
                                          </p:stCondLst>
                                        </p:cTn>
                                        <p:tgtEl>
                                          <p:spTgt spid="2560"/>
                                        </p:tgtEl>
                                        <p:attrNameLst>
                                          <p:attrName>style.visibility</p:attrName>
                                        </p:attrNameLst>
                                      </p:cBhvr>
                                      <p:to>
                                        <p:strVal val="visible"/>
                                      </p:to>
                                    </p:set>
                                    <p:animEffect transition="in" filter="fade">
                                      <p:cBhvr>
                                        <p:cTn id="399" dur="250"/>
                                        <p:tgtEl>
                                          <p:spTgt spid="25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538" grpId="0" animBg="1"/>
      <p:bldP spid="2534" grpId="0"/>
      <p:bldP spid="2532" grpId="0"/>
      <p:bldP spid="2530" grpId="0"/>
      <p:bldP spid="2536" grpId="0"/>
      <p:bldP spid="2566" grpId="0" animBg="1"/>
      <p:bldP spid="2564" grpId="0"/>
      <p:bldP spid="2555" grpId="0"/>
      <p:bldP spid="2553" grpId="0"/>
      <p:bldP spid="2549" grpId="0"/>
      <p:bldP spid="2557" grpId="0"/>
      <p:bldP spid="2551" grpId="0"/>
      <p:bldP spid="2562" grpId="0"/>
      <p:bldP spid="2503" grpId="0"/>
      <p:bldP spid="2507" grpId="0"/>
      <p:bldP spid="2501" grpId="0"/>
      <p:bldP spid="5102" grpId="0" animBg="1"/>
      <p:bldP spid="5102" grpId="1" animBg="1"/>
      <p:bldP spid="5103" grpId="0" animBg="1"/>
      <p:bldP spid="5103" grpId="1" animBg="1"/>
      <p:bldP spid="5082" grpId="0" animBg="1"/>
      <p:bldP spid="5104" grpId="0" animBg="1"/>
      <p:bldP spid="5104" grpId="1" animBg="1"/>
      <p:bldP spid="5148" grpId="0" animBg="1"/>
      <p:bldP spid="5148" grpId="1" animBg="1"/>
      <p:bldP spid="5080" grpId="0" animBg="1"/>
      <p:bldP spid="5161" grpId="0" animBg="1"/>
      <p:bldP spid="5161" grpId="1" animBg="1"/>
      <p:bldP spid="5164" grpId="0" animBg="1"/>
      <p:bldP spid="5164" grpId="1" animBg="1"/>
      <p:bldP spid="2550" grpId="0" animBg="1"/>
      <p:bldP spid="5168" grpId="0" animBg="1"/>
      <p:bldP spid="5168" grpId="1" animBg="1"/>
      <p:bldP spid="2509" grpId="0" animBg="1"/>
      <p:bldP spid="2560" grpId="0"/>
      <p:bldP spid="2505" grpId="0"/>
      <p:bldP spid="2518" grpId="0"/>
      <p:bldP spid="2520" grpId="0"/>
      <p:bldP spid="2516" grpId="0"/>
      <p:bldP spid="5174" grpId="0" animBg="1"/>
      <p:bldP spid="5174" grpId="1" animBg="1"/>
      <p:bldP spid="5175" grpId="0" animBg="1"/>
      <p:bldP spid="5175" grpId="1" animBg="1"/>
      <p:bldP spid="5176" grpId="0" animBg="1"/>
      <p:bldP spid="5176" grpId="1" animBg="1"/>
      <p:bldP spid="5177" grpId="0" animBg="1"/>
      <p:bldP spid="5177" grpId="1" animBg="1"/>
      <p:bldP spid="2519" grpId="0" animBg="1"/>
      <p:bldP spid="5178" grpId="0" animBg="1"/>
      <p:bldP spid="5178" grpId="1" animBg="1"/>
      <p:bldP spid="2521" grpId="0" animBg="1"/>
      <p:bldP spid="5179" grpId="0" animBg="1"/>
      <p:bldP spid="5179" grpId="1" animBg="1"/>
      <p:bldP spid="5180" grpId="0" animBg="1"/>
      <p:bldP spid="5180" grpId="1" animBg="1"/>
      <p:bldP spid="5181" grpId="0" animBg="1"/>
      <p:bldP spid="5181" grpId="1" animBg="1"/>
      <p:bldP spid="2572" grpId="0" animBg="1"/>
      <p:bldP spid="5169" grpId="0" animBg="1"/>
      <p:bldP spid="5169" grpId="1" animBg="1"/>
      <p:bldP spid="5170" grpId="0" animBg="1"/>
      <p:bldP spid="5170" grpId="1" animBg="1"/>
      <p:bldP spid="5172" grpId="0" animBg="1"/>
      <p:bldP spid="5172" grpId="1" animBg="1"/>
      <p:bldP spid="5173" grpId="0" animBg="1"/>
      <p:bldP spid="5173"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50" name="Map PNG"/>
          <p:cNvPicPr>
            <a:picLocks noChangeAspect="1"/>
          </p:cNvPicPr>
          <p:nvPr/>
        </p:nvPicPr>
        <p:blipFill>
          <a:blip r:embed="rId3"/>
          <a:stretch>
            <a:fillRect/>
          </a:stretch>
        </p:blipFill>
        <p:spPr>
          <a:xfrm>
            <a:off x="1556754" y="1263208"/>
            <a:ext cx="10217468" cy="5013131"/>
          </a:xfrm>
          <a:prstGeom prst="rect">
            <a:avLst/>
          </a:prstGeom>
        </p:spPr>
      </p:pic>
      <p:sp>
        <p:nvSpPr>
          <p:cNvPr id="2" name="Rectangle 1"/>
          <p:cNvSpPr/>
          <p:nvPr/>
        </p:nvSpPr>
        <p:spPr bwMode="auto">
          <a:xfrm>
            <a:off x="1589" y="1132865"/>
            <a:ext cx="12456629" cy="5723756"/>
          </a:xfrm>
          <a:prstGeom prst="rect">
            <a:avLst/>
          </a:prstGeom>
          <a:solidFill>
            <a:srgbClr val="FFFFFF">
              <a:alpha val="50196"/>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482" name="Group 2481"/>
          <p:cNvGrpSpPr/>
          <p:nvPr/>
        </p:nvGrpSpPr>
        <p:grpSpPr>
          <a:xfrm>
            <a:off x="7631683" y="2652614"/>
            <a:ext cx="4378438" cy="3954877"/>
            <a:chOff x="7785122" y="2705100"/>
            <a:chExt cx="4467398" cy="4035231"/>
          </a:xfrm>
        </p:grpSpPr>
        <p:sp>
          <p:nvSpPr>
            <p:cNvPr id="2465" name="Rectangle 2464"/>
            <p:cNvSpPr/>
            <p:nvPr/>
          </p:nvSpPr>
          <p:spPr bwMode="auto">
            <a:xfrm>
              <a:off x="8618537" y="3365501"/>
              <a:ext cx="2760663" cy="3374830"/>
            </a:xfrm>
            <a:custGeom>
              <a:avLst/>
              <a:gdLst>
                <a:gd name="connsiteX0" fmla="*/ 0 w 3962401"/>
                <a:gd name="connsiteY0" fmla="*/ 0 h 3360932"/>
                <a:gd name="connsiteX1" fmla="*/ 3962401 w 3962401"/>
                <a:gd name="connsiteY1" fmla="*/ 0 h 3360932"/>
                <a:gd name="connsiteX2" fmla="*/ 3962401 w 3962401"/>
                <a:gd name="connsiteY2" fmla="*/ 3360932 h 3360932"/>
                <a:gd name="connsiteX3" fmla="*/ 0 w 3962401"/>
                <a:gd name="connsiteY3" fmla="*/ 3360932 h 3360932"/>
                <a:gd name="connsiteX4" fmla="*/ 0 w 3962401"/>
                <a:gd name="connsiteY4" fmla="*/ 0 h 3360932"/>
                <a:gd name="connsiteX0" fmla="*/ 457200 w 3962401"/>
                <a:gd name="connsiteY0" fmla="*/ 685800 h 3360932"/>
                <a:gd name="connsiteX1" fmla="*/ 3962401 w 3962401"/>
                <a:gd name="connsiteY1" fmla="*/ 0 h 3360932"/>
                <a:gd name="connsiteX2" fmla="*/ 3962401 w 3962401"/>
                <a:gd name="connsiteY2" fmla="*/ 3360932 h 3360932"/>
                <a:gd name="connsiteX3" fmla="*/ 0 w 3962401"/>
                <a:gd name="connsiteY3" fmla="*/ 3360932 h 3360932"/>
                <a:gd name="connsiteX4" fmla="*/ 457200 w 3962401"/>
                <a:gd name="connsiteY4" fmla="*/ 685800 h 3360932"/>
                <a:gd name="connsiteX0" fmla="*/ 0 w 3505201"/>
                <a:gd name="connsiteY0" fmla="*/ 685800 h 3360932"/>
                <a:gd name="connsiteX1" fmla="*/ 3505201 w 3505201"/>
                <a:gd name="connsiteY1" fmla="*/ 0 h 3360932"/>
                <a:gd name="connsiteX2" fmla="*/ 3505201 w 3505201"/>
                <a:gd name="connsiteY2" fmla="*/ 3360932 h 3360932"/>
                <a:gd name="connsiteX3" fmla="*/ 25400 w 3505201"/>
                <a:gd name="connsiteY3" fmla="*/ 2598932 h 3360932"/>
                <a:gd name="connsiteX4" fmla="*/ 0 w 3505201"/>
                <a:gd name="connsiteY4" fmla="*/ 685800 h 3360932"/>
                <a:gd name="connsiteX0" fmla="*/ 0 w 3505201"/>
                <a:gd name="connsiteY0" fmla="*/ 685800 h 3360932"/>
                <a:gd name="connsiteX1" fmla="*/ 3505201 w 3505201"/>
                <a:gd name="connsiteY1" fmla="*/ 0 h 3360932"/>
                <a:gd name="connsiteX2" fmla="*/ 3505201 w 3505201"/>
                <a:gd name="connsiteY2" fmla="*/ 3360932 h 3360932"/>
                <a:gd name="connsiteX3" fmla="*/ 1655763 w 3505201"/>
                <a:gd name="connsiteY3" fmla="*/ 2949769 h 3360932"/>
                <a:gd name="connsiteX4" fmla="*/ 25400 w 3505201"/>
                <a:gd name="connsiteY4" fmla="*/ 2598932 h 3360932"/>
                <a:gd name="connsiteX5" fmla="*/ 0 w 3505201"/>
                <a:gd name="connsiteY5" fmla="*/ 685800 h 3360932"/>
                <a:gd name="connsiteX0" fmla="*/ 0 w 3505201"/>
                <a:gd name="connsiteY0" fmla="*/ 685800 h 3381569"/>
                <a:gd name="connsiteX1" fmla="*/ 3505201 w 3505201"/>
                <a:gd name="connsiteY1" fmla="*/ 0 h 3381569"/>
                <a:gd name="connsiteX2" fmla="*/ 3505201 w 3505201"/>
                <a:gd name="connsiteY2" fmla="*/ 3360932 h 3381569"/>
                <a:gd name="connsiteX3" fmla="*/ 1363663 w 3505201"/>
                <a:gd name="connsiteY3" fmla="*/ 3381569 h 3381569"/>
                <a:gd name="connsiteX4" fmla="*/ 25400 w 3505201"/>
                <a:gd name="connsiteY4" fmla="*/ 2598932 h 3381569"/>
                <a:gd name="connsiteX5" fmla="*/ 0 w 3505201"/>
                <a:gd name="connsiteY5" fmla="*/ 685800 h 3381569"/>
                <a:gd name="connsiteX0" fmla="*/ 0 w 3505201"/>
                <a:gd name="connsiteY0" fmla="*/ 685800 h 3381569"/>
                <a:gd name="connsiteX1" fmla="*/ 3505201 w 3505201"/>
                <a:gd name="connsiteY1" fmla="*/ 0 h 3381569"/>
                <a:gd name="connsiteX2" fmla="*/ 2667001 w 3505201"/>
                <a:gd name="connsiteY2" fmla="*/ 2598932 h 3381569"/>
                <a:gd name="connsiteX3" fmla="*/ 1363663 w 3505201"/>
                <a:gd name="connsiteY3" fmla="*/ 3381569 h 3381569"/>
                <a:gd name="connsiteX4" fmla="*/ 25400 w 3505201"/>
                <a:gd name="connsiteY4" fmla="*/ 2598932 h 3381569"/>
                <a:gd name="connsiteX5" fmla="*/ 0 w 3505201"/>
                <a:gd name="connsiteY5" fmla="*/ 685800 h 3381569"/>
                <a:gd name="connsiteX0" fmla="*/ 0 w 3505201"/>
                <a:gd name="connsiteY0" fmla="*/ 685800 h 3381569"/>
                <a:gd name="connsiteX1" fmla="*/ 3505201 w 3505201"/>
                <a:gd name="connsiteY1" fmla="*/ 0 h 3381569"/>
                <a:gd name="connsiteX2" fmla="*/ 2925763 w 3505201"/>
                <a:gd name="connsiteY2" fmla="*/ 1832169 h 3381569"/>
                <a:gd name="connsiteX3" fmla="*/ 2667001 w 3505201"/>
                <a:gd name="connsiteY3" fmla="*/ 2598932 h 3381569"/>
                <a:gd name="connsiteX4" fmla="*/ 1363663 w 3505201"/>
                <a:gd name="connsiteY4" fmla="*/ 3381569 h 3381569"/>
                <a:gd name="connsiteX5" fmla="*/ 25400 w 3505201"/>
                <a:gd name="connsiteY5" fmla="*/ 2598932 h 3381569"/>
                <a:gd name="connsiteX6" fmla="*/ 0 w 3505201"/>
                <a:gd name="connsiteY6" fmla="*/ 685800 h 3381569"/>
                <a:gd name="connsiteX0" fmla="*/ 0 w 3505201"/>
                <a:gd name="connsiteY0" fmla="*/ 685800 h 3381569"/>
                <a:gd name="connsiteX1" fmla="*/ 3505201 w 3505201"/>
                <a:gd name="connsiteY1" fmla="*/ 0 h 3381569"/>
                <a:gd name="connsiteX2" fmla="*/ 2697163 w 3505201"/>
                <a:gd name="connsiteY2" fmla="*/ 2162369 h 3381569"/>
                <a:gd name="connsiteX3" fmla="*/ 2667001 w 3505201"/>
                <a:gd name="connsiteY3" fmla="*/ 2598932 h 3381569"/>
                <a:gd name="connsiteX4" fmla="*/ 1363663 w 3505201"/>
                <a:gd name="connsiteY4" fmla="*/ 3381569 h 3381569"/>
                <a:gd name="connsiteX5" fmla="*/ 25400 w 3505201"/>
                <a:gd name="connsiteY5" fmla="*/ 2598932 h 3381569"/>
                <a:gd name="connsiteX6" fmla="*/ 0 w 3505201"/>
                <a:gd name="connsiteY6" fmla="*/ 685800 h 3381569"/>
                <a:gd name="connsiteX0" fmla="*/ 0 w 3505201"/>
                <a:gd name="connsiteY0" fmla="*/ 685800 h 3381569"/>
                <a:gd name="connsiteX1" fmla="*/ 3505201 w 3505201"/>
                <a:gd name="connsiteY1" fmla="*/ 0 h 3381569"/>
                <a:gd name="connsiteX2" fmla="*/ 3027363 w 3505201"/>
                <a:gd name="connsiteY2" fmla="*/ 1260669 h 3381569"/>
                <a:gd name="connsiteX3" fmla="*/ 2697163 w 3505201"/>
                <a:gd name="connsiteY3" fmla="*/ 2162369 h 3381569"/>
                <a:gd name="connsiteX4" fmla="*/ 2667001 w 3505201"/>
                <a:gd name="connsiteY4" fmla="*/ 2598932 h 3381569"/>
                <a:gd name="connsiteX5" fmla="*/ 1363663 w 3505201"/>
                <a:gd name="connsiteY5" fmla="*/ 3381569 h 3381569"/>
                <a:gd name="connsiteX6" fmla="*/ 25400 w 3505201"/>
                <a:gd name="connsiteY6" fmla="*/ 2598932 h 3381569"/>
                <a:gd name="connsiteX7" fmla="*/ 0 w 3505201"/>
                <a:gd name="connsiteY7" fmla="*/ 685800 h 3381569"/>
                <a:gd name="connsiteX0" fmla="*/ 0 w 3505201"/>
                <a:gd name="connsiteY0" fmla="*/ 685800 h 3381569"/>
                <a:gd name="connsiteX1" fmla="*/ 3505201 w 3505201"/>
                <a:gd name="connsiteY1" fmla="*/ 0 h 3381569"/>
                <a:gd name="connsiteX2" fmla="*/ 2722563 w 3505201"/>
                <a:gd name="connsiteY2" fmla="*/ 930469 h 3381569"/>
                <a:gd name="connsiteX3" fmla="*/ 2697163 w 3505201"/>
                <a:gd name="connsiteY3" fmla="*/ 2162369 h 3381569"/>
                <a:gd name="connsiteX4" fmla="*/ 2667001 w 3505201"/>
                <a:gd name="connsiteY4" fmla="*/ 2598932 h 3381569"/>
                <a:gd name="connsiteX5" fmla="*/ 1363663 w 3505201"/>
                <a:gd name="connsiteY5" fmla="*/ 3381569 h 3381569"/>
                <a:gd name="connsiteX6" fmla="*/ 25400 w 3505201"/>
                <a:gd name="connsiteY6" fmla="*/ 2598932 h 3381569"/>
                <a:gd name="connsiteX7" fmla="*/ 0 w 3505201"/>
                <a:gd name="connsiteY7" fmla="*/ 685800 h 3381569"/>
                <a:gd name="connsiteX0" fmla="*/ 0 w 2722563"/>
                <a:gd name="connsiteY0" fmla="*/ 635000 h 3330769"/>
                <a:gd name="connsiteX1" fmla="*/ 1384301 w 2722563"/>
                <a:gd name="connsiteY1" fmla="*/ 0 h 3330769"/>
                <a:gd name="connsiteX2" fmla="*/ 2722563 w 2722563"/>
                <a:gd name="connsiteY2" fmla="*/ 879669 h 3330769"/>
                <a:gd name="connsiteX3" fmla="*/ 2697163 w 2722563"/>
                <a:gd name="connsiteY3" fmla="*/ 2111569 h 3330769"/>
                <a:gd name="connsiteX4" fmla="*/ 2667001 w 2722563"/>
                <a:gd name="connsiteY4" fmla="*/ 2548132 h 3330769"/>
                <a:gd name="connsiteX5" fmla="*/ 1363663 w 2722563"/>
                <a:gd name="connsiteY5" fmla="*/ 3330769 h 3330769"/>
                <a:gd name="connsiteX6" fmla="*/ 25400 w 2722563"/>
                <a:gd name="connsiteY6" fmla="*/ 2548132 h 3330769"/>
                <a:gd name="connsiteX7" fmla="*/ 0 w 2722563"/>
                <a:gd name="connsiteY7" fmla="*/ 635000 h 3330769"/>
                <a:gd name="connsiteX0" fmla="*/ 0 w 2760663"/>
                <a:gd name="connsiteY0" fmla="*/ 876300 h 3330769"/>
                <a:gd name="connsiteX1" fmla="*/ 1422401 w 2760663"/>
                <a:gd name="connsiteY1" fmla="*/ 0 h 3330769"/>
                <a:gd name="connsiteX2" fmla="*/ 2760663 w 2760663"/>
                <a:gd name="connsiteY2" fmla="*/ 879669 h 3330769"/>
                <a:gd name="connsiteX3" fmla="*/ 2735263 w 2760663"/>
                <a:gd name="connsiteY3" fmla="*/ 2111569 h 3330769"/>
                <a:gd name="connsiteX4" fmla="*/ 2705101 w 2760663"/>
                <a:gd name="connsiteY4" fmla="*/ 2548132 h 3330769"/>
                <a:gd name="connsiteX5" fmla="*/ 1401763 w 2760663"/>
                <a:gd name="connsiteY5" fmla="*/ 3330769 h 3330769"/>
                <a:gd name="connsiteX6" fmla="*/ 63500 w 2760663"/>
                <a:gd name="connsiteY6" fmla="*/ 2548132 h 3330769"/>
                <a:gd name="connsiteX7" fmla="*/ 0 w 2760663"/>
                <a:gd name="connsiteY7" fmla="*/ 876300 h 3330769"/>
                <a:gd name="connsiteX0" fmla="*/ 0 w 2760663"/>
                <a:gd name="connsiteY0" fmla="*/ 876300 h 3330769"/>
                <a:gd name="connsiteX1" fmla="*/ 1422401 w 2760663"/>
                <a:gd name="connsiteY1" fmla="*/ 0 h 3330769"/>
                <a:gd name="connsiteX2" fmla="*/ 2760663 w 2760663"/>
                <a:gd name="connsiteY2" fmla="*/ 879669 h 3330769"/>
                <a:gd name="connsiteX3" fmla="*/ 2735263 w 2760663"/>
                <a:gd name="connsiteY3" fmla="*/ 2111569 h 3330769"/>
                <a:gd name="connsiteX4" fmla="*/ 2705101 w 2760663"/>
                <a:gd name="connsiteY4" fmla="*/ 2548132 h 3330769"/>
                <a:gd name="connsiteX5" fmla="*/ 1401763 w 2760663"/>
                <a:gd name="connsiteY5" fmla="*/ 3330769 h 3330769"/>
                <a:gd name="connsiteX6" fmla="*/ 63500 w 2760663"/>
                <a:gd name="connsiteY6" fmla="*/ 2484632 h 3330769"/>
                <a:gd name="connsiteX7" fmla="*/ 0 w 2760663"/>
                <a:gd name="connsiteY7" fmla="*/ 876300 h 3330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0663" h="3330769">
                  <a:moveTo>
                    <a:pt x="0" y="876300"/>
                  </a:moveTo>
                  <a:lnTo>
                    <a:pt x="1422401" y="0"/>
                  </a:lnTo>
                  <a:lnTo>
                    <a:pt x="2760663" y="879669"/>
                  </a:lnTo>
                  <a:lnTo>
                    <a:pt x="2735263" y="2111569"/>
                  </a:lnTo>
                  <a:lnTo>
                    <a:pt x="2705101" y="2548132"/>
                  </a:lnTo>
                  <a:lnTo>
                    <a:pt x="1401763" y="3330769"/>
                  </a:lnTo>
                  <a:lnTo>
                    <a:pt x="63500" y="2484632"/>
                  </a:lnTo>
                  <a:lnTo>
                    <a:pt x="0" y="876300"/>
                  </a:lnTo>
                  <a:close/>
                </a:path>
              </a:pathLst>
            </a:cu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5164" name="Freeform 12"/>
            <p:cNvSpPr>
              <a:spLocks noChangeAspect="1" noEditPoints="1"/>
            </p:cNvSpPr>
            <p:nvPr/>
          </p:nvSpPr>
          <p:spPr bwMode="auto">
            <a:xfrm>
              <a:off x="7785122" y="2705100"/>
              <a:ext cx="4467398" cy="3988874"/>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chemeClr val="accent1"/>
            </a:solidFill>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grpSp>
      <p:sp>
        <p:nvSpPr>
          <p:cNvPr id="2466" name="TextBox 2465"/>
          <p:cNvSpPr txBox="1"/>
          <p:nvPr/>
        </p:nvSpPr>
        <p:spPr>
          <a:xfrm>
            <a:off x="8475838" y="1749173"/>
            <a:ext cx="2690130" cy="778252"/>
          </a:xfrm>
          <a:prstGeom prst="rect">
            <a:avLst/>
          </a:prstGeom>
          <a:noFill/>
        </p:spPr>
        <p:txBody>
          <a:bodyPr wrap="square" lIns="179238" tIns="143391" rIns="179238" bIns="143391" rtlCol="0">
            <a:spAutoFit/>
          </a:bodyPr>
          <a:lstStyle/>
          <a:p>
            <a:pPr algn="ctr" defTabSz="913946">
              <a:lnSpc>
                <a:spcPct val="90000"/>
              </a:lnSpc>
            </a:pPr>
            <a:r>
              <a:rPr lang="en-US" sz="3528" spc="-49" dirty="0">
                <a:gradFill>
                  <a:gsLst>
                    <a:gs pos="2917">
                      <a:srgbClr val="00188F"/>
                    </a:gs>
                    <a:gs pos="30000">
                      <a:srgbClr val="00188F"/>
                    </a:gs>
                  </a:gsLst>
                  <a:lin ang="5400000" scaled="0"/>
                </a:gradFill>
                <a:latin typeface="Segoe UI Light"/>
              </a:rPr>
              <a:t>Apps</a:t>
            </a:r>
          </a:p>
        </p:txBody>
      </p:sp>
      <p:sp>
        <p:nvSpPr>
          <p:cNvPr id="5081" name="Virtual Network label in cloud"/>
          <p:cNvSpPr/>
          <p:nvPr/>
        </p:nvSpPr>
        <p:spPr>
          <a:xfrm>
            <a:off x="9638819" y="4561102"/>
            <a:ext cx="586328" cy="307681"/>
          </a:xfrm>
          <a:prstGeom prst="rect">
            <a:avLst/>
          </a:prstGeom>
        </p:spPr>
        <p:txBody>
          <a:bodyPr wrap="none">
            <a:spAutoFit/>
          </a:bodyPr>
          <a:lstStyle/>
          <a:p>
            <a:pPr algn="ctr" defTabSz="895512" fontAlgn="base">
              <a:lnSpc>
                <a:spcPct val="80000"/>
              </a:lnSpc>
              <a:spcBef>
                <a:spcPct val="0"/>
              </a:spcBef>
              <a:spcAft>
                <a:spcPct val="0"/>
              </a:spcAft>
            </a:pPr>
            <a:r>
              <a:rPr lang="en-US" sz="882" dirty="0">
                <a:gradFill>
                  <a:gsLst>
                    <a:gs pos="0">
                      <a:srgbClr val="FFFFFF"/>
                    </a:gs>
                    <a:gs pos="100000">
                      <a:srgbClr val="FFFFFF"/>
                    </a:gs>
                  </a:gsLst>
                  <a:lin ang="5400000" scaled="0"/>
                </a:gradFill>
              </a:rPr>
              <a:t>virtual </a:t>
            </a:r>
            <a:br>
              <a:rPr lang="en-US" sz="882" dirty="0">
                <a:gradFill>
                  <a:gsLst>
                    <a:gs pos="0">
                      <a:srgbClr val="FFFFFF"/>
                    </a:gs>
                    <a:gs pos="100000">
                      <a:srgbClr val="FFFFFF"/>
                    </a:gs>
                  </a:gsLst>
                  <a:lin ang="5400000" scaled="0"/>
                </a:gradFill>
              </a:rPr>
            </a:br>
            <a:r>
              <a:rPr lang="en-US" sz="882" dirty="0">
                <a:gradFill>
                  <a:gsLst>
                    <a:gs pos="0">
                      <a:srgbClr val="FFFFFF"/>
                    </a:gs>
                    <a:gs pos="100000">
                      <a:srgbClr val="FFFFFF"/>
                    </a:gs>
                  </a:gsLst>
                  <a:lin ang="5400000" scaled="0"/>
                </a:gradFill>
              </a:rPr>
              <a:t>network</a:t>
            </a:r>
          </a:p>
        </p:txBody>
      </p:sp>
      <p:sp>
        <p:nvSpPr>
          <p:cNvPr id="12" name="TextBox 11"/>
          <p:cNvSpPr txBox="1"/>
          <p:nvPr/>
        </p:nvSpPr>
        <p:spPr>
          <a:xfrm>
            <a:off x="9775524" y="4439367"/>
            <a:ext cx="849249" cy="375741"/>
          </a:xfrm>
          <a:prstGeom prst="rect">
            <a:avLst/>
          </a:prstGeom>
          <a:noFill/>
        </p:spPr>
        <p:txBody>
          <a:bodyPr wrap="square" lIns="179238" tIns="143391" rIns="179238" bIns="143391" rtlCol="0">
            <a:spAutoFit/>
          </a:bodyPr>
          <a:lstStyle/>
          <a:p>
            <a:pPr defTabSz="913946">
              <a:lnSpc>
                <a:spcPct val="70000"/>
              </a:lnSpc>
            </a:pPr>
            <a:r>
              <a:rPr lang="en-US" sz="784" spc="-49" dirty="0">
                <a:gradFill>
                  <a:gsLst>
                    <a:gs pos="2917">
                      <a:srgbClr val="000000"/>
                    </a:gs>
                    <a:gs pos="30000">
                      <a:srgbClr val="000000"/>
                    </a:gs>
                  </a:gsLst>
                  <a:lin ang="5400000" scaled="0"/>
                </a:gradFill>
              </a:rPr>
              <a:t>table</a:t>
            </a:r>
          </a:p>
        </p:txBody>
      </p:sp>
      <p:sp>
        <p:nvSpPr>
          <p:cNvPr id="5162" name="TextBox 5161"/>
          <p:cNvSpPr txBox="1"/>
          <p:nvPr/>
        </p:nvSpPr>
        <p:spPr>
          <a:xfrm>
            <a:off x="9208851" y="4391185"/>
            <a:ext cx="849249" cy="460202"/>
          </a:xfrm>
          <a:prstGeom prst="rect">
            <a:avLst/>
          </a:prstGeom>
          <a:noFill/>
        </p:spPr>
        <p:txBody>
          <a:bodyPr wrap="square" lIns="179238" tIns="143391" rIns="179238" bIns="143391" rtlCol="0">
            <a:spAutoFit/>
          </a:bodyPr>
          <a:lstStyle/>
          <a:p>
            <a:pPr defTabSz="913946">
              <a:lnSpc>
                <a:spcPct val="70000"/>
              </a:lnSpc>
            </a:pPr>
            <a:r>
              <a:rPr lang="en-US" sz="784" spc="-49" dirty="0">
                <a:gradFill>
                  <a:gsLst>
                    <a:gs pos="2917">
                      <a:srgbClr val="000000"/>
                    </a:gs>
                    <a:gs pos="30000">
                      <a:srgbClr val="000000"/>
                    </a:gs>
                  </a:gsLst>
                  <a:lin ang="5400000" scaled="0"/>
                </a:gradFill>
              </a:rPr>
              <a:t>cloud </a:t>
            </a:r>
            <a:br>
              <a:rPr lang="en-US" sz="784" spc="-49" dirty="0">
                <a:gradFill>
                  <a:gsLst>
                    <a:gs pos="2917">
                      <a:srgbClr val="000000"/>
                    </a:gs>
                    <a:gs pos="30000">
                      <a:srgbClr val="000000"/>
                    </a:gs>
                  </a:gsLst>
                  <a:lin ang="5400000" scaled="0"/>
                </a:gradFill>
              </a:rPr>
            </a:br>
            <a:r>
              <a:rPr lang="en-US" sz="784" spc="-49" dirty="0">
                <a:gradFill>
                  <a:gsLst>
                    <a:gs pos="2917">
                      <a:srgbClr val="000000"/>
                    </a:gs>
                    <a:gs pos="30000">
                      <a:srgbClr val="000000"/>
                    </a:gs>
                  </a:gsLst>
                  <a:lin ang="5400000" scaled="0"/>
                </a:gradFill>
              </a:rPr>
              <a:t>services</a:t>
            </a:r>
          </a:p>
        </p:txBody>
      </p:sp>
      <p:sp>
        <p:nvSpPr>
          <p:cNvPr id="5163" name="TextBox 5162"/>
          <p:cNvSpPr txBox="1"/>
          <p:nvPr/>
        </p:nvSpPr>
        <p:spPr>
          <a:xfrm>
            <a:off x="9196778" y="3866577"/>
            <a:ext cx="849249" cy="375741"/>
          </a:xfrm>
          <a:prstGeom prst="rect">
            <a:avLst/>
          </a:prstGeom>
          <a:noFill/>
        </p:spPr>
        <p:txBody>
          <a:bodyPr wrap="square" lIns="179238" tIns="143391" rIns="179238" bIns="143391" rtlCol="0">
            <a:spAutoFit/>
          </a:bodyPr>
          <a:lstStyle/>
          <a:p>
            <a:pPr defTabSz="913946">
              <a:lnSpc>
                <a:spcPct val="70000"/>
              </a:lnSpc>
            </a:pPr>
            <a:r>
              <a:rPr lang="en-US" sz="784" spc="-49" dirty="0">
                <a:gradFill>
                  <a:gsLst>
                    <a:gs pos="2917">
                      <a:srgbClr val="000000"/>
                    </a:gs>
                    <a:gs pos="30000">
                      <a:srgbClr val="000000"/>
                    </a:gs>
                  </a:gsLst>
                  <a:lin ang="5400000" scaled="0"/>
                </a:gradFill>
              </a:rPr>
              <a:t>caching</a:t>
            </a:r>
          </a:p>
        </p:txBody>
      </p:sp>
      <p:sp>
        <p:nvSpPr>
          <p:cNvPr id="5165" name="TextBox 5164"/>
          <p:cNvSpPr txBox="1"/>
          <p:nvPr/>
        </p:nvSpPr>
        <p:spPr>
          <a:xfrm>
            <a:off x="9764140" y="3866577"/>
            <a:ext cx="849249" cy="375741"/>
          </a:xfrm>
          <a:prstGeom prst="rect">
            <a:avLst/>
          </a:prstGeom>
          <a:noFill/>
        </p:spPr>
        <p:txBody>
          <a:bodyPr wrap="square" lIns="179238" tIns="143391" rIns="179238" bIns="143391" rtlCol="0">
            <a:spAutoFit/>
          </a:bodyPr>
          <a:lstStyle/>
          <a:p>
            <a:pPr defTabSz="913946">
              <a:lnSpc>
                <a:spcPct val="70000"/>
              </a:lnSpc>
            </a:pPr>
            <a:r>
              <a:rPr lang="en-US" sz="784" spc="-49" dirty="0">
                <a:gradFill>
                  <a:gsLst>
                    <a:gs pos="2917">
                      <a:srgbClr val="000000"/>
                    </a:gs>
                    <a:gs pos="30000">
                      <a:srgbClr val="000000"/>
                    </a:gs>
                  </a:gsLst>
                  <a:lin ang="5400000" scaled="0"/>
                </a:gradFill>
              </a:rPr>
              <a:t>identity</a:t>
            </a:r>
          </a:p>
        </p:txBody>
      </p:sp>
      <p:sp>
        <p:nvSpPr>
          <p:cNvPr id="5188" name="Rectangle 5187"/>
          <p:cNvSpPr/>
          <p:nvPr/>
        </p:nvSpPr>
        <p:spPr bwMode="auto">
          <a:xfrm>
            <a:off x="1590" y="3475155"/>
            <a:ext cx="7386479" cy="1165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857" tIns="403286" rIns="179213" bIns="0" numCol="1" spcCol="0" rtlCol="0" fromWordArt="0" anchor="ctr" anchorCtr="0" forceAA="0" compatLnSpc="1">
            <a:prstTxWarp prst="textNoShape">
              <a:avLst/>
            </a:prstTxWarp>
            <a:noAutofit/>
          </a:bodyPr>
          <a:lstStyle/>
          <a:p>
            <a:pPr defTabSz="761514">
              <a:defRPr/>
            </a:pPr>
            <a:r>
              <a:rPr lang="en-US" sz="4704" kern="0" baseline="30000" dirty="0">
                <a:gradFill>
                  <a:gsLst>
                    <a:gs pos="0">
                      <a:srgbClr val="00188F">
                        <a:lumMod val="5000"/>
                        <a:lumOff val="95000"/>
                      </a:srgbClr>
                    </a:gs>
                    <a:gs pos="100000">
                      <a:srgbClr val="EFEFEF"/>
                    </a:gs>
                  </a:gsLst>
                  <a:lin ang="5400000" scaled="1"/>
                </a:gradFill>
                <a:latin typeface="Segoe UI Light"/>
              </a:rPr>
              <a:t>data </a:t>
            </a:r>
            <a:br>
              <a:rPr lang="en-US" sz="4704" kern="0" baseline="30000" dirty="0">
                <a:gradFill>
                  <a:gsLst>
                    <a:gs pos="0">
                      <a:srgbClr val="00188F">
                        <a:lumMod val="5000"/>
                        <a:lumOff val="95000"/>
                      </a:srgbClr>
                    </a:gs>
                    <a:gs pos="100000">
                      <a:srgbClr val="EFEFEF"/>
                    </a:gs>
                  </a:gsLst>
                  <a:lin ang="5400000" scaled="1"/>
                </a:gradFill>
                <a:latin typeface="Segoe UI Light"/>
              </a:rPr>
            </a:br>
            <a:r>
              <a:rPr lang="en-US" sz="4704"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5189" name="Rectangle 5188"/>
          <p:cNvSpPr/>
          <p:nvPr/>
        </p:nvSpPr>
        <p:spPr bwMode="auto">
          <a:xfrm>
            <a:off x="4405727" y="3617605"/>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table</a:t>
            </a:r>
          </a:p>
        </p:txBody>
      </p:sp>
      <p:sp>
        <p:nvSpPr>
          <p:cNvPr id="5190" name="Rectangle 5189"/>
          <p:cNvSpPr/>
          <p:nvPr/>
        </p:nvSpPr>
        <p:spPr bwMode="auto">
          <a:xfrm>
            <a:off x="3508690" y="3617605"/>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err="1">
                <a:gradFill>
                  <a:gsLst>
                    <a:gs pos="0">
                      <a:srgbClr val="FFFFFF"/>
                    </a:gs>
                    <a:gs pos="100000">
                      <a:srgbClr val="FFFFFF"/>
                    </a:gs>
                  </a:gsLst>
                  <a:lin ang="5400000" scaled="0"/>
                </a:gradFill>
              </a:rPr>
              <a:t>HDInsight</a:t>
            </a:r>
            <a:endParaRPr lang="en-US" sz="1046" dirty="0">
              <a:gradFill>
                <a:gsLst>
                  <a:gs pos="0">
                    <a:srgbClr val="FFFFFF"/>
                  </a:gs>
                  <a:gs pos="100000">
                    <a:srgbClr val="FFFFFF"/>
                  </a:gs>
                </a:gsLst>
                <a:lin ang="5400000" scaled="0"/>
              </a:gradFill>
            </a:endParaRPr>
          </a:p>
        </p:txBody>
      </p:sp>
      <p:sp>
        <p:nvSpPr>
          <p:cNvPr id="5191" name="Rectangle 5190"/>
          <p:cNvSpPr/>
          <p:nvPr/>
        </p:nvSpPr>
        <p:spPr bwMode="auto">
          <a:xfrm>
            <a:off x="5402795" y="3640716"/>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blob storage</a:t>
            </a:r>
          </a:p>
        </p:txBody>
      </p:sp>
      <p:sp>
        <p:nvSpPr>
          <p:cNvPr id="5192" name="Rectangle 5191"/>
          <p:cNvSpPr/>
          <p:nvPr/>
        </p:nvSpPr>
        <p:spPr bwMode="auto">
          <a:xfrm>
            <a:off x="2573957" y="3617605"/>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SQL database</a:t>
            </a:r>
          </a:p>
        </p:txBody>
      </p:sp>
      <p:sp>
        <p:nvSpPr>
          <p:cNvPr id="5193" name="Rectangle 5192"/>
          <p:cNvSpPr/>
          <p:nvPr/>
        </p:nvSpPr>
        <p:spPr bwMode="auto">
          <a:xfrm>
            <a:off x="-24799" y="1472422"/>
            <a:ext cx="7412868" cy="19449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68857" tIns="1254668" rIns="121849" bIns="60923" numCol="1" rtlCol="0" anchor="ctr" anchorCtr="0" compatLnSpc="1">
            <a:prstTxWarp prst="textNoShape">
              <a:avLst/>
            </a:prstTxWarp>
          </a:bodyPr>
          <a:lstStyle/>
          <a:p>
            <a:pPr defTabSz="761514">
              <a:defRPr/>
            </a:pPr>
            <a:r>
              <a:rPr lang="en-US" sz="4704" kern="0" baseline="30000" dirty="0">
                <a:gradFill>
                  <a:gsLst>
                    <a:gs pos="0">
                      <a:srgbClr val="00188F">
                        <a:lumMod val="5000"/>
                        <a:lumOff val="95000"/>
                      </a:srgbClr>
                    </a:gs>
                    <a:gs pos="100000">
                      <a:srgbClr val="EFEFEF"/>
                    </a:gs>
                  </a:gsLst>
                  <a:lin ang="5400000" scaled="1"/>
                </a:gradFill>
                <a:latin typeface="Segoe UI Light"/>
              </a:rPr>
              <a:t>app </a:t>
            </a:r>
            <a:br>
              <a:rPr lang="en-US" sz="4704" kern="0" baseline="30000" dirty="0">
                <a:gradFill>
                  <a:gsLst>
                    <a:gs pos="0">
                      <a:srgbClr val="00188F">
                        <a:lumMod val="5000"/>
                        <a:lumOff val="95000"/>
                      </a:srgbClr>
                    </a:gs>
                    <a:gs pos="100000">
                      <a:srgbClr val="EFEFEF"/>
                    </a:gs>
                  </a:gsLst>
                  <a:lin ang="5400000" scaled="1"/>
                </a:gradFill>
                <a:latin typeface="Segoe UI Light"/>
              </a:rPr>
            </a:br>
            <a:r>
              <a:rPr lang="en-US" sz="4704"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5194" name="Rectangle 5193"/>
          <p:cNvSpPr/>
          <p:nvPr/>
        </p:nvSpPr>
        <p:spPr bwMode="auto">
          <a:xfrm>
            <a:off x="6399861" y="1571058"/>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media</a:t>
            </a:r>
          </a:p>
        </p:txBody>
      </p:sp>
      <p:sp>
        <p:nvSpPr>
          <p:cNvPr id="5195" name="Rectangle 5194"/>
          <p:cNvSpPr/>
          <p:nvPr/>
        </p:nvSpPr>
        <p:spPr bwMode="auto">
          <a:xfrm>
            <a:off x="5402795" y="2474186"/>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err="1">
                <a:gradFill>
                  <a:gsLst>
                    <a:gs pos="0">
                      <a:srgbClr val="FFFFFF"/>
                    </a:gs>
                    <a:gs pos="100000">
                      <a:srgbClr val="FFFFFF"/>
                    </a:gs>
                  </a:gsLst>
                  <a:lin ang="5400000" scaled="0"/>
                </a:gradFill>
              </a:rPr>
              <a:t>hpc</a:t>
            </a:r>
            <a:endParaRPr lang="en-US" sz="1046" dirty="0">
              <a:gradFill>
                <a:gsLst>
                  <a:gs pos="0">
                    <a:srgbClr val="FFFFFF"/>
                  </a:gs>
                  <a:gs pos="100000">
                    <a:srgbClr val="FFFFFF"/>
                  </a:gs>
                </a:gsLst>
                <a:lin ang="5400000" scaled="0"/>
              </a:gradFill>
            </a:endParaRPr>
          </a:p>
        </p:txBody>
      </p:sp>
      <p:sp>
        <p:nvSpPr>
          <p:cNvPr id="5196" name="Rectangle 5195"/>
          <p:cNvSpPr/>
          <p:nvPr/>
        </p:nvSpPr>
        <p:spPr bwMode="auto">
          <a:xfrm>
            <a:off x="4405727" y="2474886"/>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integration</a:t>
            </a:r>
          </a:p>
        </p:txBody>
      </p:sp>
      <p:sp>
        <p:nvSpPr>
          <p:cNvPr id="5206" name="Rectangle 5205"/>
          <p:cNvSpPr/>
          <p:nvPr/>
        </p:nvSpPr>
        <p:spPr bwMode="auto">
          <a:xfrm>
            <a:off x="6399065" y="2474187"/>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analytics</a:t>
            </a:r>
          </a:p>
        </p:txBody>
      </p:sp>
      <p:sp>
        <p:nvSpPr>
          <p:cNvPr id="5207" name="Rectangle 5206"/>
          <p:cNvSpPr/>
          <p:nvPr/>
        </p:nvSpPr>
        <p:spPr bwMode="auto">
          <a:xfrm>
            <a:off x="3448937" y="1571058"/>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spcBef>
                <a:spcPct val="0"/>
              </a:spcBef>
              <a:spcAft>
                <a:spcPct val="0"/>
              </a:spcAft>
            </a:pPr>
            <a:r>
              <a:rPr lang="en-US" sz="1046" dirty="0">
                <a:gradFill>
                  <a:gsLst>
                    <a:gs pos="0">
                      <a:srgbClr val="FFFFFF"/>
                    </a:gs>
                    <a:gs pos="100000">
                      <a:srgbClr val="FFFFFF"/>
                    </a:gs>
                  </a:gsLst>
                  <a:lin ang="5400000" scaled="0"/>
                </a:gradFill>
              </a:rPr>
              <a:t>caching</a:t>
            </a:r>
          </a:p>
        </p:txBody>
      </p:sp>
      <p:sp>
        <p:nvSpPr>
          <p:cNvPr id="5208" name="Rectangle 5207"/>
          <p:cNvSpPr/>
          <p:nvPr/>
        </p:nvSpPr>
        <p:spPr bwMode="auto">
          <a:xfrm>
            <a:off x="4405727" y="1583390"/>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spcBef>
                <a:spcPct val="0"/>
              </a:spcBef>
              <a:spcAft>
                <a:spcPct val="0"/>
              </a:spcAft>
            </a:pPr>
            <a:r>
              <a:rPr lang="en-US" sz="1046" dirty="0">
                <a:gradFill>
                  <a:gsLst>
                    <a:gs pos="0">
                      <a:srgbClr val="FFFFFF"/>
                    </a:gs>
                    <a:gs pos="100000">
                      <a:srgbClr val="FFFFFF"/>
                    </a:gs>
                  </a:gsLst>
                  <a:lin ang="5400000" scaled="0"/>
                </a:gradFill>
              </a:rPr>
              <a:t>identity</a:t>
            </a:r>
          </a:p>
        </p:txBody>
      </p:sp>
      <p:sp>
        <p:nvSpPr>
          <p:cNvPr id="5209" name="Rectangle 5208"/>
          <p:cNvSpPr/>
          <p:nvPr/>
        </p:nvSpPr>
        <p:spPr bwMode="auto">
          <a:xfrm>
            <a:off x="5402794" y="1571058"/>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service bus</a:t>
            </a:r>
          </a:p>
        </p:txBody>
      </p:sp>
      <p:sp>
        <p:nvSpPr>
          <p:cNvPr id="5210" name="Rectangle 5209"/>
          <p:cNvSpPr/>
          <p:nvPr/>
        </p:nvSpPr>
        <p:spPr bwMode="auto">
          <a:xfrm>
            <a:off x="3508690" y="2497044"/>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web sites</a:t>
            </a:r>
          </a:p>
        </p:txBody>
      </p:sp>
      <p:sp>
        <p:nvSpPr>
          <p:cNvPr id="5211" name="Mobile Services - Label"/>
          <p:cNvSpPr/>
          <p:nvPr/>
        </p:nvSpPr>
        <p:spPr bwMode="auto">
          <a:xfrm>
            <a:off x="2573957" y="2507922"/>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mobile services</a:t>
            </a:r>
          </a:p>
        </p:txBody>
      </p:sp>
      <p:sp>
        <p:nvSpPr>
          <p:cNvPr id="5212" name="Rectangle 5211"/>
          <p:cNvSpPr/>
          <p:nvPr/>
        </p:nvSpPr>
        <p:spPr bwMode="auto">
          <a:xfrm>
            <a:off x="2574410" y="1569446"/>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cloud services</a:t>
            </a:r>
          </a:p>
        </p:txBody>
      </p:sp>
      <p:pic>
        <p:nvPicPr>
          <p:cNvPr id="5213" name="Picture 52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55237" y="1672086"/>
            <a:ext cx="423250" cy="419491"/>
          </a:xfrm>
          <a:prstGeom prst="rect">
            <a:avLst/>
          </a:prstGeom>
        </p:spPr>
      </p:pic>
      <p:pic>
        <p:nvPicPr>
          <p:cNvPr id="5215" name="Picture 7" descr="C:\Users\Jonahs\Dropbox\Projects SCOTT\MEET Windows Azure\source\Background\tile-icon-identit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69635" y="1710604"/>
            <a:ext cx="368175" cy="368174"/>
          </a:xfrm>
          <a:prstGeom prst="rect">
            <a:avLst/>
          </a:prstGeom>
          <a:noFill/>
          <a:extLst>
            <a:ext uri="{909E8E84-426E-40DD-AFC4-6F175D3DCCD1}">
              <a14:hiddenFill xmlns:a14="http://schemas.microsoft.com/office/drawing/2010/main">
                <a:solidFill>
                  <a:srgbClr val="FFFFFF"/>
                </a:solidFill>
              </a14:hiddenFill>
            </a:ext>
          </a:extLst>
        </p:spPr>
      </p:pic>
      <p:sp>
        <p:nvSpPr>
          <p:cNvPr id="5217" name="Freeform 25"/>
          <p:cNvSpPr>
            <a:spLocks noEditPoints="1"/>
          </p:cNvSpPr>
          <p:nvPr/>
        </p:nvSpPr>
        <p:spPr bwMode="black">
          <a:xfrm>
            <a:off x="4698189" y="2625962"/>
            <a:ext cx="341403" cy="341797"/>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6" tIns="40334" rIns="80666" bIns="40334" numCol="1" anchor="t" anchorCtr="0" compatLnSpc="1">
            <a:prstTxWarp prst="textNoShape">
              <a:avLst/>
            </a:prstTxWarp>
          </a:bodyPr>
          <a:lstStyle/>
          <a:p>
            <a:pPr defTabSz="913946"/>
            <a:endParaRPr lang="en-US" sz="1568">
              <a:solidFill>
                <a:srgbClr val="505050"/>
              </a:solidFill>
            </a:endParaRPr>
          </a:p>
        </p:txBody>
      </p:sp>
      <p:pic>
        <p:nvPicPr>
          <p:cNvPr id="5219" name="Picture 5218"/>
          <p:cNvPicPr>
            <a:picLocks noChangeAspect="1"/>
          </p:cNvPicPr>
          <p:nvPr/>
        </p:nvPicPr>
        <p:blipFill>
          <a:blip r:embed="rId6"/>
          <a:stretch>
            <a:fillRect/>
          </a:stretch>
        </p:blipFill>
        <p:spPr>
          <a:xfrm>
            <a:off x="5673611" y="1680657"/>
            <a:ext cx="376887" cy="426540"/>
          </a:xfrm>
          <a:prstGeom prst="rect">
            <a:avLst/>
          </a:prstGeom>
        </p:spPr>
      </p:pic>
      <p:sp>
        <p:nvSpPr>
          <p:cNvPr id="5221" name="Freeform 25"/>
          <p:cNvSpPr>
            <a:spLocks noEditPoints="1"/>
          </p:cNvSpPr>
          <p:nvPr/>
        </p:nvSpPr>
        <p:spPr bwMode="black">
          <a:xfrm flipH="1">
            <a:off x="6649617" y="1665105"/>
            <a:ext cx="423682" cy="423852"/>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1" tIns="44802" rIns="89601" bIns="44802" numCol="1" anchor="t" anchorCtr="0" compatLnSpc="1">
            <a:prstTxWarp prst="textNoShape">
              <a:avLst/>
            </a:prstTxWarp>
          </a:bodyPr>
          <a:lstStyle/>
          <a:p>
            <a:pPr defTabSz="895993"/>
            <a:endParaRPr lang="en-US" sz="1764" dirty="0">
              <a:solidFill>
                <a:srgbClr val="000000"/>
              </a:solidFill>
            </a:endParaRPr>
          </a:p>
        </p:txBody>
      </p:sp>
      <p:pic>
        <p:nvPicPr>
          <p:cNvPr id="5223" name="Picture 2" descr="\\MAGNUM\Projects\Microsoft\Cloud Power FY12\Design\Icons\PNGs\Cloud_on_your_terms.png"/>
          <p:cNvPicPr>
            <a:picLocks noChangeAspect="1" noChangeArrowheads="1"/>
          </p:cNvPicPr>
          <p:nvPr/>
        </p:nvPicPr>
        <p:blipFill>
          <a:blip r:embed="rId7" cstate="print">
            <a:lum bright="100000"/>
          </a:blip>
          <a:stretch>
            <a:fillRect/>
          </a:stretch>
        </p:blipFill>
        <p:spPr bwMode="auto">
          <a:xfrm>
            <a:off x="5571498" y="2474844"/>
            <a:ext cx="608152" cy="608237"/>
          </a:xfrm>
          <a:prstGeom prst="rect">
            <a:avLst/>
          </a:prstGeom>
          <a:noFill/>
          <a:ln>
            <a:noFill/>
          </a:ln>
        </p:spPr>
      </p:pic>
      <p:sp>
        <p:nvSpPr>
          <p:cNvPr id="5225" name="Freeform 5224"/>
          <p:cNvSpPr>
            <a:spLocks noEditPoints="1"/>
          </p:cNvSpPr>
          <p:nvPr/>
        </p:nvSpPr>
        <p:spPr bwMode="auto">
          <a:xfrm>
            <a:off x="6681121" y="2673038"/>
            <a:ext cx="333468" cy="294053"/>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121854" tIns="60926" rIns="121854" bIns="60926" numCol="1" anchor="t" anchorCtr="0" compatLnSpc="1">
            <a:prstTxWarp prst="textNoShape">
              <a:avLst/>
            </a:prstTxWarp>
          </a:bodyPr>
          <a:lstStyle/>
          <a:p>
            <a:pPr defTabSz="1190369"/>
            <a:endParaRPr lang="en-US" sz="2352" dirty="0">
              <a:solidFill>
                <a:srgbClr val="292929"/>
              </a:solidFill>
            </a:endParaRPr>
          </a:p>
        </p:txBody>
      </p:sp>
      <p:sp>
        <p:nvSpPr>
          <p:cNvPr id="5227" name="Rectangle 5226"/>
          <p:cNvSpPr/>
          <p:nvPr/>
        </p:nvSpPr>
        <p:spPr bwMode="auto">
          <a:xfrm>
            <a:off x="-8104" y="4698029"/>
            <a:ext cx="7396171" cy="1165049"/>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68857" tIns="403286" rIns="121849" bIns="0" numCol="1" rtlCol="0" anchor="ctr" anchorCtr="0" compatLnSpc="1">
            <a:prstTxWarp prst="textNoShape">
              <a:avLst/>
            </a:prstTxWarp>
          </a:bodyPr>
          <a:lstStyle/>
          <a:p>
            <a:pPr defTabSz="761514">
              <a:defRPr/>
            </a:pPr>
            <a:r>
              <a:rPr lang="en-US" sz="4704" kern="0" baseline="30000" dirty="0">
                <a:gradFill>
                  <a:gsLst>
                    <a:gs pos="0">
                      <a:srgbClr val="00188F">
                        <a:lumMod val="5000"/>
                        <a:lumOff val="95000"/>
                      </a:srgbClr>
                    </a:gs>
                    <a:gs pos="100000">
                      <a:srgbClr val="EFEFEF"/>
                    </a:gs>
                  </a:gsLst>
                  <a:lin ang="5400000" scaled="1"/>
                </a:gradFill>
                <a:latin typeface="Segoe UI Light"/>
              </a:rPr>
              <a:t>infrastructure </a:t>
            </a:r>
            <a:br>
              <a:rPr lang="en-US" sz="4704" kern="0" baseline="30000" dirty="0">
                <a:gradFill>
                  <a:gsLst>
                    <a:gs pos="0">
                      <a:srgbClr val="00188F">
                        <a:lumMod val="5000"/>
                        <a:lumOff val="95000"/>
                      </a:srgbClr>
                    </a:gs>
                    <a:gs pos="100000">
                      <a:srgbClr val="EFEFEF"/>
                    </a:gs>
                  </a:gsLst>
                  <a:lin ang="5400000" scaled="1"/>
                </a:gradFill>
                <a:latin typeface="Segoe UI Light"/>
              </a:rPr>
            </a:br>
            <a:r>
              <a:rPr lang="en-US" sz="4704"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5228" name="Rectangle 5227"/>
          <p:cNvSpPr/>
          <p:nvPr/>
        </p:nvSpPr>
        <p:spPr bwMode="auto">
          <a:xfrm>
            <a:off x="6399065" y="4862893"/>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err="1">
                <a:gradFill>
                  <a:gsLst>
                    <a:gs pos="0">
                      <a:srgbClr val="FFFFFF"/>
                    </a:gs>
                    <a:gs pos="100000">
                      <a:srgbClr val="FFFFFF"/>
                    </a:gs>
                  </a:gsLst>
                  <a:lin ang="5400000" scaled="0"/>
                </a:gradFill>
              </a:rPr>
              <a:t>cdn</a:t>
            </a:r>
            <a:endParaRPr lang="en-US" sz="1046" dirty="0">
              <a:gradFill>
                <a:gsLst>
                  <a:gs pos="0">
                    <a:srgbClr val="FFFFFF"/>
                  </a:gs>
                  <a:gs pos="100000">
                    <a:srgbClr val="FFFFFF"/>
                  </a:gs>
                </a:gsLst>
                <a:lin ang="5400000" scaled="0"/>
              </a:gradFill>
            </a:endParaRPr>
          </a:p>
        </p:txBody>
      </p:sp>
      <p:sp>
        <p:nvSpPr>
          <p:cNvPr id="5229" name="Virtual Machines - Label"/>
          <p:cNvSpPr/>
          <p:nvPr/>
        </p:nvSpPr>
        <p:spPr bwMode="auto">
          <a:xfrm>
            <a:off x="2573957" y="4862891"/>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virtual machines</a:t>
            </a:r>
          </a:p>
        </p:txBody>
      </p:sp>
      <p:sp>
        <p:nvSpPr>
          <p:cNvPr id="5230" name="Rectangle 5229"/>
          <p:cNvSpPr/>
          <p:nvPr/>
        </p:nvSpPr>
        <p:spPr bwMode="auto">
          <a:xfrm>
            <a:off x="3508690" y="4862891"/>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virtual network</a:t>
            </a:r>
          </a:p>
        </p:txBody>
      </p:sp>
      <p:sp>
        <p:nvSpPr>
          <p:cNvPr id="5231" name="Rectangle 5230"/>
          <p:cNvSpPr/>
          <p:nvPr/>
        </p:nvSpPr>
        <p:spPr bwMode="auto">
          <a:xfrm>
            <a:off x="4405727" y="4862891"/>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err="1">
                <a:gradFill>
                  <a:gsLst>
                    <a:gs pos="0">
                      <a:srgbClr val="FFFFFF"/>
                    </a:gs>
                    <a:gs pos="100000">
                      <a:srgbClr val="FFFFFF"/>
                    </a:gs>
                  </a:gsLst>
                  <a:lin ang="5400000" scaled="0"/>
                </a:gradFill>
              </a:rPr>
              <a:t>vpn</a:t>
            </a:r>
            <a:endParaRPr lang="en-US" sz="1046" dirty="0">
              <a:gradFill>
                <a:gsLst>
                  <a:gs pos="0">
                    <a:srgbClr val="FFFFFF"/>
                  </a:gs>
                  <a:gs pos="100000">
                    <a:srgbClr val="FFFFFF"/>
                  </a:gs>
                </a:gsLst>
                <a:lin ang="5400000" scaled="0"/>
              </a:gradFill>
            </a:endParaRPr>
          </a:p>
        </p:txBody>
      </p:sp>
      <p:sp>
        <p:nvSpPr>
          <p:cNvPr id="5232" name="Rectangle 5231"/>
          <p:cNvSpPr/>
          <p:nvPr/>
        </p:nvSpPr>
        <p:spPr bwMode="auto">
          <a:xfrm>
            <a:off x="5402795" y="4862891"/>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traffic manager</a:t>
            </a:r>
          </a:p>
        </p:txBody>
      </p:sp>
      <p:pic>
        <p:nvPicPr>
          <p:cNvPr id="5233" name="Picture 52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33804" y="4944232"/>
            <a:ext cx="376293" cy="340430"/>
          </a:xfrm>
          <a:prstGeom prst="rect">
            <a:avLst/>
          </a:prstGeom>
          <a:noFill/>
          <a:ln>
            <a:noFill/>
          </a:ln>
        </p:spPr>
      </p:pic>
      <p:pic>
        <p:nvPicPr>
          <p:cNvPr id="5235" name="Picture 523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708121" y="2589300"/>
            <a:ext cx="376294" cy="376346"/>
          </a:xfrm>
          <a:prstGeom prst="rect">
            <a:avLst/>
          </a:prstGeom>
          <a:noFill/>
        </p:spPr>
      </p:pic>
      <p:pic>
        <p:nvPicPr>
          <p:cNvPr id="5237" name="Picture 5236"/>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901738" y="2602182"/>
            <a:ext cx="240426" cy="348105"/>
          </a:xfrm>
          <a:prstGeom prst="rect">
            <a:avLst/>
          </a:prstGeom>
          <a:noFill/>
        </p:spPr>
      </p:pic>
      <p:pic>
        <p:nvPicPr>
          <p:cNvPr id="5239" name="Picture 5238"/>
          <p:cNvPicPr>
            <a:picLocks noChangeAspect="1"/>
          </p:cNvPicPr>
          <p:nvPr/>
        </p:nvPicPr>
        <p:blipFill>
          <a:blip r:embed="rId11"/>
          <a:stretch>
            <a:fillRect/>
          </a:stretch>
        </p:blipFill>
        <p:spPr>
          <a:xfrm>
            <a:off x="2802980" y="1647279"/>
            <a:ext cx="438849" cy="371387"/>
          </a:xfrm>
          <a:prstGeom prst="rect">
            <a:avLst/>
          </a:prstGeom>
          <a:noFill/>
        </p:spPr>
      </p:pic>
      <p:sp>
        <p:nvSpPr>
          <p:cNvPr id="5241" name="Freeform 78"/>
          <p:cNvSpPr>
            <a:spLocks noEditPoints="1"/>
          </p:cNvSpPr>
          <p:nvPr/>
        </p:nvSpPr>
        <p:spPr bwMode="black">
          <a:xfrm>
            <a:off x="3763588" y="4924086"/>
            <a:ext cx="386193" cy="36964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0637" tIns="40319" rIns="80637" bIns="40319" numCol="1" anchor="t" anchorCtr="0" compatLnSpc="1">
            <a:prstTxWarp prst="textNoShape">
              <a:avLst/>
            </a:prstTxWarp>
          </a:bodyPr>
          <a:lstStyle/>
          <a:p>
            <a:pPr defTabSz="670914"/>
            <a:endParaRPr lang="en-US" sz="914" dirty="0">
              <a:solidFill>
                <a:srgbClr val="FFFFFF"/>
              </a:solidFill>
            </a:endParaRPr>
          </a:p>
        </p:txBody>
      </p:sp>
      <p:sp>
        <p:nvSpPr>
          <p:cNvPr id="5243" name="Freeform 58"/>
          <p:cNvSpPr>
            <a:spLocks noEditPoints="1"/>
          </p:cNvSpPr>
          <p:nvPr/>
        </p:nvSpPr>
        <p:spPr bwMode="black">
          <a:xfrm>
            <a:off x="4665758" y="4965953"/>
            <a:ext cx="375924" cy="402978"/>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37" tIns="40319" rIns="80637" bIns="40319" numCol="1" anchor="t" anchorCtr="0" compatLnSpc="1">
            <a:prstTxWarp prst="textNoShape">
              <a:avLst/>
            </a:prstTxWarp>
          </a:bodyPr>
          <a:lstStyle/>
          <a:p>
            <a:pPr defTabSz="670914"/>
            <a:endParaRPr lang="en-US" sz="914">
              <a:solidFill>
                <a:srgbClr val="FFFFFF"/>
              </a:solidFill>
            </a:endParaRPr>
          </a:p>
        </p:txBody>
      </p:sp>
      <p:pic>
        <p:nvPicPr>
          <p:cNvPr id="5245"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5663736" y="4941101"/>
            <a:ext cx="374106" cy="374160"/>
          </a:xfrm>
          <a:prstGeom prst="rect">
            <a:avLst/>
          </a:prstGeom>
          <a:noFill/>
          <a:extLst>
            <a:ext uri="{909E8E84-426E-40DD-AFC4-6F175D3DCCD1}">
              <a14:hiddenFill xmlns:a14="http://schemas.microsoft.com/office/drawing/2010/main">
                <a:solidFill>
                  <a:srgbClr val="FFFFFF"/>
                </a:solidFill>
              </a14:hiddenFill>
            </a:ext>
          </a:extLst>
        </p:spPr>
      </p:pic>
      <p:pic>
        <p:nvPicPr>
          <p:cNvPr id="5247" name="Picture 5" descr="C:\Users\Jonahs\Dropbox\Projects SCOTT\MEET Windows Azure\source\Background\tile-icon-CD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603370" y="4916212"/>
            <a:ext cx="485789" cy="481471"/>
          </a:xfrm>
          <a:prstGeom prst="rect">
            <a:avLst/>
          </a:prstGeom>
          <a:noFill/>
          <a:extLst>
            <a:ext uri="{909E8E84-426E-40DD-AFC4-6F175D3DCCD1}">
              <a14:hiddenFill xmlns:a14="http://schemas.microsoft.com/office/drawing/2010/main">
                <a:solidFill>
                  <a:srgbClr val="FFFFFF"/>
                </a:solidFill>
              </a14:hiddenFill>
            </a:ext>
          </a:extLst>
        </p:spPr>
      </p:pic>
      <p:sp>
        <p:nvSpPr>
          <p:cNvPr id="5249" name="Freeform 30"/>
          <p:cNvSpPr>
            <a:spLocks noEditPoints="1"/>
          </p:cNvSpPr>
          <p:nvPr/>
        </p:nvSpPr>
        <p:spPr bwMode="auto">
          <a:xfrm flipH="1">
            <a:off x="2887547" y="3744439"/>
            <a:ext cx="268806" cy="297229"/>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pic>
        <p:nvPicPr>
          <p:cNvPr id="5251" name="Picture 3" descr="C:\Users\Jonahs\Dropbox\Projects SCOTT\MEET Windows Azure\source\Background\tile-icon-bigdata.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743659" y="3681918"/>
            <a:ext cx="426053" cy="422268"/>
          </a:xfrm>
          <a:prstGeom prst="rect">
            <a:avLst/>
          </a:prstGeom>
          <a:noFill/>
          <a:extLst>
            <a:ext uri="{909E8E84-426E-40DD-AFC4-6F175D3DCCD1}">
              <a14:hiddenFill xmlns:a14="http://schemas.microsoft.com/office/drawing/2010/main">
                <a:solidFill>
                  <a:srgbClr val="FFFFFF"/>
                </a:solidFill>
              </a14:hiddenFill>
            </a:ext>
          </a:extLst>
        </p:spPr>
      </p:pic>
      <p:pic>
        <p:nvPicPr>
          <p:cNvPr id="5253" name="Picture 2" descr="C:\Users\Jonahs\Dropbox\Projects SCOTT\MEET Windows Azure\source\Background\tile-icon-storage.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652784" y="3692089"/>
            <a:ext cx="401874" cy="401931"/>
          </a:xfrm>
          <a:prstGeom prst="rect">
            <a:avLst/>
          </a:prstGeom>
          <a:noFill/>
          <a:extLst>
            <a:ext uri="{909E8E84-426E-40DD-AFC4-6F175D3DCCD1}">
              <a14:hiddenFill xmlns:a14="http://schemas.microsoft.com/office/drawing/2010/main">
                <a:solidFill>
                  <a:srgbClr val="FFFFFF"/>
                </a:solidFill>
              </a14:hiddenFill>
            </a:ext>
          </a:extLst>
        </p:spPr>
      </p:pic>
      <p:pic>
        <p:nvPicPr>
          <p:cNvPr id="5255" name="Picture 525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658184" y="3718551"/>
            <a:ext cx="385210" cy="349005"/>
          </a:xfrm>
          <a:prstGeom prst="rect">
            <a:avLst/>
          </a:prstGeom>
        </p:spPr>
      </p:pic>
      <p:grpSp>
        <p:nvGrpSpPr>
          <p:cNvPr id="5284" name="Group 5283"/>
          <p:cNvGrpSpPr/>
          <p:nvPr/>
        </p:nvGrpSpPr>
        <p:grpSpPr>
          <a:xfrm>
            <a:off x="2639963" y="1615482"/>
            <a:ext cx="815534" cy="815997"/>
            <a:chOff x="2844381" y="1799296"/>
            <a:chExt cx="832104" cy="832576"/>
          </a:xfrm>
        </p:grpSpPr>
        <p:pic>
          <p:nvPicPr>
            <p:cNvPr id="5285" name="Picture 5284"/>
            <p:cNvPicPr>
              <a:picLocks noChangeAspect="1"/>
            </p:cNvPicPr>
            <p:nvPr/>
          </p:nvPicPr>
          <p:blipFill>
            <a:blip r:embed="rId11">
              <a:lum bright="-100000"/>
            </a:blip>
            <a:stretch>
              <a:fillRect/>
            </a:stretch>
          </p:blipFill>
          <p:spPr>
            <a:xfrm>
              <a:off x="3010709" y="1831739"/>
              <a:ext cx="447765" cy="378933"/>
            </a:xfrm>
            <a:prstGeom prst="rect">
              <a:avLst/>
            </a:prstGeom>
            <a:noFill/>
          </p:spPr>
        </p:pic>
        <p:sp>
          <p:nvSpPr>
            <p:cNvPr id="5286" name="L-Shape 5285"/>
            <p:cNvSpPr/>
            <p:nvPr/>
          </p:nvSpPr>
          <p:spPr bwMode="auto">
            <a:xfrm flipV="1">
              <a:off x="2844381" y="1799296"/>
              <a:ext cx="832104" cy="832576"/>
            </a:xfrm>
            <a:prstGeom prst="corner">
              <a:avLst>
                <a:gd name="adj1" fmla="val 26104"/>
                <a:gd name="adj2" fmla="val 91737"/>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287" name="Group 5286"/>
          <p:cNvGrpSpPr/>
          <p:nvPr/>
        </p:nvGrpSpPr>
        <p:grpSpPr>
          <a:xfrm>
            <a:off x="3579802" y="1615482"/>
            <a:ext cx="843737" cy="809497"/>
            <a:chOff x="3803314" y="1799296"/>
            <a:chExt cx="860880" cy="825944"/>
          </a:xfrm>
        </p:grpSpPr>
        <p:pic>
          <p:nvPicPr>
            <p:cNvPr id="5288" name="Picture 5287"/>
            <p:cNvPicPr>
              <a:picLocks noChangeAspect="1"/>
            </p:cNvPicPr>
            <p:nvPr/>
          </p:nvPicPr>
          <p:blipFill>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80283" y="1857050"/>
              <a:ext cx="431850" cy="428014"/>
            </a:xfrm>
            <a:prstGeom prst="rect">
              <a:avLst/>
            </a:prstGeom>
          </p:spPr>
        </p:pic>
        <p:sp>
          <p:nvSpPr>
            <p:cNvPr id="5289" name="L-Shape 5288"/>
            <p:cNvSpPr/>
            <p:nvPr/>
          </p:nvSpPr>
          <p:spPr bwMode="auto">
            <a:xfrm>
              <a:off x="3803314" y="1799296"/>
              <a:ext cx="860880" cy="825944"/>
            </a:xfrm>
            <a:prstGeom prst="corner">
              <a:avLst>
                <a:gd name="adj1" fmla="val 38444"/>
                <a:gd name="adj2" fmla="val 73305"/>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290" name="Group 5289"/>
          <p:cNvGrpSpPr/>
          <p:nvPr/>
        </p:nvGrpSpPr>
        <p:grpSpPr>
          <a:xfrm>
            <a:off x="4253202" y="1615482"/>
            <a:ext cx="971368" cy="809497"/>
            <a:chOff x="4490397" y="1799296"/>
            <a:chExt cx="991104" cy="825944"/>
          </a:xfrm>
        </p:grpSpPr>
        <p:pic>
          <p:nvPicPr>
            <p:cNvPr id="5291" name="Picture 7" descr="C:\Users\Jonahs\Dropbox\Projects SCOTT\MEET Windows Azure\source\Background\tile-icon-identity.png"/>
            <p:cNvPicPr>
              <a:picLocks noChangeAspect="1" noChangeArrowheads="1"/>
            </p:cNvPicPr>
            <p:nvPr/>
          </p:nvPicPr>
          <p:blipFill>
            <a:blip r:embed="rId19" cstate="print">
              <a:extLst>
                <a:ext uri="{BEBA8EAE-BF5A-486C-A8C5-ECC9F3942E4B}">
                  <a14:imgProps xmlns:a14="http://schemas.microsoft.com/office/drawing/2010/main">
                    <a14:imgLayer r:embed="rId2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915290" y="1896352"/>
              <a:ext cx="375655" cy="375654"/>
            </a:xfrm>
            <a:prstGeom prst="rect">
              <a:avLst/>
            </a:prstGeom>
            <a:noFill/>
            <a:extLst>
              <a:ext uri="{909E8E84-426E-40DD-AFC4-6F175D3DCCD1}">
                <a14:hiddenFill xmlns:a14="http://schemas.microsoft.com/office/drawing/2010/main">
                  <a:solidFill>
                    <a:srgbClr val="FFFFFF"/>
                  </a:solidFill>
                </a14:hiddenFill>
              </a:ext>
            </a:extLst>
          </p:spPr>
        </p:pic>
        <p:sp>
          <p:nvSpPr>
            <p:cNvPr id="5292" name="L-Shape 5291"/>
            <p:cNvSpPr/>
            <p:nvPr/>
          </p:nvSpPr>
          <p:spPr bwMode="auto">
            <a:xfrm flipH="1" flipV="1">
              <a:off x="4490397" y="1799296"/>
              <a:ext cx="991104" cy="825944"/>
            </a:xfrm>
            <a:prstGeom prst="corner">
              <a:avLst>
                <a:gd name="adj1" fmla="val 47670"/>
                <a:gd name="adj2" fmla="val 82321"/>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293" name="Group 5292"/>
          <p:cNvGrpSpPr/>
          <p:nvPr/>
        </p:nvGrpSpPr>
        <p:grpSpPr>
          <a:xfrm>
            <a:off x="4423538" y="3617605"/>
            <a:ext cx="804361" cy="842106"/>
            <a:chOff x="4664193" y="3842099"/>
            <a:chExt cx="820704" cy="859216"/>
          </a:xfrm>
        </p:grpSpPr>
        <p:pic>
          <p:nvPicPr>
            <p:cNvPr id="5294" name="Picture 2" descr="C:\Users\Jonahs\Dropbox\Projects SCOTT\MEET Windows Azure\source\Background\tile-icon-storage.png"/>
            <p:cNvPicPr>
              <a:picLocks noChangeAspect="1" noChangeArrowheads="1"/>
            </p:cNvPicPr>
            <p:nvPr/>
          </p:nvPicPr>
          <p:blipFill>
            <a:blip r:embed="rId21" cstate="print">
              <a:extLst>
                <a:ext uri="{BEBA8EAE-BF5A-486C-A8C5-ECC9F3942E4B}">
                  <a14:imgProps xmlns:a14="http://schemas.microsoft.com/office/drawing/2010/main">
                    <a14:imgLayer r:embed="rId2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898098" y="3918095"/>
              <a:ext cx="410039" cy="410097"/>
            </a:xfrm>
            <a:prstGeom prst="rect">
              <a:avLst/>
            </a:prstGeom>
            <a:noFill/>
            <a:extLst>
              <a:ext uri="{909E8E84-426E-40DD-AFC4-6F175D3DCCD1}">
                <a14:hiddenFill xmlns:a14="http://schemas.microsoft.com/office/drawing/2010/main">
                  <a:solidFill>
                    <a:srgbClr val="FFFFFF"/>
                  </a:solidFill>
                </a14:hiddenFill>
              </a:ext>
            </a:extLst>
          </p:spPr>
        </p:pic>
        <p:sp>
          <p:nvSpPr>
            <p:cNvPr id="5295" name="L-Shape 5294"/>
            <p:cNvSpPr/>
            <p:nvPr/>
          </p:nvSpPr>
          <p:spPr bwMode="auto">
            <a:xfrm flipH="1">
              <a:off x="4664193" y="3842099"/>
              <a:ext cx="820704" cy="859216"/>
            </a:xfrm>
            <a:prstGeom prst="corner">
              <a:avLst>
                <a:gd name="adj1" fmla="val 67291"/>
                <a:gd name="adj2" fmla="val 90076"/>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spTree>
    <p:extLst>
      <p:ext uri="{BB962C8B-B14F-4D97-AF65-F5344CB8AC3E}">
        <p14:creationId xmlns:p14="http://schemas.microsoft.com/office/powerpoint/2010/main" val="29087479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466"/>
                                        </p:tgtEl>
                                        <p:attrNameLst>
                                          <p:attrName>style.visibility</p:attrName>
                                        </p:attrNameLst>
                                      </p:cBhvr>
                                      <p:to>
                                        <p:strVal val="visible"/>
                                      </p:to>
                                    </p:set>
                                    <p:animEffect transition="in" filter="fade">
                                      <p:cBhvr>
                                        <p:cTn id="7" dur="500"/>
                                        <p:tgtEl>
                                          <p:spTgt spid="2466"/>
                                        </p:tgtEl>
                                      </p:cBhvr>
                                    </p:animEffect>
                                  </p:childTnLst>
                                </p:cTn>
                              </p:par>
                              <p:par>
                                <p:cTn id="8" presetID="53" presetClass="entr" presetSubtype="16" fill="hold" nodeType="withEffect">
                                  <p:stCondLst>
                                    <p:cond delay="500"/>
                                  </p:stCondLst>
                                  <p:childTnLst>
                                    <p:set>
                                      <p:cBhvr>
                                        <p:cTn id="9" dur="1" fill="hold">
                                          <p:stCondLst>
                                            <p:cond delay="0"/>
                                          </p:stCondLst>
                                        </p:cTn>
                                        <p:tgtEl>
                                          <p:spTgt spid="2482"/>
                                        </p:tgtEl>
                                        <p:attrNameLst>
                                          <p:attrName>style.visibility</p:attrName>
                                        </p:attrNameLst>
                                      </p:cBhvr>
                                      <p:to>
                                        <p:strVal val="visible"/>
                                      </p:to>
                                    </p:set>
                                    <p:anim calcmode="lin" valueType="num">
                                      <p:cBhvr>
                                        <p:cTn id="10" dur="250" fill="hold"/>
                                        <p:tgtEl>
                                          <p:spTgt spid="2482"/>
                                        </p:tgtEl>
                                        <p:attrNameLst>
                                          <p:attrName>ppt_w</p:attrName>
                                        </p:attrNameLst>
                                      </p:cBhvr>
                                      <p:tavLst>
                                        <p:tav tm="0">
                                          <p:val>
                                            <p:fltVal val="0"/>
                                          </p:val>
                                        </p:tav>
                                        <p:tav tm="100000">
                                          <p:val>
                                            <p:strVal val="#ppt_w"/>
                                          </p:val>
                                        </p:tav>
                                      </p:tavLst>
                                    </p:anim>
                                    <p:anim calcmode="lin" valueType="num">
                                      <p:cBhvr>
                                        <p:cTn id="11" dur="250" fill="hold"/>
                                        <p:tgtEl>
                                          <p:spTgt spid="2482"/>
                                        </p:tgtEl>
                                        <p:attrNameLst>
                                          <p:attrName>ppt_h</p:attrName>
                                        </p:attrNameLst>
                                      </p:cBhvr>
                                      <p:tavLst>
                                        <p:tav tm="0">
                                          <p:val>
                                            <p:fltVal val="0"/>
                                          </p:val>
                                        </p:tav>
                                        <p:tav tm="100000">
                                          <p:val>
                                            <p:strVal val="#ppt_h"/>
                                          </p:val>
                                        </p:tav>
                                      </p:tavLst>
                                    </p:anim>
                                    <p:animEffect transition="in" filter="fade">
                                      <p:cBhvr>
                                        <p:cTn id="12" dur="250"/>
                                        <p:tgtEl>
                                          <p:spTgt spid="2482"/>
                                        </p:tgtEl>
                                      </p:cBhvr>
                                    </p:animEffect>
                                  </p:childTnLst>
                                </p:cTn>
                              </p:par>
                              <p:par>
                                <p:cTn id="13" presetID="6" presetClass="emph" presetSubtype="0" decel="100000" fill="hold" nodeType="withEffect">
                                  <p:stCondLst>
                                    <p:cond delay="700"/>
                                  </p:stCondLst>
                                  <p:childTnLst>
                                    <p:animScale>
                                      <p:cBhvr>
                                        <p:cTn id="14" dur="250" fill="hold"/>
                                        <p:tgtEl>
                                          <p:spTgt spid="2482"/>
                                        </p:tgtEl>
                                      </p:cBhvr>
                                      <p:by x="110000" y="110000"/>
                                    </p:animScale>
                                  </p:childTnLst>
                                </p:cTn>
                              </p:par>
                              <p:par>
                                <p:cTn id="15" presetID="6" presetClass="emph" presetSubtype="0" decel="100000" fill="hold" nodeType="withEffect">
                                  <p:stCondLst>
                                    <p:cond delay="800"/>
                                  </p:stCondLst>
                                  <p:childTnLst>
                                    <p:animScale>
                                      <p:cBhvr>
                                        <p:cTn id="16" dur="250" fill="hold"/>
                                        <p:tgtEl>
                                          <p:spTgt spid="2482"/>
                                        </p:tgtEl>
                                      </p:cBhvr>
                                      <p:by x="91000" y="91000"/>
                                    </p:animScale>
                                  </p:childTnLst>
                                </p:cTn>
                              </p:par>
                              <p:par>
                                <p:cTn id="17" presetID="10" presetClass="entr" presetSubtype="0" fill="hold" nodeType="withEffect">
                                  <p:stCondLst>
                                    <p:cond delay="1000"/>
                                  </p:stCondLst>
                                  <p:childTnLst>
                                    <p:set>
                                      <p:cBhvr>
                                        <p:cTn id="18" dur="1" fill="hold">
                                          <p:stCondLst>
                                            <p:cond delay="0"/>
                                          </p:stCondLst>
                                        </p:cTn>
                                        <p:tgtEl>
                                          <p:spTgt spid="5287"/>
                                        </p:tgtEl>
                                        <p:attrNameLst>
                                          <p:attrName>style.visibility</p:attrName>
                                        </p:attrNameLst>
                                      </p:cBhvr>
                                      <p:to>
                                        <p:strVal val="visible"/>
                                      </p:to>
                                    </p:set>
                                    <p:animEffect transition="in" filter="fade">
                                      <p:cBhvr>
                                        <p:cTn id="19" dur="350"/>
                                        <p:tgtEl>
                                          <p:spTgt spid="5287"/>
                                        </p:tgtEl>
                                      </p:cBhvr>
                                    </p:animEffect>
                                  </p:childTnLst>
                                </p:cTn>
                              </p:par>
                              <p:par>
                                <p:cTn id="20" presetID="10" presetClass="entr" presetSubtype="0" fill="hold" nodeType="withEffect">
                                  <p:stCondLst>
                                    <p:cond delay="1000"/>
                                  </p:stCondLst>
                                  <p:childTnLst>
                                    <p:set>
                                      <p:cBhvr>
                                        <p:cTn id="21" dur="1" fill="hold">
                                          <p:stCondLst>
                                            <p:cond delay="0"/>
                                          </p:stCondLst>
                                        </p:cTn>
                                        <p:tgtEl>
                                          <p:spTgt spid="5284"/>
                                        </p:tgtEl>
                                        <p:attrNameLst>
                                          <p:attrName>style.visibility</p:attrName>
                                        </p:attrNameLst>
                                      </p:cBhvr>
                                      <p:to>
                                        <p:strVal val="visible"/>
                                      </p:to>
                                    </p:set>
                                    <p:animEffect transition="in" filter="fade">
                                      <p:cBhvr>
                                        <p:cTn id="22" dur="350"/>
                                        <p:tgtEl>
                                          <p:spTgt spid="5284"/>
                                        </p:tgtEl>
                                      </p:cBhvr>
                                    </p:animEffect>
                                  </p:childTnLst>
                                </p:cTn>
                              </p:par>
                              <p:par>
                                <p:cTn id="23" presetID="10" presetClass="entr" presetSubtype="0" fill="hold" nodeType="withEffect">
                                  <p:stCondLst>
                                    <p:cond delay="1000"/>
                                  </p:stCondLst>
                                  <p:childTnLst>
                                    <p:set>
                                      <p:cBhvr>
                                        <p:cTn id="24" dur="1" fill="hold">
                                          <p:stCondLst>
                                            <p:cond delay="0"/>
                                          </p:stCondLst>
                                        </p:cTn>
                                        <p:tgtEl>
                                          <p:spTgt spid="5290"/>
                                        </p:tgtEl>
                                        <p:attrNameLst>
                                          <p:attrName>style.visibility</p:attrName>
                                        </p:attrNameLst>
                                      </p:cBhvr>
                                      <p:to>
                                        <p:strVal val="visible"/>
                                      </p:to>
                                    </p:set>
                                    <p:animEffect transition="in" filter="fade">
                                      <p:cBhvr>
                                        <p:cTn id="25" dur="350"/>
                                        <p:tgtEl>
                                          <p:spTgt spid="5290"/>
                                        </p:tgtEl>
                                      </p:cBhvr>
                                    </p:animEffect>
                                  </p:childTnLst>
                                </p:cTn>
                              </p:par>
                              <p:par>
                                <p:cTn id="26" presetID="10" presetClass="entr" presetSubtype="0" fill="hold" nodeType="withEffect">
                                  <p:stCondLst>
                                    <p:cond delay="1000"/>
                                  </p:stCondLst>
                                  <p:childTnLst>
                                    <p:set>
                                      <p:cBhvr>
                                        <p:cTn id="27" dur="1" fill="hold">
                                          <p:stCondLst>
                                            <p:cond delay="0"/>
                                          </p:stCondLst>
                                        </p:cTn>
                                        <p:tgtEl>
                                          <p:spTgt spid="5293"/>
                                        </p:tgtEl>
                                        <p:attrNameLst>
                                          <p:attrName>style.visibility</p:attrName>
                                        </p:attrNameLst>
                                      </p:cBhvr>
                                      <p:to>
                                        <p:strVal val="visible"/>
                                      </p:to>
                                    </p:set>
                                    <p:animEffect transition="in" filter="fade">
                                      <p:cBhvr>
                                        <p:cTn id="28" dur="350"/>
                                        <p:tgtEl>
                                          <p:spTgt spid="5293"/>
                                        </p:tgtEl>
                                      </p:cBhvr>
                                    </p:animEffect>
                                  </p:childTnLst>
                                </p:cTn>
                              </p:par>
                              <p:par>
                                <p:cTn id="29" presetID="10" presetClass="exit" presetSubtype="0" fill="hold" nodeType="withEffect">
                                  <p:stCondLst>
                                    <p:cond delay="1000"/>
                                  </p:stCondLst>
                                  <p:childTnLst>
                                    <p:animEffect transition="out" filter="fade">
                                      <p:cBhvr>
                                        <p:cTn id="30" dur="350"/>
                                        <p:tgtEl>
                                          <p:spTgt spid="5213"/>
                                        </p:tgtEl>
                                      </p:cBhvr>
                                    </p:animEffect>
                                    <p:set>
                                      <p:cBhvr>
                                        <p:cTn id="31" dur="1" fill="hold">
                                          <p:stCondLst>
                                            <p:cond delay="349"/>
                                          </p:stCondLst>
                                        </p:cTn>
                                        <p:tgtEl>
                                          <p:spTgt spid="5213"/>
                                        </p:tgtEl>
                                        <p:attrNameLst>
                                          <p:attrName>style.visibility</p:attrName>
                                        </p:attrNameLst>
                                      </p:cBhvr>
                                      <p:to>
                                        <p:strVal val="hidden"/>
                                      </p:to>
                                    </p:set>
                                  </p:childTnLst>
                                </p:cTn>
                              </p:par>
                              <p:par>
                                <p:cTn id="32" presetID="10" presetClass="exit" presetSubtype="0" fill="hold" nodeType="withEffect">
                                  <p:stCondLst>
                                    <p:cond delay="1000"/>
                                  </p:stCondLst>
                                  <p:childTnLst>
                                    <p:animEffect transition="out" filter="fade">
                                      <p:cBhvr>
                                        <p:cTn id="33" dur="350"/>
                                        <p:tgtEl>
                                          <p:spTgt spid="5215"/>
                                        </p:tgtEl>
                                      </p:cBhvr>
                                    </p:animEffect>
                                    <p:set>
                                      <p:cBhvr>
                                        <p:cTn id="34" dur="1" fill="hold">
                                          <p:stCondLst>
                                            <p:cond delay="349"/>
                                          </p:stCondLst>
                                        </p:cTn>
                                        <p:tgtEl>
                                          <p:spTgt spid="5215"/>
                                        </p:tgtEl>
                                        <p:attrNameLst>
                                          <p:attrName>style.visibility</p:attrName>
                                        </p:attrNameLst>
                                      </p:cBhvr>
                                      <p:to>
                                        <p:strVal val="hidden"/>
                                      </p:to>
                                    </p:set>
                                  </p:childTnLst>
                                </p:cTn>
                              </p:par>
                              <p:par>
                                <p:cTn id="35" presetID="10" presetClass="exit" presetSubtype="0" fill="hold" nodeType="withEffect">
                                  <p:stCondLst>
                                    <p:cond delay="1000"/>
                                  </p:stCondLst>
                                  <p:childTnLst>
                                    <p:animEffect transition="out" filter="fade">
                                      <p:cBhvr>
                                        <p:cTn id="36" dur="350"/>
                                        <p:tgtEl>
                                          <p:spTgt spid="5239"/>
                                        </p:tgtEl>
                                      </p:cBhvr>
                                    </p:animEffect>
                                    <p:set>
                                      <p:cBhvr>
                                        <p:cTn id="37" dur="1" fill="hold">
                                          <p:stCondLst>
                                            <p:cond delay="349"/>
                                          </p:stCondLst>
                                        </p:cTn>
                                        <p:tgtEl>
                                          <p:spTgt spid="5239"/>
                                        </p:tgtEl>
                                        <p:attrNameLst>
                                          <p:attrName>style.visibility</p:attrName>
                                        </p:attrNameLst>
                                      </p:cBhvr>
                                      <p:to>
                                        <p:strVal val="hidden"/>
                                      </p:to>
                                    </p:set>
                                  </p:childTnLst>
                                </p:cTn>
                              </p:par>
                              <p:par>
                                <p:cTn id="38" presetID="10" presetClass="exit" presetSubtype="0" fill="hold" nodeType="withEffect">
                                  <p:stCondLst>
                                    <p:cond delay="1000"/>
                                  </p:stCondLst>
                                  <p:childTnLst>
                                    <p:animEffect transition="out" filter="fade">
                                      <p:cBhvr>
                                        <p:cTn id="39" dur="350"/>
                                        <p:tgtEl>
                                          <p:spTgt spid="5253"/>
                                        </p:tgtEl>
                                      </p:cBhvr>
                                    </p:animEffect>
                                    <p:set>
                                      <p:cBhvr>
                                        <p:cTn id="40" dur="1" fill="hold">
                                          <p:stCondLst>
                                            <p:cond delay="349"/>
                                          </p:stCondLst>
                                        </p:cTn>
                                        <p:tgtEl>
                                          <p:spTgt spid="5253"/>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5213"/>
                                        </p:tgtEl>
                                        <p:attrNameLst>
                                          <p:attrName>style.visibility</p:attrName>
                                        </p:attrNameLst>
                                      </p:cBhvr>
                                      <p:to>
                                        <p:strVal val="visible"/>
                                      </p:to>
                                    </p:set>
                                    <p:animEffect transition="in" filter="fade">
                                      <p:cBhvr>
                                        <p:cTn id="45" dur="200"/>
                                        <p:tgtEl>
                                          <p:spTgt spid="5213"/>
                                        </p:tgtEl>
                                      </p:cBhvr>
                                    </p:animEffect>
                                  </p:childTnLst>
                                </p:cTn>
                              </p:par>
                              <p:par>
                                <p:cTn id="46" presetID="10" presetClass="entr" presetSubtype="0" fill="hold" nodeType="withEffect">
                                  <p:stCondLst>
                                    <p:cond delay="0"/>
                                  </p:stCondLst>
                                  <p:childTnLst>
                                    <p:set>
                                      <p:cBhvr>
                                        <p:cTn id="47" dur="1" fill="hold">
                                          <p:stCondLst>
                                            <p:cond delay="0"/>
                                          </p:stCondLst>
                                        </p:cTn>
                                        <p:tgtEl>
                                          <p:spTgt spid="5215"/>
                                        </p:tgtEl>
                                        <p:attrNameLst>
                                          <p:attrName>style.visibility</p:attrName>
                                        </p:attrNameLst>
                                      </p:cBhvr>
                                      <p:to>
                                        <p:strVal val="visible"/>
                                      </p:to>
                                    </p:set>
                                    <p:animEffect transition="in" filter="fade">
                                      <p:cBhvr>
                                        <p:cTn id="48" dur="200"/>
                                        <p:tgtEl>
                                          <p:spTgt spid="5215"/>
                                        </p:tgtEl>
                                      </p:cBhvr>
                                    </p:animEffect>
                                  </p:childTnLst>
                                </p:cTn>
                              </p:par>
                              <p:par>
                                <p:cTn id="49" presetID="10" presetClass="entr" presetSubtype="0" fill="hold" nodeType="withEffect">
                                  <p:stCondLst>
                                    <p:cond delay="0"/>
                                  </p:stCondLst>
                                  <p:childTnLst>
                                    <p:set>
                                      <p:cBhvr>
                                        <p:cTn id="50" dur="1" fill="hold">
                                          <p:stCondLst>
                                            <p:cond delay="0"/>
                                          </p:stCondLst>
                                        </p:cTn>
                                        <p:tgtEl>
                                          <p:spTgt spid="5239"/>
                                        </p:tgtEl>
                                        <p:attrNameLst>
                                          <p:attrName>style.visibility</p:attrName>
                                        </p:attrNameLst>
                                      </p:cBhvr>
                                      <p:to>
                                        <p:strVal val="visible"/>
                                      </p:to>
                                    </p:set>
                                    <p:animEffect transition="in" filter="fade">
                                      <p:cBhvr>
                                        <p:cTn id="51" dur="200"/>
                                        <p:tgtEl>
                                          <p:spTgt spid="5239"/>
                                        </p:tgtEl>
                                      </p:cBhvr>
                                    </p:animEffect>
                                  </p:childTnLst>
                                </p:cTn>
                              </p:par>
                              <p:par>
                                <p:cTn id="52" presetID="10" presetClass="entr" presetSubtype="0" fill="hold" nodeType="withEffect">
                                  <p:stCondLst>
                                    <p:cond delay="0"/>
                                  </p:stCondLst>
                                  <p:childTnLst>
                                    <p:set>
                                      <p:cBhvr>
                                        <p:cTn id="53" dur="1" fill="hold">
                                          <p:stCondLst>
                                            <p:cond delay="0"/>
                                          </p:stCondLst>
                                        </p:cTn>
                                        <p:tgtEl>
                                          <p:spTgt spid="5253"/>
                                        </p:tgtEl>
                                        <p:attrNameLst>
                                          <p:attrName>style.visibility</p:attrName>
                                        </p:attrNameLst>
                                      </p:cBhvr>
                                      <p:to>
                                        <p:strVal val="visible"/>
                                      </p:to>
                                    </p:set>
                                    <p:animEffect transition="in" filter="fade">
                                      <p:cBhvr>
                                        <p:cTn id="54" dur="200"/>
                                        <p:tgtEl>
                                          <p:spTgt spid="5253"/>
                                        </p:tgtEl>
                                      </p:cBhvr>
                                    </p:animEffect>
                                  </p:childTnLst>
                                </p:cTn>
                              </p:par>
                              <p:par>
                                <p:cTn id="55" presetID="6" presetClass="emph" presetSubtype="0" decel="100000" fill="hold" nodeType="withEffect">
                                  <p:stCondLst>
                                    <p:cond delay="0"/>
                                  </p:stCondLst>
                                  <p:childTnLst>
                                    <p:animScale>
                                      <p:cBhvr>
                                        <p:cTn id="56" dur="1000" fill="hold"/>
                                        <p:tgtEl>
                                          <p:spTgt spid="5287"/>
                                        </p:tgtEl>
                                      </p:cBhvr>
                                      <p:by x="66000" y="66000"/>
                                    </p:animScale>
                                  </p:childTnLst>
                                </p:cTn>
                              </p:par>
                              <p:par>
                                <p:cTn id="57" presetID="6" presetClass="emph" presetSubtype="0" decel="100000" fill="hold" nodeType="withEffect">
                                  <p:stCondLst>
                                    <p:cond delay="0"/>
                                  </p:stCondLst>
                                  <p:childTnLst>
                                    <p:animScale>
                                      <p:cBhvr>
                                        <p:cTn id="58" dur="1000" fill="hold"/>
                                        <p:tgtEl>
                                          <p:spTgt spid="5284"/>
                                        </p:tgtEl>
                                      </p:cBhvr>
                                      <p:by x="64000" y="64000"/>
                                    </p:animScale>
                                  </p:childTnLst>
                                </p:cTn>
                              </p:par>
                              <p:par>
                                <p:cTn id="59" presetID="6" presetClass="emph" presetSubtype="0" decel="100000" fill="hold" nodeType="withEffect">
                                  <p:stCondLst>
                                    <p:cond delay="0"/>
                                  </p:stCondLst>
                                  <p:childTnLst>
                                    <p:animScale>
                                      <p:cBhvr>
                                        <p:cTn id="60" dur="1000" fill="hold"/>
                                        <p:tgtEl>
                                          <p:spTgt spid="5290"/>
                                        </p:tgtEl>
                                      </p:cBhvr>
                                      <p:by x="64000" y="64000"/>
                                    </p:animScale>
                                  </p:childTnLst>
                                </p:cTn>
                              </p:par>
                              <p:par>
                                <p:cTn id="61" presetID="6" presetClass="emph" presetSubtype="0" decel="100000" fill="hold" nodeType="withEffect">
                                  <p:stCondLst>
                                    <p:cond delay="0"/>
                                  </p:stCondLst>
                                  <p:childTnLst>
                                    <p:animScale>
                                      <p:cBhvr>
                                        <p:cTn id="62" dur="1000" fill="hold"/>
                                        <p:tgtEl>
                                          <p:spTgt spid="5293"/>
                                        </p:tgtEl>
                                      </p:cBhvr>
                                      <p:by x="63000" y="63000"/>
                                    </p:animScale>
                                  </p:childTnLst>
                                </p:cTn>
                              </p:par>
                              <p:par>
                                <p:cTn id="63" presetID="42" presetClass="path" presetSubtype="0" decel="100000" fill="hold" nodeType="withEffect">
                                  <p:stCondLst>
                                    <p:cond delay="0"/>
                                  </p:stCondLst>
                                  <p:childTnLst>
                                    <p:animMotion origin="layout" path="M -4.83533E-6 -1.31185E-6 L 0.4557 0.27644 " pathEditMode="relative" rAng="0" ptsTypes="AA">
                                      <p:cBhvr>
                                        <p:cTn id="64" dur="1000" fill="hold"/>
                                        <p:tgtEl>
                                          <p:spTgt spid="5287"/>
                                        </p:tgtEl>
                                        <p:attrNameLst>
                                          <p:attrName>ppt_x</p:attrName>
                                          <p:attrName>ppt_y</p:attrName>
                                        </p:attrNameLst>
                                      </p:cBhvr>
                                      <p:rCtr x="22824" y="13845"/>
                                    </p:animMotion>
                                  </p:childTnLst>
                                </p:cTn>
                              </p:par>
                              <p:par>
                                <p:cTn id="65" presetID="42" presetClass="path" presetSubtype="0" decel="100000" fill="hold" nodeType="withEffect">
                                  <p:stCondLst>
                                    <p:cond delay="0"/>
                                  </p:stCondLst>
                                  <p:childTnLst>
                                    <p:animMotion origin="layout" path="M 3.82436E-6 4.76169E-6 L 0.53331 0.35701 " pathEditMode="relative" rAng="0" ptsTypes="AA">
                                      <p:cBhvr>
                                        <p:cTn id="66" dur="1000" fill="hold"/>
                                        <p:tgtEl>
                                          <p:spTgt spid="5284"/>
                                        </p:tgtEl>
                                        <p:attrNameLst>
                                          <p:attrName>ppt_x</p:attrName>
                                          <p:attrName>ppt_y</p:attrName>
                                        </p:attrNameLst>
                                      </p:cBhvr>
                                      <p:rCtr x="26666" y="17839"/>
                                    </p:animMotion>
                                  </p:childTnLst>
                                </p:cTn>
                              </p:par>
                              <p:par>
                                <p:cTn id="67" presetID="42" presetClass="path" presetSubtype="0" decel="100000" fill="hold" nodeType="withEffect">
                                  <p:stCondLst>
                                    <p:cond delay="0"/>
                                  </p:stCondLst>
                                  <p:childTnLst>
                                    <p:animMotion origin="layout" path="M -3.24228E-7 -1.31185E-6 L 0.43337 0.27644 " pathEditMode="relative" rAng="0" ptsTypes="AA">
                                      <p:cBhvr>
                                        <p:cTn id="68" dur="1000" fill="hold"/>
                                        <p:tgtEl>
                                          <p:spTgt spid="5290"/>
                                        </p:tgtEl>
                                        <p:attrNameLst>
                                          <p:attrName>ppt_x</p:attrName>
                                          <p:attrName>ppt_y</p:attrName>
                                        </p:attrNameLst>
                                      </p:cBhvr>
                                      <p:rCtr x="21662" y="13822"/>
                                    </p:animMotion>
                                  </p:childTnLst>
                                </p:cTn>
                              </p:par>
                              <p:par>
                                <p:cTn id="69" presetID="42" presetClass="path" presetSubtype="0" decel="100000" fill="hold" nodeType="withEffect">
                                  <p:stCondLst>
                                    <p:cond delay="0"/>
                                  </p:stCondLst>
                                  <p:childTnLst>
                                    <p:animMotion origin="layout" path="M -1.00332E-6 -2.62369E-6 L 0.43056 0.06423 " pathEditMode="relative" rAng="0" ptsTypes="AA">
                                      <p:cBhvr>
                                        <p:cTn id="70" dur="1000" fill="hold"/>
                                        <p:tgtEl>
                                          <p:spTgt spid="5293"/>
                                        </p:tgtEl>
                                        <p:attrNameLst>
                                          <p:attrName>ppt_x</p:attrName>
                                          <p:attrName>ppt_y</p:attrName>
                                        </p:attrNameLst>
                                      </p:cBhvr>
                                      <p:rCtr x="21522" y="3200"/>
                                    </p:animMotion>
                                  </p:childTnLst>
                                </p:cTn>
                              </p:par>
                              <p:par>
                                <p:cTn id="71" presetID="10" presetClass="entr" presetSubtype="0" fill="hold" grpId="0" nodeType="withEffect">
                                  <p:stCondLst>
                                    <p:cond delay="800"/>
                                  </p:stCondLst>
                                  <p:childTnLst>
                                    <p:set>
                                      <p:cBhvr>
                                        <p:cTn id="72" dur="1" fill="hold">
                                          <p:stCondLst>
                                            <p:cond delay="0"/>
                                          </p:stCondLst>
                                        </p:cTn>
                                        <p:tgtEl>
                                          <p:spTgt spid="5163"/>
                                        </p:tgtEl>
                                        <p:attrNameLst>
                                          <p:attrName>style.visibility</p:attrName>
                                        </p:attrNameLst>
                                      </p:cBhvr>
                                      <p:to>
                                        <p:strVal val="visible"/>
                                      </p:to>
                                    </p:set>
                                    <p:animEffect transition="in" filter="fade">
                                      <p:cBhvr>
                                        <p:cTn id="73" dur="250"/>
                                        <p:tgtEl>
                                          <p:spTgt spid="5163"/>
                                        </p:tgtEl>
                                      </p:cBhvr>
                                    </p:animEffect>
                                  </p:childTnLst>
                                </p:cTn>
                              </p:par>
                              <p:par>
                                <p:cTn id="74" presetID="10" presetClass="entr" presetSubtype="0" fill="hold" grpId="0" nodeType="withEffect">
                                  <p:stCondLst>
                                    <p:cond delay="800"/>
                                  </p:stCondLst>
                                  <p:childTnLst>
                                    <p:set>
                                      <p:cBhvr>
                                        <p:cTn id="75" dur="1" fill="hold">
                                          <p:stCondLst>
                                            <p:cond delay="0"/>
                                          </p:stCondLst>
                                        </p:cTn>
                                        <p:tgtEl>
                                          <p:spTgt spid="5165"/>
                                        </p:tgtEl>
                                        <p:attrNameLst>
                                          <p:attrName>style.visibility</p:attrName>
                                        </p:attrNameLst>
                                      </p:cBhvr>
                                      <p:to>
                                        <p:strVal val="visible"/>
                                      </p:to>
                                    </p:set>
                                    <p:animEffect transition="in" filter="fade">
                                      <p:cBhvr>
                                        <p:cTn id="76" dur="250"/>
                                        <p:tgtEl>
                                          <p:spTgt spid="5165"/>
                                        </p:tgtEl>
                                      </p:cBhvr>
                                    </p:animEffect>
                                  </p:childTnLst>
                                </p:cTn>
                              </p:par>
                              <p:par>
                                <p:cTn id="77" presetID="10" presetClass="entr" presetSubtype="0" fill="hold" grpId="0" nodeType="withEffect">
                                  <p:stCondLst>
                                    <p:cond delay="800"/>
                                  </p:stCondLst>
                                  <p:childTnLst>
                                    <p:set>
                                      <p:cBhvr>
                                        <p:cTn id="78" dur="1" fill="hold">
                                          <p:stCondLst>
                                            <p:cond delay="0"/>
                                          </p:stCondLst>
                                        </p:cTn>
                                        <p:tgtEl>
                                          <p:spTgt spid="12"/>
                                        </p:tgtEl>
                                        <p:attrNameLst>
                                          <p:attrName>style.visibility</p:attrName>
                                        </p:attrNameLst>
                                      </p:cBhvr>
                                      <p:to>
                                        <p:strVal val="visible"/>
                                      </p:to>
                                    </p:set>
                                    <p:animEffect transition="in" filter="fade">
                                      <p:cBhvr>
                                        <p:cTn id="79" dur="250"/>
                                        <p:tgtEl>
                                          <p:spTgt spid="12"/>
                                        </p:tgtEl>
                                      </p:cBhvr>
                                    </p:animEffect>
                                  </p:childTnLst>
                                </p:cTn>
                              </p:par>
                              <p:par>
                                <p:cTn id="80" presetID="10" presetClass="entr" presetSubtype="0" fill="hold" grpId="0" nodeType="withEffect">
                                  <p:stCondLst>
                                    <p:cond delay="800"/>
                                  </p:stCondLst>
                                  <p:childTnLst>
                                    <p:set>
                                      <p:cBhvr>
                                        <p:cTn id="81" dur="1" fill="hold">
                                          <p:stCondLst>
                                            <p:cond delay="0"/>
                                          </p:stCondLst>
                                        </p:cTn>
                                        <p:tgtEl>
                                          <p:spTgt spid="5162"/>
                                        </p:tgtEl>
                                        <p:attrNameLst>
                                          <p:attrName>style.visibility</p:attrName>
                                        </p:attrNameLst>
                                      </p:cBhvr>
                                      <p:to>
                                        <p:strVal val="visible"/>
                                      </p:to>
                                    </p:set>
                                    <p:animEffect transition="in" filter="fade">
                                      <p:cBhvr>
                                        <p:cTn id="82" dur="250"/>
                                        <p:tgtEl>
                                          <p:spTgt spid="5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66" grpId="0"/>
      <p:bldP spid="12" grpId="0"/>
      <p:bldP spid="5162" grpId="0"/>
      <p:bldP spid="5163" grpId="0"/>
      <p:bldP spid="516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56" name="Map PNG"/>
          <p:cNvPicPr>
            <a:picLocks noChangeAspect="1"/>
          </p:cNvPicPr>
          <p:nvPr/>
        </p:nvPicPr>
        <p:blipFill>
          <a:blip r:embed="rId3"/>
          <a:stretch>
            <a:fillRect/>
          </a:stretch>
        </p:blipFill>
        <p:spPr>
          <a:xfrm>
            <a:off x="1556754" y="1263208"/>
            <a:ext cx="10217468" cy="5013131"/>
          </a:xfrm>
          <a:prstGeom prst="rect">
            <a:avLst/>
          </a:prstGeom>
        </p:spPr>
      </p:pic>
      <p:sp>
        <p:nvSpPr>
          <p:cNvPr id="2" name="Rectangle 1"/>
          <p:cNvSpPr/>
          <p:nvPr/>
        </p:nvSpPr>
        <p:spPr bwMode="auto">
          <a:xfrm>
            <a:off x="1589" y="1082414"/>
            <a:ext cx="12456629" cy="5774208"/>
          </a:xfrm>
          <a:prstGeom prst="rect">
            <a:avLst/>
          </a:prstGeom>
          <a:solidFill>
            <a:srgbClr val="FFFFFF">
              <a:alpha val="50196"/>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5081" name="Virtual Network label in cloud"/>
          <p:cNvSpPr/>
          <p:nvPr/>
        </p:nvSpPr>
        <p:spPr>
          <a:xfrm>
            <a:off x="9638819" y="4561102"/>
            <a:ext cx="586328" cy="307681"/>
          </a:xfrm>
          <a:prstGeom prst="rect">
            <a:avLst/>
          </a:prstGeom>
        </p:spPr>
        <p:txBody>
          <a:bodyPr wrap="none">
            <a:spAutoFit/>
          </a:bodyPr>
          <a:lstStyle/>
          <a:p>
            <a:pPr algn="ctr" defTabSz="895512" fontAlgn="base">
              <a:lnSpc>
                <a:spcPct val="80000"/>
              </a:lnSpc>
              <a:spcBef>
                <a:spcPct val="0"/>
              </a:spcBef>
              <a:spcAft>
                <a:spcPct val="0"/>
              </a:spcAft>
            </a:pPr>
            <a:r>
              <a:rPr lang="en-US" sz="882" dirty="0">
                <a:gradFill>
                  <a:gsLst>
                    <a:gs pos="0">
                      <a:srgbClr val="FFFFFF"/>
                    </a:gs>
                    <a:gs pos="100000">
                      <a:srgbClr val="FFFFFF"/>
                    </a:gs>
                  </a:gsLst>
                  <a:lin ang="5400000" scaled="0"/>
                </a:gradFill>
              </a:rPr>
              <a:t>virtual </a:t>
            </a:r>
            <a:br>
              <a:rPr lang="en-US" sz="882" dirty="0">
                <a:gradFill>
                  <a:gsLst>
                    <a:gs pos="0">
                      <a:srgbClr val="FFFFFF"/>
                    </a:gs>
                    <a:gs pos="100000">
                      <a:srgbClr val="FFFFFF"/>
                    </a:gs>
                  </a:gsLst>
                  <a:lin ang="5400000" scaled="0"/>
                </a:gradFill>
              </a:rPr>
            </a:br>
            <a:r>
              <a:rPr lang="en-US" sz="882" dirty="0">
                <a:gradFill>
                  <a:gsLst>
                    <a:gs pos="0">
                      <a:srgbClr val="FFFFFF"/>
                    </a:gs>
                    <a:gs pos="100000">
                      <a:srgbClr val="FFFFFF"/>
                    </a:gs>
                  </a:gsLst>
                  <a:lin ang="5400000" scaled="0"/>
                </a:gradFill>
              </a:rPr>
              <a:t>network</a:t>
            </a:r>
          </a:p>
        </p:txBody>
      </p:sp>
      <p:sp>
        <p:nvSpPr>
          <p:cNvPr id="5188" name="Rectangle 5187"/>
          <p:cNvSpPr/>
          <p:nvPr/>
        </p:nvSpPr>
        <p:spPr bwMode="auto">
          <a:xfrm>
            <a:off x="1590" y="3475155"/>
            <a:ext cx="7386479" cy="1165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857" tIns="403286" rIns="179213" bIns="0" numCol="1" spcCol="0" rtlCol="0" fromWordArt="0" anchor="ctr" anchorCtr="0" forceAA="0" compatLnSpc="1">
            <a:prstTxWarp prst="textNoShape">
              <a:avLst/>
            </a:prstTxWarp>
            <a:noAutofit/>
          </a:bodyPr>
          <a:lstStyle/>
          <a:p>
            <a:pPr defTabSz="761514">
              <a:defRPr/>
            </a:pPr>
            <a:r>
              <a:rPr lang="en-US" sz="4704" kern="0" baseline="30000" dirty="0">
                <a:gradFill>
                  <a:gsLst>
                    <a:gs pos="0">
                      <a:srgbClr val="00188F">
                        <a:lumMod val="5000"/>
                        <a:lumOff val="95000"/>
                      </a:srgbClr>
                    </a:gs>
                    <a:gs pos="100000">
                      <a:srgbClr val="EFEFEF"/>
                    </a:gs>
                  </a:gsLst>
                  <a:lin ang="5400000" scaled="1"/>
                </a:gradFill>
                <a:latin typeface="Segoe UI Light"/>
              </a:rPr>
              <a:t>data </a:t>
            </a:r>
            <a:br>
              <a:rPr lang="en-US" sz="4704" kern="0" baseline="30000" dirty="0">
                <a:gradFill>
                  <a:gsLst>
                    <a:gs pos="0">
                      <a:srgbClr val="00188F">
                        <a:lumMod val="5000"/>
                        <a:lumOff val="95000"/>
                      </a:srgbClr>
                    </a:gs>
                    <a:gs pos="100000">
                      <a:srgbClr val="EFEFEF"/>
                    </a:gs>
                  </a:gsLst>
                  <a:lin ang="5400000" scaled="1"/>
                </a:gradFill>
                <a:latin typeface="Segoe UI Light"/>
              </a:rPr>
            </a:br>
            <a:r>
              <a:rPr lang="en-US" sz="4704"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5189" name="Rectangle 5188"/>
          <p:cNvSpPr/>
          <p:nvPr/>
        </p:nvSpPr>
        <p:spPr bwMode="auto">
          <a:xfrm>
            <a:off x="4405727" y="3617605"/>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table</a:t>
            </a:r>
          </a:p>
        </p:txBody>
      </p:sp>
      <p:sp>
        <p:nvSpPr>
          <p:cNvPr id="5190" name="Rectangle 5189"/>
          <p:cNvSpPr/>
          <p:nvPr/>
        </p:nvSpPr>
        <p:spPr bwMode="auto">
          <a:xfrm>
            <a:off x="3508690" y="3617605"/>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err="1">
                <a:gradFill>
                  <a:gsLst>
                    <a:gs pos="0">
                      <a:srgbClr val="FFFFFF"/>
                    </a:gs>
                    <a:gs pos="100000">
                      <a:srgbClr val="FFFFFF"/>
                    </a:gs>
                  </a:gsLst>
                  <a:lin ang="5400000" scaled="0"/>
                </a:gradFill>
              </a:rPr>
              <a:t>HDInsight</a:t>
            </a:r>
            <a:endParaRPr lang="en-US" sz="1046" dirty="0">
              <a:gradFill>
                <a:gsLst>
                  <a:gs pos="0">
                    <a:srgbClr val="FFFFFF"/>
                  </a:gs>
                  <a:gs pos="100000">
                    <a:srgbClr val="FFFFFF"/>
                  </a:gs>
                </a:gsLst>
                <a:lin ang="5400000" scaled="0"/>
              </a:gradFill>
            </a:endParaRPr>
          </a:p>
        </p:txBody>
      </p:sp>
      <p:sp>
        <p:nvSpPr>
          <p:cNvPr id="5191" name="Rectangle 5190"/>
          <p:cNvSpPr/>
          <p:nvPr/>
        </p:nvSpPr>
        <p:spPr bwMode="auto">
          <a:xfrm>
            <a:off x="5402795" y="3640716"/>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blob storage</a:t>
            </a:r>
          </a:p>
        </p:txBody>
      </p:sp>
      <p:sp>
        <p:nvSpPr>
          <p:cNvPr id="5192" name="Rectangle 5191"/>
          <p:cNvSpPr/>
          <p:nvPr/>
        </p:nvSpPr>
        <p:spPr bwMode="auto">
          <a:xfrm>
            <a:off x="2573957" y="3617605"/>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SQL database</a:t>
            </a:r>
          </a:p>
        </p:txBody>
      </p:sp>
      <p:sp>
        <p:nvSpPr>
          <p:cNvPr id="5193" name="Rectangle 5192"/>
          <p:cNvSpPr/>
          <p:nvPr/>
        </p:nvSpPr>
        <p:spPr bwMode="auto">
          <a:xfrm>
            <a:off x="-24799" y="1472422"/>
            <a:ext cx="7412868" cy="19449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68857" tIns="1254668" rIns="121849" bIns="60923" numCol="1" rtlCol="0" anchor="ctr" anchorCtr="0" compatLnSpc="1">
            <a:prstTxWarp prst="textNoShape">
              <a:avLst/>
            </a:prstTxWarp>
          </a:bodyPr>
          <a:lstStyle/>
          <a:p>
            <a:pPr defTabSz="761514">
              <a:defRPr/>
            </a:pPr>
            <a:r>
              <a:rPr lang="en-US" sz="4704" kern="0" baseline="30000" dirty="0">
                <a:gradFill>
                  <a:gsLst>
                    <a:gs pos="0">
                      <a:srgbClr val="00188F">
                        <a:lumMod val="5000"/>
                        <a:lumOff val="95000"/>
                      </a:srgbClr>
                    </a:gs>
                    <a:gs pos="100000">
                      <a:srgbClr val="EFEFEF"/>
                    </a:gs>
                  </a:gsLst>
                  <a:lin ang="5400000" scaled="1"/>
                </a:gradFill>
                <a:latin typeface="Segoe UI Light"/>
              </a:rPr>
              <a:t>app </a:t>
            </a:r>
            <a:br>
              <a:rPr lang="en-US" sz="4704" kern="0" baseline="30000" dirty="0">
                <a:gradFill>
                  <a:gsLst>
                    <a:gs pos="0">
                      <a:srgbClr val="00188F">
                        <a:lumMod val="5000"/>
                        <a:lumOff val="95000"/>
                      </a:srgbClr>
                    </a:gs>
                    <a:gs pos="100000">
                      <a:srgbClr val="EFEFEF"/>
                    </a:gs>
                  </a:gsLst>
                  <a:lin ang="5400000" scaled="1"/>
                </a:gradFill>
                <a:latin typeface="Segoe UI Light"/>
              </a:rPr>
            </a:br>
            <a:r>
              <a:rPr lang="en-US" sz="4704"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5194" name="Rectangle 5193"/>
          <p:cNvSpPr/>
          <p:nvPr/>
        </p:nvSpPr>
        <p:spPr bwMode="auto">
          <a:xfrm>
            <a:off x="6399861" y="1571058"/>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media</a:t>
            </a:r>
          </a:p>
        </p:txBody>
      </p:sp>
      <p:sp>
        <p:nvSpPr>
          <p:cNvPr id="5195" name="Rectangle 5194"/>
          <p:cNvSpPr/>
          <p:nvPr/>
        </p:nvSpPr>
        <p:spPr bwMode="auto">
          <a:xfrm>
            <a:off x="5402795" y="2474186"/>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err="1">
                <a:gradFill>
                  <a:gsLst>
                    <a:gs pos="0">
                      <a:srgbClr val="FFFFFF"/>
                    </a:gs>
                    <a:gs pos="100000">
                      <a:srgbClr val="FFFFFF"/>
                    </a:gs>
                  </a:gsLst>
                  <a:lin ang="5400000" scaled="0"/>
                </a:gradFill>
              </a:rPr>
              <a:t>hpc</a:t>
            </a:r>
            <a:endParaRPr lang="en-US" sz="1046" dirty="0">
              <a:gradFill>
                <a:gsLst>
                  <a:gs pos="0">
                    <a:srgbClr val="FFFFFF"/>
                  </a:gs>
                  <a:gs pos="100000">
                    <a:srgbClr val="FFFFFF"/>
                  </a:gs>
                </a:gsLst>
                <a:lin ang="5400000" scaled="0"/>
              </a:gradFill>
            </a:endParaRPr>
          </a:p>
        </p:txBody>
      </p:sp>
      <p:sp>
        <p:nvSpPr>
          <p:cNvPr id="5196" name="Rectangle 5195"/>
          <p:cNvSpPr/>
          <p:nvPr/>
        </p:nvSpPr>
        <p:spPr bwMode="auto">
          <a:xfrm>
            <a:off x="4405727" y="2474886"/>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integration</a:t>
            </a:r>
          </a:p>
        </p:txBody>
      </p:sp>
      <p:sp>
        <p:nvSpPr>
          <p:cNvPr id="5206" name="Rectangle 5205"/>
          <p:cNvSpPr/>
          <p:nvPr/>
        </p:nvSpPr>
        <p:spPr bwMode="auto">
          <a:xfrm>
            <a:off x="6399065" y="2474187"/>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analytics</a:t>
            </a:r>
          </a:p>
        </p:txBody>
      </p:sp>
      <p:sp>
        <p:nvSpPr>
          <p:cNvPr id="5207" name="Rectangle 5206"/>
          <p:cNvSpPr/>
          <p:nvPr/>
        </p:nvSpPr>
        <p:spPr bwMode="auto">
          <a:xfrm>
            <a:off x="3448937" y="1571058"/>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spcBef>
                <a:spcPct val="0"/>
              </a:spcBef>
              <a:spcAft>
                <a:spcPct val="0"/>
              </a:spcAft>
            </a:pPr>
            <a:r>
              <a:rPr lang="en-US" sz="1046" dirty="0">
                <a:gradFill>
                  <a:gsLst>
                    <a:gs pos="0">
                      <a:srgbClr val="FFFFFF"/>
                    </a:gs>
                    <a:gs pos="100000">
                      <a:srgbClr val="FFFFFF"/>
                    </a:gs>
                  </a:gsLst>
                  <a:lin ang="5400000" scaled="0"/>
                </a:gradFill>
              </a:rPr>
              <a:t>caching</a:t>
            </a:r>
          </a:p>
        </p:txBody>
      </p:sp>
      <p:sp>
        <p:nvSpPr>
          <p:cNvPr id="5208" name="Rectangle 5207"/>
          <p:cNvSpPr/>
          <p:nvPr/>
        </p:nvSpPr>
        <p:spPr bwMode="auto">
          <a:xfrm>
            <a:off x="4405727" y="1583390"/>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spcBef>
                <a:spcPct val="0"/>
              </a:spcBef>
              <a:spcAft>
                <a:spcPct val="0"/>
              </a:spcAft>
            </a:pPr>
            <a:r>
              <a:rPr lang="en-US" sz="1046" dirty="0">
                <a:gradFill>
                  <a:gsLst>
                    <a:gs pos="0">
                      <a:srgbClr val="FFFFFF"/>
                    </a:gs>
                    <a:gs pos="100000">
                      <a:srgbClr val="FFFFFF"/>
                    </a:gs>
                  </a:gsLst>
                  <a:lin ang="5400000" scaled="0"/>
                </a:gradFill>
              </a:rPr>
              <a:t>identity</a:t>
            </a:r>
          </a:p>
        </p:txBody>
      </p:sp>
      <p:sp>
        <p:nvSpPr>
          <p:cNvPr id="5209" name="Rectangle 5208"/>
          <p:cNvSpPr/>
          <p:nvPr/>
        </p:nvSpPr>
        <p:spPr bwMode="auto">
          <a:xfrm>
            <a:off x="5402794" y="1571058"/>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service bus</a:t>
            </a:r>
          </a:p>
        </p:txBody>
      </p:sp>
      <p:sp>
        <p:nvSpPr>
          <p:cNvPr id="5210" name="Rectangle 5209"/>
          <p:cNvSpPr/>
          <p:nvPr/>
        </p:nvSpPr>
        <p:spPr bwMode="auto">
          <a:xfrm>
            <a:off x="3508690" y="2497044"/>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web sites</a:t>
            </a:r>
          </a:p>
        </p:txBody>
      </p:sp>
      <p:sp>
        <p:nvSpPr>
          <p:cNvPr id="5211" name="Mobile Services - Label"/>
          <p:cNvSpPr/>
          <p:nvPr/>
        </p:nvSpPr>
        <p:spPr bwMode="auto">
          <a:xfrm>
            <a:off x="2573957" y="2507922"/>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mobile services</a:t>
            </a:r>
          </a:p>
        </p:txBody>
      </p:sp>
      <p:sp>
        <p:nvSpPr>
          <p:cNvPr id="5212" name="Rectangle 5211"/>
          <p:cNvSpPr/>
          <p:nvPr/>
        </p:nvSpPr>
        <p:spPr bwMode="auto">
          <a:xfrm>
            <a:off x="2574410" y="1569446"/>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cloud services</a:t>
            </a:r>
          </a:p>
        </p:txBody>
      </p:sp>
      <p:pic>
        <p:nvPicPr>
          <p:cNvPr id="5213" name="Picture 52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55237" y="1672086"/>
            <a:ext cx="423250" cy="419491"/>
          </a:xfrm>
          <a:prstGeom prst="rect">
            <a:avLst/>
          </a:prstGeom>
        </p:spPr>
      </p:pic>
      <p:pic>
        <p:nvPicPr>
          <p:cNvPr id="5215" name="Picture 7" descr="C:\Users\Jonahs\Dropbox\Projects SCOTT\MEET Windows Azure\source\Background\tile-icon-identit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69635" y="1710604"/>
            <a:ext cx="368175" cy="368174"/>
          </a:xfrm>
          <a:prstGeom prst="rect">
            <a:avLst/>
          </a:prstGeom>
          <a:noFill/>
          <a:extLst>
            <a:ext uri="{909E8E84-426E-40DD-AFC4-6F175D3DCCD1}">
              <a14:hiddenFill xmlns:a14="http://schemas.microsoft.com/office/drawing/2010/main">
                <a:solidFill>
                  <a:srgbClr val="FFFFFF"/>
                </a:solidFill>
              </a14:hiddenFill>
            </a:ext>
          </a:extLst>
        </p:spPr>
      </p:pic>
      <p:sp>
        <p:nvSpPr>
          <p:cNvPr id="5217" name="Freeform 25"/>
          <p:cNvSpPr>
            <a:spLocks noEditPoints="1"/>
          </p:cNvSpPr>
          <p:nvPr/>
        </p:nvSpPr>
        <p:spPr bwMode="black">
          <a:xfrm>
            <a:off x="4698189" y="2625962"/>
            <a:ext cx="341403" cy="341797"/>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6" tIns="40334" rIns="80666" bIns="40334" numCol="1" anchor="t" anchorCtr="0" compatLnSpc="1">
            <a:prstTxWarp prst="textNoShape">
              <a:avLst/>
            </a:prstTxWarp>
          </a:bodyPr>
          <a:lstStyle/>
          <a:p>
            <a:pPr defTabSz="913946"/>
            <a:endParaRPr lang="en-US" sz="1568">
              <a:solidFill>
                <a:srgbClr val="505050"/>
              </a:solidFill>
            </a:endParaRPr>
          </a:p>
        </p:txBody>
      </p:sp>
      <p:pic>
        <p:nvPicPr>
          <p:cNvPr id="5219" name="Picture 5218"/>
          <p:cNvPicPr>
            <a:picLocks noChangeAspect="1"/>
          </p:cNvPicPr>
          <p:nvPr/>
        </p:nvPicPr>
        <p:blipFill>
          <a:blip r:embed="rId6"/>
          <a:stretch>
            <a:fillRect/>
          </a:stretch>
        </p:blipFill>
        <p:spPr>
          <a:xfrm>
            <a:off x="5673611" y="1680657"/>
            <a:ext cx="376887" cy="426540"/>
          </a:xfrm>
          <a:prstGeom prst="rect">
            <a:avLst/>
          </a:prstGeom>
        </p:spPr>
      </p:pic>
      <p:sp>
        <p:nvSpPr>
          <p:cNvPr id="5221" name="Freeform 25"/>
          <p:cNvSpPr>
            <a:spLocks noEditPoints="1"/>
          </p:cNvSpPr>
          <p:nvPr/>
        </p:nvSpPr>
        <p:spPr bwMode="black">
          <a:xfrm flipH="1">
            <a:off x="6649617" y="1665105"/>
            <a:ext cx="423682" cy="423852"/>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1" tIns="44802" rIns="89601" bIns="44802" numCol="1" anchor="t" anchorCtr="0" compatLnSpc="1">
            <a:prstTxWarp prst="textNoShape">
              <a:avLst/>
            </a:prstTxWarp>
          </a:bodyPr>
          <a:lstStyle/>
          <a:p>
            <a:pPr defTabSz="895993"/>
            <a:endParaRPr lang="en-US" sz="1764" dirty="0">
              <a:solidFill>
                <a:srgbClr val="000000"/>
              </a:solidFill>
            </a:endParaRPr>
          </a:p>
        </p:txBody>
      </p:sp>
      <p:pic>
        <p:nvPicPr>
          <p:cNvPr id="5223" name="Picture 2" descr="\\MAGNUM\Projects\Microsoft\Cloud Power FY12\Design\Icons\PNGs\Cloud_on_your_terms.png"/>
          <p:cNvPicPr>
            <a:picLocks noChangeAspect="1" noChangeArrowheads="1"/>
          </p:cNvPicPr>
          <p:nvPr/>
        </p:nvPicPr>
        <p:blipFill>
          <a:blip r:embed="rId7" cstate="print">
            <a:lum bright="100000"/>
          </a:blip>
          <a:stretch>
            <a:fillRect/>
          </a:stretch>
        </p:blipFill>
        <p:spPr bwMode="auto">
          <a:xfrm>
            <a:off x="5571498" y="2474844"/>
            <a:ext cx="608152" cy="608237"/>
          </a:xfrm>
          <a:prstGeom prst="rect">
            <a:avLst/>
          </a:prstGeom>
          <a:noFill/>
          <a:ln>
            <a:noFill/>
          </a:ln>
        </p:spPr>
      </p:pic>
      <p:sp>
        <p:nvSpPr>
          <p:cNvPr id="5225" name="Freeform 5224"/>
          <p:cNvSpPr>
            <a:spLocks noEditPoints="1"/>
          </p:cNvSpPr>
          <p:nvPr/>
        </p:nvSpPr>
        <p:spPr bwMode="auto">
          <a:xfrm>
            <a:off x="6681121" y="2673038"/>
            <a:ext cx="333468" cy="294053"/>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121854" tIns="60926" rIns="121854" bIns="60926" numCol="1" anchor="t" anchorCtr="0" compatLnSpc="1">
            <a:prstTxWarp prst="textNoShape">
              <a:avLst/>
            </a:prstTxWarp>
          </a:bodyPr>
          <a:lstStyle/>
          <a:p>
            <a:pPr defTabSz="1190369"/>
            <a:endParaRPr lang="en-US" sz="2352" dirty="0">
              <a:solidFill>
                <a:srgbClr val="292929"/>
              </a:solidFill>
            </a:endParaRPr>
          </a:p>
        </p:txBody>
      </p:sp>
      <p:sp>
        <p:nvSpPr>
          <p:cNvPr id="5227" name="Rectangle 5226"/>
          <p:cNvSpPr/>
          <p:nvPr/>
        </p:nvSpPr>
        <p:spPr bwMode="auto">
          <a:xfrm>
            <a:off x="-8104" y="4698029"/>
            <a:ext cx="7396171" cy="1165049"/>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68857" tIns="403286" rIns="121849" bIns="0" numCol="1" rtlCol="0" anchor="ctr" anchorCtr="0" compatLnSpc="1">
            <a:prstTxWarp prst="textNoShape">
              <a:avLst/>
            </a:prstTxWarp>
          </a:bodyPr>
          <a:lstStyle/>
          <a:p>
            <a:pPr defTabSz="761514">
              <a:defRPr/>
            </a:pPr>
            <a:r>
              <a:rPr lang="en-US" sz="4704" kern="0" baseline="30000" dirty="0">
                <a:gradFill>
                  <a:gsLst>
                    <a:gs pos="0">
                      <a:srgbClr val="00188F">
                        <a:lumMod val="5000"/>
                        <a:lumOff val="95000"/>
                      </a:srgbClr>
                    </a:gs>
                    <a:gs pos="100000">
                      <a:srgbClr val="EFEFEF"/>
                    </a:gs>
                  </a:gsLst>
                  <a:lin ang="5400000" scaled="1"/>
                </a:gradFill>
                <a:latin typeface="Segoe UI Light"/>
              </a:rPr>
              <a:t>infrastructure </a:t>
            </a:r>
            <a:br>
              <a:rPr lang="en-US" sz="4704" kern="0" baseline="30000" dirty="0">
                <a:gradFill>
                  <a:gsLst>
                    <a:gs pos="0">
                      <a:srgbClr val="00188F">
                        <a:lumMod val="5000"/>
                        <a:lumOff val="95000"/>
                      </a:srgbClr>
                    </a:gs>
                    <a:gs pos="100000">
                      <a:srgbClr val="EFEFEF"/>
                    </a:gs>
                  </a:gsLst>
                  <a:lin ang="5400000" scaled="1"/>
                </a:gradFill>
                <a:latin typeface="Segoe UI Light"/>
              </a:rPr>
            </a:br>
            <a:r>
              <a:rPr lang="en-US" sz="4704"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5228" name="Rectangle 5227"/>
          <p:cNvSpPr/>
          <p:nvPr/>
        </p:nvSpPr>
        <p:spPr bwMode="auto">
          <a:xfrm>
            <a:off x="6399065" y="4862893"/>
            <a:ext cx="895988" cy="8150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err="1">
                <a:gradFill>
                  <a:gsLst>
                    <a:gs pos="0">
                      <a:srgbClr val="FFFFFF"/>
                    </a:gs>
                    <a:gs pos="100000">
                      <a:srgbClr val="FFFFFF"/>
                    </a:gs>
                  </a:gsLst>
                  <a:lin ang="5400000" scaled="0"/>
                </a:gradFill>
              </a:rPr>
              <a:t>cdn</a:t>
            </a:r>
            <a:endParaRPr lang="en-US" sz="1046" dirty="0">
              <a:gradFill>
                <a:gsLst>
                  <a:gs pos="0">
                    <a:srgbClr val="FFFFFF"/>
                  </a:gs>
                  <a:gs pos="100000">
                    <a:srgbClr val="FFFFFF"/>
                  </a:gs>
                </a:gsLst>
                <a:lin ang="5400000" scaled="0"/>
              </a:gradFill>
            </a:endParaRPr>
          </a:p>
        </p:txBody>
      </p:sp>
      <p:sp>
        <p:nvSpPr>
          <p:cNvPr id="5229" name="Virtual Machines - Label"/>
          <p:cNvSpPr/>
          <p:nvPr/>
        </p:nvSpPr>
        <p:spPr bwMode="auto">
          <a:xfrm>
            <a:off x="2573957" y="4862891"/>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virtual machines</a:t>
            </a:r>
          </a:p>
        </p:txBody>
      </p:sp>
      <p:sp>
        <p:nvSpPr>
          <p:cNvPr id="5230" name="Rectangle 5229"/>
          <p:cNvSpPr/>
          <p:nvPr/>
        </p:nvSpPr>
        <p:spPr bwMode="auto">
          <a:xfrm>
            <a:off x="3508690" y="4862891"/>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virtual network</a:t>
            </a:r>
          </a:p>
        </p:txBody>
      </p:sp>
      <p:sp>
        <p:nvSpPr>
          <p:cNvPr id="5231" name="Rectangle 5230"/>
          <p:cNvSpPr/>
          <p:nvPr/>
        </p:nvSpPr>
        <p:spPr bwMode="auto">
          <a:xfrm>
            <a:off x="4405727" y="4862891"/>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err="1">
                <a:gradFill>
                  <a:gsLst>
                    <a:gs pos="0">
                      <a:srgbClr val="FFFFFF"/>
                    </a:gs>
                    <a:gs pos="100000">
                      <a:srgbClr val="FFFFFF"/>
                    </a:gs>
                  </a:gsLst>
                  <a:lin ang="5400000" scaled="0"/>
                </a:gradFill>
              </a:rPr>
              <a:t>vpn</a:t>
            </a:r>
            <a:endParaRPr lang="en-US" sz="1046" dirty="0">
              <a:gradFill>
                <a:gsLst>
                  <a:gs pos="0">
                    <a:srgbClr val="FFFFFF"/>
                  </a:gs>
                  <a:gs pos="100000">
                    <a:srgbClr val="FFFFFF"/>
                  </a:gs>
                </a:gsLst>
                <a:lin ang="5400000" scaled="0"/>
              </a:gradFill>
            </a:endParaRPr>
          </a:p>
        </p:txBody>
      </p:sp>
      <p:sp>
        <p:nvSpPr>
          <p:cNvPr id="5232" name="Rectangle 5231"/>
          <p:cNvSpPr/>
          <p:nvPr/>
        </p:nvSpPr>
        <p:spPr bwMode="auto">
          <a:xfrm>
            <a:off x="5402795" y="4862891"/>
            <a:ext cx="895988" cy="8150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1046" dirty="0">
                <a:gradFill>
                  <a:gsLst>
                    <a:gs pos="0">
                      <a:srgbClr val="FFFFFF"/>
                    </a:gs>
                    <a:gs pos="100000">
                      <a:srgbClr val="FFFFFF"/>
                    </a:gs>
                  </a:gsLst>
                  <a:lin ang="5400000" scaled="0"/>
                </a:gradFill>
              </a:rPr>
              <a:t>traffic manager</a:t>
            </a:r>
          </a:p>
        </p:txBody>
      </p:sp>
      <p:pic>
        <p:nvPicPr>
          <p:cNvPr id="5235" name="Picture 52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08121" y="2589300"/>
            <a:ext cx="376294" cy="376346"/>
          </a:xfrm>
          <a:prstGeom prst="rect">
            <a:avLst/>
          </a:prstGeom>
          <a:noFill/>
        </p:spPr>
      </p:pic>
      <p:pic>
        <p:nvPicPr>
          <p:cNvPr id="5237" name="Picture 5236"/>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901738" y="2602182"/>
            <a:ext cx="240426" cy="348105"/>
          </a:xfrm>
          <a:prstGeom prst="rect">
            <a:avLst/>
          </a:prstGeom>
          <a:noFill/>
        </p:spPr>
      </p:pic>
      <p:pic>
        <p:nvPicPr>
          <p:cNvPr id="5239" name="Picture 5238"/>
          <p:cNvPicPr>
            <a:picLocks noChangeAspect="1"/>
          </p:cNvPicPr>
          <p:nvPr/>
        </p:nvPicPr>
        <p:blipFill>
          <a:blip r:embed="rId10"/>
          <a:stretch>
            <a:fillRect/>
          </a:stretch>
        </p:blipFill>
        <p:spPr>
          <a:xfrm>
            <a:off x="2802980" y="1647279"/>
            <a:ext cx="438849" cy="371387"/>
          </a:xfrm>
          <a:prstGeom prst="rect">
            <a:avLst/>
          </a:prstGeom>
          <a:noFill/>
        </p:spPr>
      </p:pic>
      <p:pic>
        <p:nvPicPr>
          <p:cNvPr id="5245" name="Picture 2"/>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5663736" y="4941101"/>
            <a:ext cx="374106" cy="374160"/>
          </a:xfrm>
          <a:prstGeom prst="rect">
            <a:avLst/>
          </a:prstGeom>
          <a:noFill/>
          <a:extLst>
            <a:ext uri="{909E8E84-426E-40DD-AFC4-6F175D3DCCD1}">
              <a14:hiddenFill xmlns:a14="http://schemas.microsoft.com/office/drawing/2010/main">
                <a:solidFill>
                  <a:srgbClr val="FFFFFF"/>
                </a:solidFill>
              </a14:hiddenFill>
            </a:ext>
          </a:extLst>
        </p:spPr>
      </p:pic>
      <p:pic>
        <p:nvPicPr>
          <p:cNvPr id="5247" name="Picture 5" descr="C:\Users\Jonahs\Dropbox\Projects SCOTT\MEET Windows Azure\source\Background\tile-icon-CD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03370" y="4916212"/>
            <a:ext cx="485789" cy="481471"/>
          </a:xfrm>
          <a:prstGeom prst="rect">
            <a:avLst/>
          </a:prstGeom>
          <a:noFill/>
          <a:extLst>
            <a:ext uri="{909E8E84-426E-40DD-AFC4-6F175D3DCCD1}">
              <a14:hiddenFill xmlns:a14="http://schemas.microsoft.com/office/drawing/2010/main">
                <a:solidFill>
                  <a:srgbClr val="FFFFFF"/>
                </a:solidFill>
              </a14:hiddenFill>
            </a:ext>
          </a:extLst>
        </p:spPr>
      </p:pic>
      <p:sp>
        <p:nvSpPr>
          <p:cNvPr id="5249" name="Freeform 30"/>
          <p:cNvSpPr>
            <a:spLocks noEditPoints="1"/>
          </p:cNvSpPr>
          <p:nvPr/>
        </p:nvSpPr>
        <p:spPr bwMode="auto">
          <a:xfrm flipH="1">
            <a:off x="2887547" y="3744439"/>
            <a:ext cx="268806" cy="297229"/>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pic>
        <p:nvPicPr>
          <p:cNvPr id="5251" name="Picture 3" descr="C:\Users\Jonahs\Dropbox\Projects SCOTT\MEET Windows Azure\source\Background\tile-icon-bigdata.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743659" y="3681918"/>
            <a:ext cx="426053" cy="422268"/>
          </a:xfrm>
          <a:prstGeom prst="rect">
            <a:avLst/>
          </a:prstGeom>
          <a:noFill/>
          <a:extLst>
            <a:ext uri="{909E8E84-426E-40DD-AFC4-6F175D3DCCD1}">
              <a14:hiddenFill xmlns:a14="http://schemas.microsoft.com/office/drawing/2010/main">
                <a:solidFill>
                  <a:srgbClr val="FFFFFF"/>
                </a:solidFill>
              </a14:hiddenFill>
            </a:ext>
          </a:extLst>
        </p:spPr>
      </p:pic>
      <p:pic>
        <p:nvPicPr>
          <p:cNvPr id="5253" name="Picture 2" descr="C:\Users\Jonahs\Dropbox\Projects SCOTT\MEET Windows Azure\source\Background\tile-icon-storage.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652784" y="3692089"/>
            <a:ext cx="401874" cy="401931"/>
          </a:xfrm>
          <a:prstGeom prst="rect">
            <a:avLst/>
          </a:prstGeom>
          <a:noFill/>
          <a:extLst>
            <a:ext uri="{909E8E84-426E-40DD-AFC4-6F175D3DCCD1}">
              <a14:hiddenFill xmlns:a14="http://schemas.microsoft.com/office/drawing/2010/main">
                <a:solidFill>
                  <a:srgbClr val="FFFFFF"/>
                </a:solidFill>
              </a14:hiddenFill>
            </a:ext>
          </a:extLst>
        </p:spPr>
      </p:pic>
      <p:pic>
        <p:nvPicPr>
          <p:cNvPr id="5255" name="Picture 525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658184" y="3718551"/>
            <a:ext cx="385210" cy="349005"/>
          </a:xfrm>
          <a:prstGeom prst="rect">
            <a:avLst/>
          </a:prstGeom>
        </p:spPr>
      </p:pic>
      <p:sp>
        <p:nvSpPr>
          <p:cNvPr id="2550" name="Clpoud Icon"/>
          <p:cNvSpPr>
            <a:spLocks noChangeAspect="1"/>
          </p:cNvSpPr>
          <p:nvPr/>
        </p:nvSpPr>
        <p:spPr bwMode="black">
          <a:xfrm>
            <a:off x="7896245" y="1806519"/>
            <a:ext cx="3685936" cy="208294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2551" name="Data Cloud title"/>
          <p:cNvSpPr txBox="1"/>
          <p:nvPr/>
        </p:nvSpPr>
        <p:spPr>
          <a:xfrm>
            <a:off x="7377656" y="814727"/>
            <a:ext cx="4879660" cy="1049734"/>
          </a:xfrm>
          <a:prstGeom prst="rect">
            <a:avLst/>
          </a:prstGeom>
          <a:noFill/>
        </p:spPr>
        <p:txBody>
          <a:bodyPr wrap="square" lIns="179238" tIns="143391" rIns="179238" bIns="143391" rtlCol="0">
            <a:spAutoFit/>
          </a:bodyPr>
          <a:lstStyle/>
          <a:p>
            <a:pPr algn="ctr" defTabSz="913946">
              <a:lnSpc>
                <a:spcPct val="90000"/>
              </a:lnSpc>
            </a:pPr>
            <a:r>
              <a:rPr lang="en-US" sz="2744" spc="-49" dirty="0">
                <a:gradFill>
                  <a:gsLst>
                    <a:gs pos="2917">
                      <a:srgbClr val="00188F"/>
                    </a:gs>
                    <a:gs pos="30000">
                      <a:srgbClr val="00188F"/>
                    </a:gs>
                  </a:gsLst>
                  <a:lin ang="5400000" scaled="0"/>
                </a:gradFill>
                <a:latin typeface="Segoe UI Light"/>
              </a:rPr>
              <a:t>Azure datacenters,</a:t>
            </a:r>
          </a:p>
          <a:p>
            <a:pPr algn="ctr" defTabSz="913946">
              <a:lnSpc>
                <a:spcPct val="90000"/>
              </a:lnSpc>
            </a:pPr>
            <a:r>
              <a:rPr lang="en-US" sz="2744" spc="-49" dirty="0">
                <a:gradFill>
                  <a:gsLst>
                    <a:gs pos="2917">
                      <a:srgbClr val="00188F"/>
                    </a:gs>
                    <a:gs pos="30000">
                      <a:srgbClr val="00188F"/>
                    </a:gs>
                  </a:gsLst>
                  <a:lin ang="5400000" scaled="0"/>
                </a:gradFill>
                <a:latin typeface="Segoe UI Light"/>
              </a:rPr>
              <a:t>your datacenters.</a:t>
            </a:r>
          </a:p>
        </p:txBody>
      </p:sp>
      <p:pic>
        <p:nvPicPr>
          <p:cNvPr id="2552" name="Picture 2551"/>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flipH="1">
            <a:off x="9225524" y="3384762"/>
            <a:ext cx="2072072" cy="3185513"/>
          </a:xfrm>
          <a:prstGeom prst="rect">
            <a:avLst/>
          </a:prstGeom>
        </p:spPr>
      </p:pic>
      <p:cxnSp>
        <p:nvCxnSpPr>
          <p:cNvPr id="2553" name="Straight Arrow Connector 2552"/>
          <p:cNvCxnSpPr/>
          <p:nvPr/>
        </p:nvCxnSpPr>
        <p:spPr>
          <a:xfrm>
            <a:off x="9851848" y="3826587"/>
            <a:ext cx="0" cy="1368332"/>
          </a:xfrm>
          <a:prstGeom prst="straightConnector1">
            <a:avLst/>
          </a:prstGeom>
          <a:ln w="60325" cap="rnd">
            <a:solidFill>
              <a:schemeClr val="accent2"/>
            </a:solidFill>
            <a:prstDash val="sysDot"/>
            <a:headEnd type="triangle" w="sm" len="sm"/>
            <a:tailEnd type="triangle" w="sm" len="sm"/>
          </a:ln>
        </p:spPr>
        <p:style>
          <a:lnRef idx="1">
            <a:schemeClr val="accent1"/>
          </a:lnRef>
          <a:fillRef idx="0">
            <a:schemeClr val="accent1"/>
          </a:fillRef>
          <a:effectRef idx="0">
            <a:schemeClr val="accent1"/>
          </a:effectRef>
          <a:fontRef idx="minor">
            <a:schemeClr val="tx1"/>
          </a:fontRef>
        </p:style>
      </p:cxnSp>
      <p:pic>
        <p:nvPicPr>
          <p:cNvPr id="5233" name="Picture 523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833804" y="4944232"/>
            <a:ext cx="376293" cy="340430"/>
          </a:xfrm>
          <a:prstGeom prst="rect">
            <a:avLst/>
          </a:prstGeom>
          <a:noFill/>
          <a:ln>
            <a:noFill/>
          </a:ln>
        </p:spPr>
      </p:pic>
      <p:sp>
        <p:nvSpPr>
          <p:cNvPr id="5241" name="Freeform 78"/>
          <p:cNvSpPr>
            <a:spLocks noEditPoints="1"/>
          </p:cNvSpPr>
          <p:nvPr/>
        </p:nvSpPr>
        <p:spPr bwMode="black">
          <a:xfrm>
            <a:off x="3763588" y="4924086"/>
            <a:ext cx="386193" cy="36964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0637" tIns="40319" rIns="80637" bIns="40319" numCol="1" anchor="t" anchorCtr="0" compatLnSpc="1">
            <a:prstTxWarp prst="textNoShape">
              <a:avLst/>
            </a:prstTxWarp>
          </a:bodyPr>
          <a:lstStyle/>
          <a:p>
            <a:pPr defTabSz="670914"/>
            <a:endParaRPr lang="en-US" sz="914" dirty="0">
              <a:solidFill>
                <a:srgbClr val="FFFFFF"/>
              </a:solidFill>
            </a:endParaRPr>
          </a:p>
        </p:txBody>
      </p:sp>
      <p:sp>
        <p:nvSpPr>
          <p:cNvPr id="2566" name="Rectangle 2565"/>
          <p:cNvSpPr/>
          <p:nvPr/>
        </p:nvSpPr>
        <p:spPr bwMode="auto">
          <a:xfrm>
            <a:off x="9473313" y="3098079"/>
            <a:ext cx="759470" cy="6908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882" dirty="0" err="1">
                <a:gradFill>
                  <a:gsLst>
                    <a:gs pos="0">
                      <a:srgbClr val="FFFFFF"/>
                    </a:gs>
                    <a:gs pos="100000">
                      <a:srgbClr val="FFFFFF"/>
                    </a:gs>
                  </a:gsLst>
                  <a:lin ang="5400000" scaled="0"/>
                </a:gradFill>
              </a:rPr>
              <a:t>vpn</a:t>
            </a:r>
            <a:endParaRPr lang="en-US" sz="882" dirty="0">
              <a:gradFill>
                <a:gsLst>
                  <a:gs pos="0">
                    <a:srgbClr val="FFFFFF"/>
                  </a:gs>
                  <a:gs pos="100000">
                    <a:srgbClr val="FFFFFF"/>
                  </a:gs>
                </a:gsLst>
                <a:lin ang="5400000" scaled="0"/>
              </a:gradFill>
            </a:endParaRPr>
          </a:p>
        </p:txBody>
      </p:sp>
      <p:grpSp>
        <p:nvGrpSpPr>
          <p:cNvPr id="17" name="Group 16"/>
          <p:cNvGrpSpPr/>
          <p:nvPr/>
        </p:nvGrpSpPr>
        <p:grpSpPr>
          <a:xfrm>
            <a:off x="9584967" y="3109024"/>
            <a:ext cx="707706" cy="683679"/>
            <a:chOff x="9778092" y="3170784"/>
            <a:chExt cx="722085" cy="697570"/>
          </a:xfrm>
        </p:grpSpPr>
        <p:sp>
          <p:nvSpPr>
            <p:cNvPr id="2567" name="Freeform 58"/>
            <p:cNvSpPr>
              <a:spLocks noEditPoints="1"/>
            </p:cNvSpPr>
            <p:nvPr/>
          </p:nvSpPr>
          <p:spPr bwMode="black">
            <a:xfrm>
              <a:off x="9889059" y="3248750"/>
              <a:ext cx="325120" cy="3485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37" tIns="40319" rIns="80637" bIns="40319" numCol="1" anchor="t" anchorCtr="0" compatLnSpc="1">
              <a:prstTxWarp prst="textNoShape">
                <a:avLst/>
              </a:prstTxWarp>
            </a:bodyPr>
            <a:lstStyle/>
            <a:p>
              <a:pPr defTabSz="670914"/>
              <a:endParaRPr lang="en-US" sz="914">
                <a:solidFill>
                  <a:srgbClr val="FFFFFF"/>
                </a:solidFill>
              </a:endParaRPr>
            </a:p>
          </p:txBody>
        </p:sp>
        <p:sp>
          <p:nvSpPr>
            <p:cNvPr id="2568" name="L-Shape 2567"/>
            <p:cNvSpPr/>
            <p:nvPr/>
          </p:nvSpPr>
          <p:spPr bwMode="auto">
            <a:xfrm flipV="1">
              <a:off x="9778092" y="3170784"/>
              <a:ext cx="722085" cy="697570"/>
            </a:xfrm>
            <a:prstGeom prst="corner">
              <a:avLst>
                <a:gd name="adj1" fmla="val 43057"/>
                <a:gd name="adj2" fmla="val 74857"/>
              </a:avLst>
            </a:prstGeom>
            <a:noFill/>
            <a:ln w="1587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sp>
        <p:nvSpPr>
          <p:cNvPr id="2571" name="Rectangle 2570"/>
          <p:cNvSpPr/>
          <p:nvPr/>
        </p:nvSpPr>
        <p:spPr bwMode="auto">
          <a:xfrm>
            <a:off x="9619616" y="2367444"/>
            <a:ext cx="759470" cy="6908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882" dirty="0">
                <a:gradFill>
                  <a:gsLst>
                    <a:gs pos="0">
                      <a:srgbClr val="FFFFFF"/>
                    </a:gs>
                    <a:gs pos="100000">
                      <a:srgbClr val="FFFFFF"/>
                    </a:gs>
                  </a:gsLst>
                  <a:lin ang="5400000" scaled="0"/>
                </a:gradFill>
              </a:rPr>
              <a:t>virtual network</a:t>
            </a:r>
          </a:p>
        </p:txBody>
      </p:sp>
      <p:grpSp>
        <p:nvGrpSpPr>
          <p:cNvPr id="15" name="Group 14"/>
          <p:cNvGrpSpPr/>
          <p:nvPr/>
        </p:nvGrpSpPr>
        <p:grpSpPr>
          <a:xfrm>
            <a:off x="9591720" y="2378391"/>
            <a:ext cx="709557" cy="683678"/>
            <a:chOff x="9784981" y="2425306"/>
            <a:chExt cx="723974" cy="697569"/>
          </a:xfrm>
        </p:grpSpPr>
        <p:sp>
          <p:nvSpPr>
            <p:cNvPr id="2572" name="Freeform 78"/>
            <p:cNvSpPr>
              <a:spLocks noEditPoints="1"/>
            </p:cNvSpPr>
            <p:nvPr/>
          </p:nvSpPr>
          <p:spPr bwMode="black">
            <a:xfrm>
              <a:off x="10033893" y="2467063"/>
              <a:ext cx="334002" cy="319689"/>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0637" tIns="40319" rIns="80637" bIns="40319" numCol="1" anchor="t" anchorCtr="0" compatLnSpc="1">
              <a:prstTxWarp prst="textNoShape">
                <a:avLst/>
              </a:prstTxWarp>
            </a:bodyPr>
            <a:lstStyle/>
            <a:p>
              <a:pPr defTabSz="670914"/>
              <a:endParaRPr lang="en-US" sz="914" dirty="0">
                <a:solidFill>
                  <a:srgbClr val="FFFFFF"/>
                </a:solidFill>
              </a:endParaRPr>
            </a:p>
          </p:txBody>
        </p:sp>
        <p:sp>
          <p:nvSpPr>
            <p:cNvPr id="2573" name="L-Shape 2572"/>
            <p:cNvSpPr/>
            <p:nvPr/>
          </p:nvSpPr>
          <p:spPr bwMode="auto">
            <a:xfrm flipH="1">
              <a:off x="9784981" y="2425306"/>
              <a:ext cx="723974" cy="697569"/>
            </a:xfrm>
            <a:prstGeom prst="corner">
              <a:avLst>
                <a:gd name="adj1" fmla="val 38444"/>
                <a:gd name="adj2" fmla="val 86106"/>
              </a:avLst>
            </a:prstGeom>
            <a:noFill/>
            <a:ln w="1587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sp>
        <p:nvSpPr>
          <p:cNvPr id="2574" name="Virtual Machines - Label"/>
          <p:cNvSpPr/>
          <p:nvPr/>
        </p:nvSpPr>
        <p:spPr bwMode="auto">
          <a:xfrm>
            <a:off x="8841976" y="2371045"/>
            <a:ext cx="759471" cy="6908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60924" rIns="121848" bIns="60924" numCol="1" rtlCol="0" anchor="b" anchorCtr="0" compatLnSpc="1">
            <a:prstTxWarp prst="textNoShape">
              <a:avLst/>
            </a:prstTxWarp>
          </a:bodyPr>
          <a:lstStyle/>
          <a:p>
            <a:pPr algn="ctr" defTabSz="895512" fontAlgn="base">
              <a:lnSpc>
                <a:spcPct val="80000"/>
              </a:lnSpc>
              <a:spcBef>
                <a:spcPct val="0"/>
              </a:spcBef>
              <a:spcAft>
                <a:spcPct val="0"/>
              </a:spcAft>
            </a:pPr>
            <a:r>
              <a:rPr lang="en-US" sz="882" dirty="0">
                <a:gradFill>
                  <a:gsLst>
                    <a:gs pos="0">
                      <a:srgbClr val="FFFFFF"/>
                    </a:gs>
                    <a:gs pos="100000">
                      <a:srgbClr val="FFFFFF"/>
                    </a:gs>
                  </a:gsLst>
                  <a:lin ang="5400000" scaled="0"/>
                </a:gradFill>
              </a:rPr>
              <a:t>virtual machines</a:t>
            </a:r>
          </a:p>
        </p:txBody>
      </p:sp>
      <p:grpSp>
        <p:nvGrpSpPr>
          <p:cNvPr id="16" name="Group 15"/>
          <p:cNvGrpSpPr/>
          <p:nvPr/>
        </p:nvGrpSpPr>
        <p:grpSpPr>
          <a:xfrm>
            <a:off x="8885876" y="2381991"/>
            <a:ext cx="715181" cy="683678"/>
            <a:chOff x="9064796" y="2428980"/>
            <a:chExt cx="729712" cy="697569"/>
          </a:xfrm>
        </p:grpSpPr>
        <p:pic>
          <p:nvPicPr>
            <p:cNvPr id="2575" name="Picture 257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244735" y="2488161"/>
              <a:ext cx="325439" cy="294423"/>
            </a:xfrm>
            <a:prstGeom prst="rect">
              <a:avLst/>
            </a:prstGeom>
            <a:noFill/>
            <a:ln>
              <a:noFill/>
            </a:ln>
          </p:spPr>
        </p:pic>
        <p:sp>
          <p:nvSpPr>
            <p:cNvPr id="2576" name="L-Shape 2575"/>
            <p:cNvSpPr/>
            <p:nvPr/>
          </p:nvSpPr>
          <p:spPr bwMode="auto">
            <a:xfrm flipV="1">
              <a:off x="9064796" y="2428980"/>
              <a:ext cx="729712" cy="697569"/>
            </a:xfrm>
            <a:prstGeom prst="corner">
              <a:avLst>
                <a:gd name="adj1" fmla="val 38444"/>
                <a:gd name="adj2" fmla="val 93695"/>
              </a:avLst>
            </a:prstGeom>
            <a:noFill/>
            <a:ln w="1587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sp>
        <p:nvSpPr>
          <p:cNvPr id="5243" name="Freeform 58"/>
          <p:cNvSpPr>
            <a:spLocks noEditPoints="1"/>
          </p:cNvSpPr>
          <p:nvPr/>
        </p:nvSpPr>
        <p:spPr bwMode="black">
          <a:xfrm>
            <a:off x="4665758" y="4965953"/>
            <a:ext cx="375924" cy="402978"/>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37" tIns="40319" rIns="80637" bIns="40319" numCol="1" anchor="t" anchorCtr="0" compatLnSpc="1">
            <a:prstTxWarp prst="textNoShape">
              <a:avLst/>
            </a:prstTxWarp>
          </a:bodyPr>
          <a:lstStyle/>
          <a:p>
            <a:pPr defTabSz="670914"/>
            <a:endParaRPr lang="en-US" sz="914">
              <a:solidFill>
                <a:srgbClr val="FFFFFF"/>
              </a:solidFill>
            </a:endParaRPr>
          </a:p>
        </p:txBody>
      </p:sp>
      <p:grpSp>
        <p:nvGrpSpPr>
          <p:cNvPr id="2589" name="Group 2588"/>
          <p:cNvGrpSpPr/>
          <p:nvPr/>
        </p:nvGrpSpPr>
        <p:grpSpPr>
          <a:xfrm>
            <a:off x="9491568" y="5245837"/>
            <a:ext cx="720560" cy="720562"/>
            <a:chOff x="8383457" y="4980611"/>
            <a:chExt cx="1037196" cy="1037198"/>
          </a:xfrm>
        </p:grpSpPr>
        <p:sp>
          <p:nvSpPr>
            <p:cNvPr id="2592" name="Oval 2591"/>
            <p:cNvSpPr/>
            <p:nvPr/>
          </p:nvSpPr>
          <p:spPr bwMode="auto">
            <a:xfrm>
              <a:off x="8383457" y="4980611"/>
              <a:ext cx="1037196" cy="1037198"/>
            </a:xfrm>
            <a:prstGeom prst="ellipse">
              <a:avLst/>
            </a:prstGeom>
            <a:solidFill>
              <a:srgbClr val="FFFFFF"/>
            </a:solidFill>
            <a:ln w="31750">
              <a:solidFill>
                <a:srgbClr val="00188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sp>
          <p:nvSpPr>
            <p:cNvPr id="5054" name="Freeform 5"/>
            <p:cNvSpPr>
              <a:spLocks noEditPoints="1"/>
            </p:cNvSpPr>
            <p:nvPr/>
          </p:nvSpPr>
          <p:spPr bwMode="auto">
            <a:xfrm>
              <a:off x="8534625" y="5135662"/>
              <a:ext cx="720726"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rgbClr val="00188F"/>
            </a:solidFill>
            <a:ln>
              <a:noFill/>
            </a:ln>
          </p:spPr>
          <p:txBody>
            <a:bodyPr vert="horz" wrap="square" lIns="89619" tIns="44810" rIns="89619" bIns="44810" numCol="1" anchor="t" anchorCtr="0" compatLnSpc="1">
              <a:prstTxWarp prst="textNoShape">
                <a:avLst/>
              </a:prstTxWarp>
            </a:bodyPr>
            <a:lstStyle/>
            <a:p>
              <a:pPr defTabSz="913946"/>
              <a:endParaRPr lang="en-US" sz="1764">
                <a:solidFill>
                  <a:srgbClr val="505050"/>
                </a:solidFill>
              </a:endParaRPr>
            </a:p>
          </p:txBody>
        </p:sp>
        <p:sp>
          <p:nvSpPr>
            <p:cNvPr id="5055" name="Rectangle 5054"/>
            <p:cNvSpPr/>
            <p:nvPr/>
          </p:nvSpPr>
          <p:spPr>
            <a:xfrm>
              <a:off x="8655809" y="5659109"/>
              <a:ext cx="492495" cy="328299"/>
            </a:xfrm>
            <a:prstGeom prst="rect">
              <a:avLst/>
            </a:prstGeom>
          </p:spPr>
          <p:txBody>
            <a:bodyPr wrap="none">
              <a:spAutoFit/>
            </a:bodyPr>
            <a:lstStyle/>
            <a:p>
              <a:pPr algn="ctr" defTabSz="913946"/>
              <a:r>
                <a:rPr lang="en-US" sz="882" b="1" spc="-49" dirty="0" err="1">
                  <a:solidFill>
                    <a:srgbClr val="00188F"/>
                  </a:solidFill>
                  <a:latin typeface="Segoe UI Light"/>
                </a:rPr>
                <a:t>vpn</a:t>
              </a:r>
              <a:endParaRPr lang="en-US" sz="882" dirty="0">
                <a:solidFill>
                  <a:srgbClr val="00188F"/>
                </a:solidFill>
              </a:endParaRPr>
            </a:p>
          </p:txBody>
        </p:sp>
      </p:grpSp>
      <p:grpSp>
        <p:nvGrpSpPr>
          <p:cNvPr id="5056" name="Group 5055"/>
          <p:cNvGrpSpPr/>
          <p:nvPr/>
        </p:nvGrpSpPr>
        <p:grpSpPr>
          <a:xfrm>
            <a:off x="3475781" y="4875804"/>
            <a:ext cx="837103" cy="806572"/>
            <a:chOff x="3697179" y="5125862"/>
            <a:chExt cx="854111" cy="822960"/>
          </a:xfrm>
        </p:grpSpPr>
        <p:sp>
          <p:nvSpPr>
            <p:cNvPr id="5057" name="Freeform 78"/>
            <p:cNvSpPr>
              <a:spLocks noEditPoints="1"/>
            </p:cNvSpPr>
            <p:nvPr/>
          </p:nvSpPr>
          <p:spPr bwMode="black">
            <a:xfrm>
              <a:off x="3990834" y="5175124"/>
              <a:ext cx="394040" cy="37715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000607"/>
            </a:solidFill>
            <a:ln>
              <a:noFill/>
            </a:ln>
          </p:spPr>
          <p:txBody>
            <a:bodyPr vert="horz" wrap="square" lIns="80637" tIns="40319" rIns="80637" bIns="40319" numCol="1" anchor="t" anchorCtr="0" compatLnSpc="1">
              <a:prstTxWarp prst="textNoShape">
                <a:avLst/>
              </a:prstTxWarp>
            </a:bodyPr>
            <a:lstStyle/>
            <a:p>
              <a:pPr defTabSz="670914"/>
              <a:endParaRPr lang="en-US" sz="914" dirty="0">
                <a:solidFill>
                  <a:srgbClr val="FFFFFF"/>
                </a:solidFill>
              </a:endParaRPr>
            </a:p>
          </p:txBody>
        </p:sp>
        <p:sp>
          <p:nvSpPr>
            <p:cNvPr id="5058" name="L-Shape 5057"/>
            <p:cNvSpPr/>
            <p:nvPr/>
          </p:nvSpPr>
          <p:spPr bwMode="auto">
            <a:xfrm flipH="1">
              <a:off x="3697179" y="5125862"/>
              <a:ext cx="854111" cy="822960"/>
            </a:xfrm>
            <a:prstGeom prst="corner">
              <a:avLst>
                <a:gd name="adj1" fmla="val 38444"/>
                <a:gd name="adj2" fmla="val 86106"/>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5059" name="Group 5058"/>
          <p:cNvGrpSpPr/>
          <p:nvPr/>
        </p:nvGrpSpPr>
        <p:grpSpPr>
          <a:xfrm>
            <a:off x="2625749" y="4875804"/>
            <a:ext cx="843737" cy="806572"/>
            <a:chOff x="2829877" y="5125862"/>
            <a:chExt cx="860880" cy="822960"/>
          </a:xfrm>
        </p:grpSpPr>
        <p:pic>
          <p:nvPicPr>
            <p:cNvPr id="5060" name="Picture 505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042160" y="5195680"/>
              <a:ext cx="383938" cy="347347"/>
            </a:xfrm>
            <a:prstGeom prst="rect">
              <a:avLst/>
            </a:prstGeom>
            <a:noFill/>
            <a:ln>
              <a:noFill/>
            </a:ln>
          </p:spPr>
        </p:pic>
        <p:sp>
          <p:nvSpPr>
            <p:cNvPr id="5061" name="L-Shape 5060"/>
            <p:cNvSpPr/>
            <p:nvPr/>
          </p:nvSpPr>
          <p:spPr bwMode="auto">
            <a:xfrm flipV="1">
              <a:off x="2829877" y="5125862"/>
              <a:ext cx="860880" cy="822960"/>
            </a:xfrm>
            <a:prstGeom prst="corner">
              <a:avLst>
                <a:gd name="adj1" fmla="val 38444"/>
                <a:gd name="adj2" fmla="val 93695"/>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grpSp>
        <p:nvGrpSpPr>
          <p:cNvPr id="21" name="Group 20"/>
          <p:cNvGrpSpPr/>
          <p:nvPr/>
        </p:nvGrpSpPr>
        <p:grpSpPr>
          <a:xfrm>
            <a:off x="4535885" y="4876458"/>
            <a:ext cx="834865" cy="806572"/>
            <a:chOff x="4626423" y="4974129"/>
            <a:chExt cx="851828" cy="822960"/>
          </a:xfrm>
        </p:grpSpPr>
        <p:sp>
          <p:nvSpPr>
            <p:cNvPr id="2557" name="Freeform 58"/>
            <p:cNvSpPr>
              <a:spLocks noEditPoints="1"/>
            </p:cNvSpPr>
            <p:nvPr/>
          </p:nvSpPr>
          <p:spPr bwMode="black">
            <a:xfrm>
              <a:off x="4758936" y="5065442"/>
              <a:ext cx="383562" cy="41116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000607"/>
            </a:solidFill>
            <a:ln>
              <a:noFill/>
            </a:ln>
          </p:spPr>
          <p:txBody>
            <a:bodyPr vert="horz" wrap="square" lIns="80637" tIns="40319" rIns="80637" bIns="40319" numCol="1" anchor="t" anchorCtr="0" compatLnSpc="1">
              <a:prstTxWarp prst="textNoShape">
                <a:avLst/>
              </a:prstTxWarp>
            </a:bodyPr>
            <a:lstStyle/>
            <a:p>
              <a:pPr defTabSz="670914"/>
              <a:endParaRPr lang="en-US" sz="914">
                <a:solidFill>
                  <a:srgbClr val="FFFFFF"/>
                </a:solidFill>
              </a:endParaRPr>
            </a:p>
          </p:txBody>
        </p:sp>
        <p:sp>
          <p:nvSpPr>
            <p:cNvPr id="5062" name="L-Shape 5061"/>
            <p:cNvSpPr/>
            <p:nvPr/>
          </p:nvSpPr>
          <p:spPr bwMode="auto">
            <a:xfrm flipV="1">
              <a:off x="4626423" y="4974129"/>
              <a:ext cx="851828" cy="822960"/>
            </a:xfrm>
            <a:prstGeom prst="corner">
              <a:avLst>
                <a:gd name="adj1" fmla="val 43057"/>
                <a:gd name="adj2" fmla="val 74857"/>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spTree>
    <p:extLst>
      <p:ext uri="{BB962C8B-B14F-4D97-AF65-F5344CB8AC3E}">
        <p14:creationId xmlns:p14="http://schemas.microsoft.com/office/powerpoint/2010/main" val="7025360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500"/>
                                  </p:stCondLst>
                                  <p:childTnLst>
                                    <p:set>
                                      <p:cBhvr>
                                        <p:cTn id="6" dur="1" fill="hold">
                                          <p:stCondLst>
                                            <p:cond delay="0"/>
                                          </p:stCondLst>
                                        </p:cTn>
                                        <p:tgtEl>
                                          <p:spTgt spid="2550"/>
                                        </p:tgtEl>
                                        <p:attrNameLst>
                                          <p:attrName>style.visibility</p:attrName>
                                        </p:attrNameLst>
                                      </p:cBhvr>
                                      <p:to>
                                        <p:strVal val="visible"/>
                                      </p:to>
                                    </p:set>
                                    <p:anim calcmode="lin" valueType="num">
                                      <p:cBhvr>
                                        <p:cTn id="7" dur="250" fill="hold"/>
                                        <p:tgtEl>
                                          <p:spTgt spid="2550"/>
                                        </p:tgtEl>
                                        <p:attrNameLst>
                                          <p:attrName>ppt_w</p:attrName>
                                        </p:attrNameLst>
                                      </p:cBhvr>
                                      <p:tavLst>
                                        <p:tav tm="0">
                                          <p:val>
                                            <p:fltVal val="0"/>
                                          </p:val>
                                        </p:tav>
                                        <p:tav tm="100000">
                                          <p:val>
                                            <p:strVal val="#ppt_w"/>
                                          </p:val>
                                        </p:tav>
                                      </p:tavLst>
                                    </p:anim>
                                    <p:anim calcmode="lin" valueType="num">
                                      <p:cBhvr>
                                        <p:cTn id="8" dur="250" fill="hold"/>
                                        <p:tgtEl>
                                          <p:spTgt spid="2550"/>
                                        </p:tgtEl>
                                        <p:attrNameLst>
                                          <p:attrName>ppt_h</p:attrName>
                                        </p:attrNameLst>
                                      </p:cBhvr>
                                      <p:tavLst>
                                        <p:tav tm="0">
                                          <p:val>
                                            <p:fltVal val="0"/>
                                          </p:val>
                                        </p:tav>
                                        <p:tav tm="100000">
                                          <p:val>
                                            <p:strVal val="#ppt_h"/>
                                          </p:val>
                                        </p:tav>
                                      </p:tavLst>
                                    </p:anim>
                                    <p:animEffect transition="in" filter="fade">
                                      <p:cBhvr>
                                        <p:cTn id="9" dur="250"/>
                                        <p:tgtEl>
                                          <p:spTgt spid="2550"/>
                                        </p:tgtEl>
                                      </p:cBhvr>
                                    </p:animEffect>
                                  </p:childTnLst>
                                </p:cTn>
                              </p:par>
                              <p:par>
                                <p:cTn id="10" presetID="6" presetClass="emph" presetSubtype="0" decel="100000" fill="hold" grpId="1" nodeType="withEffect">
                                  <p:stCondLst>
                                    <p:cond delay="700"/>
                                  </p:stCondLst>
                                  <p:childTnLst>
                                    <p:animScale>
                                      <p:cBhvr>
                                        <p:cTn id="11" dur="250" fill="hold"/>
                                        <p:tgtEl>
                                          <p:spTgt spid="2550"/>
                                        </p:tgtEl>
                                      </p:cBhvr>
                                      <p:by x="110000" y="110000"/>
                                    </p:animScale>
                                  </p:childTnLst>
                                </p:cTn>
                              </p:par>
                              <p:par>
                                <p:cTn id="12" presetID="6" presetClass="emph" presetSubtype="0" decel="100000" fill="hold" grpId="2" nodeType="withEffect">
                                  <p:stCondLst>
                                    <p:cond delay="800"/>
                                  </p:stCondLst>
                                  <p:childTnLst>
                                    <p:animScale>
                                      <p:cBhvr>
                                        <p:cTn id="13" dur="250" fill="hold"/>
                                        <p:tgtEl>
                                          <p:spTgt spid="2550"/>
                                        </p:tgtEl>
                                      </p:cBhvr>
                                      <p:by x="91000" y="91000"/>
                                    </p:animScale>
                                  </p:childTnLst>
                                </p:cTn>
                              </p:par>
                              <p:par>
                                <p:cTn id="14" presetID="10" presetClass="entr" presetSubtype="0" fill="hold" grpId="0" nodeType="withEffect">
                                  <p:stCondLst>
                                    <p:cond delay="500"/>
                                  </p:stCondLst>
                                  <p:childTnLst>
                                    <p:set>
                                      <p:cBhvr>
                                        <p:cTn id="15" dur="1" fill="hold">
                                          <p:stCondLst>
                                            <p:cond delay="0"/>
                                          </p:stCondLst>
                                        </p:cTn>
                                        <p:tgtEl>
                                          <p:spTgt spid="2551"/>
                                        </p:tgtEl>
                                        <p:attrNameLst>
                                          <p:attrName>style.visibility</p:attrName>
                                        </p:attrNameLst>
                                      </p:cBhvr>
                                      <p:to>
                                        <p:strVal val="visible"/>
                                      </p:to>
                                    </p:set>
                                    <p:animEffect transition="in" filter="fade">
                                      <p:cBhvr>
                                        <p:cTn id="16" dur="500"/>
                                        <p:tgtEl>
                                          <p:spTgt spid="2551"/>
                                        </p:tgtEl>
                                      </p:cBhvr>
                                    </p:animEffect>
                                  </p:childTnLst>
                                </p:cTn>
                              </p:par>
                              <p:par>
                                <p:cTn id="17" presetID="10" presetClass="exit" presetSubtype="0" fill="hold" grpId="0" nodeType="withEffect">
                                  <p:stCondLst>
                                    <p:cond delay="1100"/>
                                  </p:stCondLst>
                                  <p:childTnLst>
                                    <p:animEffect transition="out" filter="fade">
                                      <p:cBhvr>
                                        <p:cTn id="18" dur="350"/>
                                        <p:tgtEl>
                                          <p:spTgt spid="5243"/>
                                        </p:tgtEl>
                                      </p:cBhvr>
                                    </p:animEffect>
                                    <p:set>
                                      <p:cBhvr>
                                        <p:cTn id="19" dur="1" fill="hold">
                                          <p:stCondLst>
                                            <p:cond delay="349"/>
                                          </p:stCondLst>
                                        </p:cTn>
                                        <p:tgtEl>
                                          <p:spTgt spid="5243"/>
                                        </p:tgtEl>
                                        <p:attrNameLst>
                                          <p:attrName>style.visibility</p:attrName>
                                        </p:attrNameLst>
                                      </p:cBhvr>
                                      <p:to>
                                        <p:strVal val="hidden"/>
                                      </p:to>
                                    </p:set>
                                  </p:childTnLst>
                                </p:cTn>
                              </p:par>
                              <p:par>
                                <p:cTn id="20" presetID="10" presetClass="exit" presetSubtype="0" fill="hold" grpId="0" nodeType="withEffect">
                                  <p:stCondLst>
                                    <p:cond delay="1100"/>
                                  </p:stCondLst>
                                  <p:childTnLst>
                                    <p:animEffect transition="out" filter="fade">
                                      <p:cBhvr>
                                        <p:cTn id="21" dur="350"/>
                                        <p:tgtEl>
                                          <p:spTgt spid="5241"/>
                                        </p:tgtEl>
                                      </p:cBhvr>
                                    </p:animEffect>
                                    <p:set>
                                      <p:cBhvr>
                                        <p:cTn id="22" dur="1" fill="hold">
                                          <p:stCondLst>
                                            <p:cond delay="349"/>
                                          </p:stCondLst>
                                        </p:cTn>
                                        <p:tgtEl>
                                          <p:spTgt spid="5241"/>
                                        </p:tgtEl>
                                        <p:attrNameLst>
                                          <p:attrName>style.visibility</p:attrName>
                                        </p:attrNameLst>
                                      </p:cBhvr>
                                      <p:to>
                                        <p:strVal val="hidden"/>
                                      </p:to>
                                    </p:set>
                                  </p:childTnLst>
                                </p:cTn>
                              </p:par>
                              <p:par>
                                <p:cTn id="23" presetID="10" presetClass="exit" presetSubtype="0" fill="hold" nodeType="withEffect">
                                  <p:stCondLst>
                                    <p:cond delay="1100"/>
                                  </p:stCondLst>
                                  <p:childTnLst>
                                    <p:animEffect transition="out" filter="fade">
                                      <p:cBhvr>
                                        <p:cTn id="24" dur="350"/>
                                        <p:tgtEl>
                                          <p:spTgt spid="5233"/>
                                        </p:tgtEl>
                                      </p:cBhvr>
                                    </p:animEffect>
                                    <p:set>
                                      <p:cBhvr>
                                        <p:cTn id="25" dur="1" fill="hold">
                                          <p:stCondLst>
                                            <p:cond delay="349"/>
                                          </p:stCondLst>
                                        </p:cTn>
                                        <p:tgtEl>
                                          <p:spTgt spid="5233"/>
                                        </p:tgtEl>
                                        <p:attrNameLst>
                                          <p:attrName>style.visibility</p:attrName>
                                        </p:attrNameLst>
                                      </p:cBhvr>
                                      <p:to>
                                        <p:strVal val="hidden"/>
                                      </p:to>
                                    </p:set>
                                  </p:childTnLst>
                                </p:cTn>
                              </p:par>
                              <p:par>
                                <p:cTn id="26" presetID="10" presetClass="entr" presetSubtype="0" fill="hold" nodeType="withEffect">
                                  <p:stCondLst>
                                    <p:cond delay="1100"/>
                                  </p:stCondLst>
                                  <p:childTnLst>
                                    <p:set>
                                      <p:cBhvr>
                                        <p:cTn id="27" dur="1" fill="hold">
                                          <p:stCondLst>
                                            <p:cond delay="0"/>
                                          </p:stCondLst>
                                        </p:cTn>
                                        <p:tgtEl>
                                          <p:spTgt spid="5059"/>
                                        </p:tgtEl>
                                        <p:attrNameLst>
                                          <p:attrName>style.visibility</p:attrName>
                                        </p:attrNameLst>
                                      </p:cBhvr>
                                      <p:to>
                                        <p:strVal val="visible"/>
                                      </p:to>
                                    </p:set>
                                    <p:animEffect transition="in" filter="fade">
                                      <p:cBhvr>
                                        <p:cTn id="28" dur="350"/>
                                        <p:tgtEl>
                                          <p:spTgt spid="5059"/>
                                        </p:tgtEl>
                                      </p:cBhvr>
                                    </p:animEffect>
                                  </p:childTnLst>
                                </p:cTn>
                              </p:par>
                              <p:par>
                                <p:cTn id="29" presetID="10" presetClass="entr" presetSubtype="0" fill="hold" nodeType="withEffect">
                                  <p:stCondLst>
                                    <p:cond delay="1100"/>
                                  </p:stCondLst>
                                  <p:childTnLst>
                                    <p:set>
                                      <p:cBhvr>
                                        <p:cTn id="30" dur="1" fill="hold">
                                          <p:stCondLst>
                                            <p:cond delay="0"/>
                                          </p:stCondLst>
                                        </p:cTn>
                                        <p:tgtEl>
                                          <p:spTgt spid="5056"/>
                                        </p:tgtEl>
                                        <p:attrNameLst>
                                          <p:attrName>style.visibility</p:attrName>
                                        </p:attrNameLst>
                                      </p:cBhvr>
                                      <p:to>
                                        <p:strVal val="visible"/>
                                      </p:to>
                                    </p:set>
                                    <p:animEffect transition="in" filter="fade">
                                      <p:cBhvr>
                                        <p:cTn id="31" dur="350"/>
                                        <p:tgtEl>
                                          <p:spTgt spid="5056"/>
                                        </p:tgtEl>
                                      </p:cBhvr>
                                    </p:animEffect>
                                  </p:childTnLst>
                                </p:cTn>
                              </p:par>
                              <p:par>
                                <p:cTn id="32" presetID="10" presetClass="entr" presetSubtype="0" fill="hold" nodeType="withEffect">
                                  <p:stCondLst>
                                    <p:cond delay="110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35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6" presetClass="emph" presetSubtype="0" decel="100000" fill="hold" nodeType="clickEffect">
                                  <p:stCondLst>
                                    <p:cond delay="0"/>
                                  </p:stCondLst>
                                  <p:childTnLst>
                                    <p:animScale>
                                      <p:cBhvr>
                                        <p:cTn id="38" dur="1000" fill="hold"/>
                                        <p:tgtEl>
                                          <p:spTgt spid="5059"/>
                                        </p:tgtEl>
                                      </p:cBhvr>
                                      <p:by x="85000" y="85000"/>
                                    </p:animScale>
                                  </p:childTnLst>
                                </p:cTn>
                              </p:par>
                              <p:par>
                                <p:cTn id="39" presetID="6" presetClass="emph" presetSubtype="0" decel="100000" fill="hold" nodeType="withEffect">
                                  <p:stCondLst>
                                    <p:cond delay="0"/>
                                  </p:stCondLst>
                                  <p:childTnLst>
                                    <p:animScale>
                                      <p:cBhvr>
                                        <p:cTn id="40" dur="1000" fill="hold"/>
                                        <p:tgtEl>
                                          <p:spTgt spid="5056"/>
                                        </p:tgtEl>
                                      </p:cBhvr>
                                      <p:by x="85000" y="85000"/>
                                    </p:animScale>
                                  </p:childTnLst>
                                </p:cTn>
                              </p:par>
                              <p:par>
                                <p:cTn id="41" presetID="6" presetClass="emph" presetSubtype="0" decel="100000" fill="hold" nodeType="withEffect">
                                  <p:stCondLst>
                                    <p:cond delay="0"/>
                                  </p:stCondLst>
                                  <p:childTnLst>
                                    <p:animScale>
                                      <p:cBhvr>
                                        <p:cTn id="42" dur="1000" fill="hold"/>
                                        <p:tgtEl>
                                          <p:spTgt spid="21"/>
                                        </p:tgtEl>
                                      </p:cBhvr>
                                      <p:by x="85000" y="85000"/>
                                    </p:animScale>
                                  </p:childTnLst>
                                </p:cTn>
                              </p:par>
                              <p:par>
                                <p:cTn id="43" presetID="42" presetClass="path" presetSubtype="0" decel="100000" fill="hold" nodeType="withEffect">
                                  <p:stCondLst>
                                    <p:cond delay="0"/>
                                  </p:stCondLst>
                                  <p:childTnLst>
                                    <p:animMotion origin="layout" path="M 3.82436E-6 7.17204E-7 L 0.50829 -0.3729 " pathEditMode="relative" rAng="0" ptsTypes="AA">
                                      <p:cBhvr>
                                        <p:cTn id="44" dur="1000" fill="hold"/>
                                        <p:tgtEl>
                                          <p:spTgt spid="5059"/>
                                        </p:tgtEl>
                                        <p:attrNameLst>
                                          <p:attrName>ppt_x</p:attrName>
                                          <p:attrName>ppt_y</p:attrName>
                                        </p:attrNameLst>
                                      </p:cBhvr>
                                      <p:rCtr x="25415" y="-18656"/>
                                    </p:animMotion>
                                  </p:childTnLst>
                                </p:cTn>
                              </p:par>
                              <p:par>
                                <p:cTn id="45" presetID="42" presetClass="path" presetSubtype="0" decel="100000" fill="hold" nodeType="withEffect">
                                  <p:stCondLst>
                                    <p:cond delay="0"/>
                                  </p:stCondLst>
                                  <p:childTnLst>
                                    <p:animMotion origin="layout" path="M 2.92571E-6 7.17204E-7 L 0.49655 -0.37335 " pathEditMode="relative" rAng="0" ptsTypes="AA">
                                      <p:cBhvr>
                                        <p:cTn id="46" dur="1000" fill="hold"/>
                                        <p:tgtEl>
                                          <p:spTgt spid="5056"/>
                                        </p:tgtEl>
                                        <p:attrNameLst>
                                          <p:attrName>ppt_x</p:attrName>
                                          <p:attrName>ppt_y</p:attrName>
                                        </p:attrNameLst>
                                      </p:cBhvr>
                                      <p:rCtr x="24879" y="-18611"/>
                                    </p:animMotion>
                                  </p:childTnLst>
                                </p:cTn>
                              </p:par>
                              <p:par>
                                <p:cTn id="47" presetID="42" presetClass="path" presetSubtype="0" decel="100000" fill="hold" nodeType="withEffect">
                                  <p:stCondLst>
                                    <p:cond delay="0"/>
                                  </p:stCondLst>
                                  <p:childTnLst>
                                    <p:animMotion origin="layout" path="M 1.8024E-6 7.17204E-7 L 0.40898 -0.26668 " pathEditMode="relative" rAng="0" ptsTypes="AA">
                                      <p:cBhvr>
                                        <p:cTn id="48" dur="1000" fill="hold"/>
                                        <p:tgtEl>
                                          <p:spTgt spid="21"/>
                                        </p:tgtEl>
                                        <p:attrNameLst>
                                          <p:attrName>ppt_x</p:attrName>
                                          <p:attrName>ppt_y</p:attrName>
                                        </p:attrNameLst>
                                      </p:cBhvr>
                                      <p:rCtr x="20449" y="-13345"/>
                                    </p:animMotion>
                                  </p:childTnLst>
                                </p:cTn>
                              </p:par>
                              <p:par>
                                <p:cTn id="49" presetID="10" presetClass="entr" presetSubtype="0" fill="hold" grpId="0" nodeType="withEffect">
                                  <p:stCondLst>
                                    <p:cond delay="900"/>
                                  </p:stCondLst>
                                  <p:childTnLst>
                                    <p:set>
                                      <p:cBhvr>
                                        <p:cTn id="50" dur="1" fill="hold">
                                          <p:stCondLst>
                                            <p:cond delay="0"/>
                                          </p:stCondLst>
                                        </p:cTn>
                                        <p:tgtEl>
                                          <p:spTgt spid="2571"/>
                                        </p:tgtEl>
                                        <p:attrNameLst>
                                          <p:attrName>style.visibility</p:attrName>
                                        </p:attrNameLst>
                                      </p:cBhvr>
                                      <p:to>
                                        <p:strVal val="visible"/>
                                      </p:to>
                                    </p:set>
                                    <p:animEffect transition="in" filter="fade">
                                      <p:cBhvr>
                                        <p:cTn id="51" dur="350"/>
                                        <p:tgtEl>
                                          <p:spTgt spid="2571"/>
                                        </p:tgtEl>
                                      </p:cBhvr>
                                    </p:animEffect>
                                  </p:childTnLst>
                                </p:cTn>
                              </p:par>
                              <p:par>
                                <p:cTn id="52" presetID="10" presetClass="entr" presetSubtype="0" fill="hold" grpId="0" nodeType="withEffect">
                                  <p:stCondLst>
                                    <p:cond delay="900"/>
                                  </p:stCondLst>
                                  <p:childTnLst>
                                    <p:set>
                                      <p:cBhvr>
                                        <p:cTn id="53" dur="1" fill="hold">
                                          <p:stCondLst>
                                            <p:cond delay="0"/>
                                          </p:stCondLst>
                                        </p:cTn>
                                        <p:tgtEl>
                                          <p:spTgt spid="2574"/>
                                        </p:tgtEl>
                                        <p:attrNameLst>
                                          <p:attrName>style.visibility</p:attrName>
                                        </p:attrNameLst>
                                      </p:cBhvr>
                                      <p:to>
                                        <p:strVal val="visible"/>
                                      </p:to>
                                    </p:set>
                                    <p:animEffect transition="in" filter="fade">
                                      <p:cBhvr>
                                        <p:cTn id="54" dur="350"/>
                                        <p:tgtEl>
                                          <p:spTgt spid="2574"/>
                                        </p:tgtEl>
                                      </p:cBhvr>
                                    </p:animEffect>
                                  </p:childTnLst>
                                </p:cTn>
                              </p:par>
                              <p:par>
                                <p:cTn id="55" presetID="10" presetClass="entr" presetSubtype="0" fill="hold" grpId="0" nodeType="withEffect">
                                  <p:stCondLst>
                                    <p:cond delay="900"/>
                                  </p:stCondLst>
                                  <p:childTnLst>
                                    <p:set>
                                      <p:cBhvr>
                                        <p:cTn id="56" dur="1" fill="hold">
                                          <p:stCondLst>
                                            <p:cond delay="0"/>
                                          </p:stCondLst>
                                        </p:cTn>
                                        <p:tgtEl>
                                          <p:spTgt spid="2566"/>
                                        </p:tgtEl>
                                        <p:attrNameLst>
                                          <p:attrName>style.visibility</p:attrName>
                                        </p:attrNameLst>
                                      </p:cBhvr>
                                      <p:to>
                                        <p:strVal val="visible"/>
                                      </p:to>
                                    </p:set>
                                    <p:animEffect transition="in" filter="fade">
                                      <p:cBhvr>
                                        <p:cTn id="57" dur="350"/>
                                        <p:tgtEl>
                                          <p:spTgt spid="2566"/>
                                        </p:tgtEl>
                                      </p:cBhvr>
                                    </p:animEffect>
                                  </p:childTnLst>
                                </p:cTn>
                              </p:par>
                              <p:par>
                                <p:cTn id="58" presetID="10" presetClass="entr" presetSubtype="0" fill="hold" nodeType="withEffect">
                                  <p:stCondLst>
                                    <p:cond delay="90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350"/>
                                        <p:tgtEl>
                                          <p:spTgt spid="16"/>
                                        </p:tgtEl>
                                      </p:cBhvr>
                                    </p:animEffect>
                                  </p:childTnLst>
                                </p:cTn>
                              </p:par>
                              <p:par>
                                <p:cTn id="61" presetID="10" presetClass="entr" presetSubtype="0" fill="hold" nodeType="withEffect">
                                  <p:stCondLst>
                                    <p:cond delay="900"/>
                                  </p:stCondLst>
                                  <p:childTnLst>
                                    <p:set>
                                      <p:cBhvr>
                                        <p:cTn id="62" dur="1" fill="hold">
                                          <p:stCondLst>
                                            <p:cond delay="0"/>
                                          </p:stCondLst>
                                        </p:cTn>
                                        <p:tgtEl>
                                          <p:spTgt spid="15"/>
                                        </p:tgtEl>
                                        <p:attrNameLst>
                                          <p:attrName>style.visibility</p:attrName>
                                        </p:attrNameLst>
                                      </p:cBhvr>
                                      <p:to>
                                        <p:strVal val="visible"/>
                                      </p:to>
                                    </p:set>
                                    <p:animEffect transition="in" filter="fade">
                                      <p:cBhvr>
                                        <p:cTn id="63" dur="350"/>
                                        <p:tgtEl>
                                          <p:spTgt spid="15"/>
                                        </p:tgtEl>
                                      </p:cBhvr>
                                    </p:animEffect>
                                  </p:childTnLst>
                                </p:cTn>
                              </p:par>
                              <p:par>
                                <p:cTn id="64" presetID="10" presetClass="entr" presetSubtype="0" fill="hold" nodeType="withEffect">
                                  <p:stCondLst>
                                    <p:cond delay="900"/>
                                  </p:stCondLst>
                                  <p:childTnLst>
                                    <p:set>
                                      <p:cBhvr>
                                        <p:cTn id="65" dur="1" fill="hold">
                                          <p:stCondLst>
                                            <p:cond delay="0"/>
                                          </p:stCondLst>
                                        </p:cTn>
                                        <p:tgtEl>
                                          <p:spTgt spid="17"/>
                                        </p:tgtEl>
                                        <p:attrNameLst>
                                          <p:attrName>style.visibility</p:attrName>
                                        </p:attrNameLst>
                                      </p:cBhvr>
                                      <p:to>
                                        <p:strVal val="visible"/>
                                      </p:to>
                                    </p:set>
                                    <p:animEffect transition="in" filter="fade">
                                      <p:cBhvr>
                                        <p:cTn id="66" dur="350"/>
                                        <p:tgtEl>
                                          <p:spTgt spid="17"/>
                                        </p:tgtEl>
                                      </p:cBhvr>
                                    </p:animEffect>
                                  </p:childTnLst>
                                </p:cTn>
                              </p:par>
                              <p:par>
                                <p:cTn id="67" presetID="10" presetClass="exit" presetSubtype="0" fill="hold" nodeType="withEffect">
                                  <p:stCondLst>
                                    <p:cond delay="900"/>
                                  </p:stCondLst>
                                  <p:childTnLst>
                                    <p:animEffect transition="out" filter="fade">
                                      <p:cBhvr>
                                        <p:cTn id="68" dur="350"/>
                                        <p:tgtEl>
                                          <p:spTgt spid="5059"/>
                                        </p:tgtEl>
                                      </p:cBhvr>
                                    </p:animEffect>
                                    <p:set>
                                      <p:cBhvr>
                                        <p:cTn id="69" dur="1" fill="hold">
                                          <p:stCondLst>
                                            <p:cond delay="349"/>
                                          </p:stCondLst>
                                        </p:cTn>
                                        <p:tgtEl>
                                          <p:spTgt spid="5059"/>
                                        </p:tgtEl>
                                        <p:attrNameLst>
                                          <p:attrName>style.visibility</p:attrName>
                                        </p:attrNameLst>
                                      </p:cBhvr>
                                      <p:to>
                                        <p:strVal val="hidden"/>
                                      </p:to>
                                    </p:set>
                                  </p:childTnLst>
                                </p:cTn>
                              </p:par>
                              <p:par>
                                <p:cTn id="70" presetID="10" presetClass="exit" presetSubtype="0" fill="hold" nodeType="withEffect">
                                  <p:stCondLst>
                                    <p:cond delay="900"/>
                                  </p:stCondLst>
                                  <p:childTnLst>
                                    <p:animEffect transition="out" filter="fade">
                                      <p:cBhvr>
                                        <p:cTn id="71" dur="350"/>
                                        <p:tgtEl>
                                          <p:spTgt spid="5056"/>
                                        </p:tgtEl>
                                      </p:cBhvr>
                                    </p:animEffect>
                                    <p:set>
                                      <p:cBhvr>
                                        <p:cTn id="72" dur="1" fill="hold">
                                          <p:stCondLst>
                                            <p:cond delay="349"/>
                                          </p:stCondLst>
                                        </p:cTn>
                                        <p:tgtEl>
                                          <p:spTgt spid="5056"/>
                                        </p:tgtEl>
                                        <p:attrNameLst>
                                          <p:attrName>style.visibility</p:attrName>
                                        </p:attrNameLst>
                                      </p:cBhvr>
                                      <p:to>
                                        <p:strVal val="hidden"/>
                                      </p:to>
                                    </p:set>
                                  </p:childTnLst>
                                </p:cTn>
                              </p:par>
                              <p:par>
                                <p:cTn id="73" presetID="10" presetClass="exit" presetSubtype="0" fill="hold" nodeType="withEffect">
                                  <p:stCondLst>
                                    <p:cond delay="900"/>
                                  </p:stCondLst>
                                  <p:childTnLst>
                                    <p:animEffect transition="out" filter="fade">
                                      <p:cBhvr>
                                        <p:cTn id="74" dur="350"/>
                                        <p:tgtEl>
                                          <p:spTgt spid="21"/>
                                        </p:tgtEl>
                                      </p:cBhvr>
                                    </p:animEffect>
                                    <p:set>
                                      <p:cBhvr>
                                        <p:cTn id="75" dur="1" fill="hold">
                                          <p:stCondLst>
                                            <p:cond delay="349"/>
                                          </p:stCondLst>
                                        </p:cTn>
                                        <p:tgtEl>
                                          <p:spTgt spid="21"/>
                                        </p:tgtEl>
                                        <p:attrNameLst>
                                          <p:attrName>style.visibility</p:attrName>
                                        </p:attrNameLst>
                                      </p:cBhvr>
                                      <p:to>
                                        <p:strVal val="hidden"/>
                                      </p:to>
                                    </p:set>
                                  </p:childTnLst>
                                </p:cTn>
                              </p:par>
                              <p:par>
                                <p:cTn id="76" presetID="16" presetClass="entr" presetSubtype="42" fill="hold" nodeType="withEffect">
                                  <p:stCondLst>
                                    <p:cond delay="1200"/>
                                  </p:stCondLst>
                                  <p:childTnLst>
                                    <p:set>
                                      <p:cBhvr>
                                        <p:cTn id="77" dur="1" fill="hold">
                                          <p:stCondLst>
                                            <p:cond delay="0"/>
                                          </p:stCondLst>
                                        </p:cTn>
                                        <p:tgtEl>
                                          <p:spTgt spid="2553"/>
                                        </p:tgtEl>
                                        <p:attrNameLst>
                                          <p:attrName>style.visibility</p:attrName>
                                        </p:attrNameLst>
                                      </p:cBhvr>
                                      <p:to>
                                        <p:strVal val="visible"/>
                                      </p:to>
                                    </p:set>
                                    <p:animEffect transition="in" filter="barn(outHorizontal)">
                                      <p:cBhvr>
                                        <p:cTn id="78" dur="500"/>
                                        <p:tgtEl>
                                          <p:spTgt spid="2553"/>
                                        </p:tgtEl>
                                      </p:cBhvr>
                                    </p:animEffect>
                                  </p:childTnLst>
                                </p:cTn>
                              </p:par>
                              <p:par>
                                <p:cTn id="79" presetID="53" presetClass="entr" presetSubtype="16" fill="hold" nodeType="withEffect">
                                  <p:stCondLst>
                                    <p:cond delay="1200"/>
                                  </p:stCondLst>
                                  <p:childTnLst>
                                    <p:set>
                                      <p:cBhvr>
                                        <p:cTn id="80" dur="1" fill="hold">
                                          <p:stCondLst>
                                            <p:cond delay="0"/>
                                          </p:stCondLst>
                                        </p:cTn>
                                        <p:tgtEl>
                                          <p:spTgt spid="2552"/>
                                        </p:tgtEl>
                                        <p:attrNameLst>
                                          <p:attrName>style.visibility</p:attrName>
                                        </p:attrNameLst>
                                      </p:cBhvr>
                                      <p:to>
                                        <p:strVal val="visible"/>
                                      </p:to>
                                    </p:set>
                                    <p:anim calcmode="lin" valueType="num">
                                      <p:cBhvr>
                                        <p:cTn id="81" dur="250" fill="hold"/>
                                        <p:tgtEl>
                                          <p:spTgt spid="2552"/>
                                        </p:tgtEl>
                                        <p:attrNameLst>
                                          <p:attrName>ppt_w</p:attrName>
                                        </p:attrNameLst>
                                      </p:cBhvr>
                                      <p:tavLst>
                                        <p:tav tm="0">
                                          <p:val>
                                            <p:fltVal val="0"/>
                                          </p:val>
                                        </p:tav>
                                        <p:tav tm="100000">
                                          <p:val>
                                            <p:strVal val="#ppt_w"/>
                                          </p:val>
                                        </p:tav>
                                      </p:tavLst>
                                    </p:anim>
                                    <p:anim calcmode="lin" valueType="num">
                                      <p:cBhvr>
                                        <p:cTn id="82" dur="250" fill="hold"/>
                                        <p:tgtEl>
                                          <p:spTgt spid="2552"/>
                                        </p:tgtEl>
                                        <p:attrNameLst>
                                          <p:attrName>ppt_h</p:attrName>
                                        </p:attrNameLst>
                                      </p:cBhvr>
                                      <p:tavLst>
                                        <p:tav tm="0">
                                          <p:val>
                                            <p:fltVal val="0"/>
                                          </p:val>
                                        </p:tav>
                                        <p:tav tm="100000">
                                          <p:val>
                                            <p:strVal val="#ppt_h"/>
                                          </p:val>
                                        </p:tav>
                                      </p:tavLst>
                                    </p:anim>
                                    <p:animEffect transition="in" filter="fade">
                                      <p:cBhvr>
                                        <p:cTn id="83" dur="250"/>
                                        <p:tgtEl>
                                          <p:spTgt spid="2552"/>
                                        </p:tgtEl>
                                      </p:cBhvr>
                                    </p:animEffect>
                                  </p:childTnLst>
                                </p:cTn>
                              </p:par>
                              <p:par>
                                <p:cTn id="84" presetID="6" presetClass="emph" presetSubtype="0" decel="100000" fill="hold" nodeType="withEffect">
                                  <p:stCondLst>
                                    <p:cond delay="1400"/>
                                  </p:stCondLst>
                                  <p:childTnLst>
                                    <p:animScale>
                                      <p:cBhvr>
                                        <p:cTn id="85" dur="250" fill="hold"/>
                                        <p:tgtEl>
                                          <p:spTgt spid="2552"/>
                                        </p:tgtEl>
                                      </p:cBhvr>
                                      <p:by x="110000" y="110000"/>
                                    </p:animScale>
                                  </p:childTnLst>
                                </p:cTn>
                              </p:par>
                              <p:par>
                                <p:cTn id="86" presetID="6" presetClass="emph" presetSubtype="0" decel="100000" fill="hold" nodeType="withEffect">
                                  <p:stCondLst>
                                    <p:cond delay="1500"/>
                                  </p:stCondLst>
                                  <p:childTnLst>
                                    <p:animScale>
                                      <p:cBhvr>
                                        <p:cTn id="87" dur="250" fill="hold"/>
                                        <p:tgtEl>
                                          <p:spTgt spid="2552"/>
                                        </p:tgtEl>
                                      </p:cBhvr>
                                      <p:by x="91000" y="91000"/>
                                    </p:animScale>
                                  </p:childTnLst>
                                </p:cTn>
                              </p:par>
                              <p:par>
                                <p:cTn id="88" presetID="53" presetClass="entr" presetSubtype="16" fill="hold" nodeType="withEffect">
                                  <p:stCondLst>
                                    <p:cond delay="1500"/>
                                  </p:stCondLst>
                                  <p:childTnLst>
                                    <p:set>
                                      <p:cBhvr>
                                        <p:cTn id="89" dur="1" fill="hold">
                                          <p:stCondLst>
                                            <p:cond delay="0"/>
                                          </p:stCondLst>
                                        </p:cTn>
                                        <p:tgtEl>
                                          <p:spTgt spid="2589"/>
                                        </p:tgtEl>
                                        <p:attrNameLst>
                                          <p:attrName>style.visibility</p:attrName>
                                        </p:attrNameLst>
                                      </p:cBhvr>
                                      <p:to>
                                        <p:strVal val="visible"/>
                                      </p:to>
                                    </p:set>
                                    <p:anim calcmode="lin" valueType="num">
                                      <p:cBhvr>
                                        <p:cTn id="90" dur="250" fill="hold"/>
                                        <p:tgtEl>
                                          <p:spTgt spid="2589"/>
                                        </p:tgtEl>
                                        <p:attrNameLst>
                                          <p:attrName>ppt_w</p:attrName>
                                        </p:attrNameLst>
                                      </p:cBhvr>
                                      <p:tavLst>
                                        <p:tav tm="0">
                                          <p:val>
                                            <p:fltVal val="0"/>
                                          </p:val>
                                        </p:tav>
                                        <p:tav tm="100000">
                                          <p:val>
                                            <p:strVal val="#ppt_w"/>
                                          </p:val>
                                        </p:tav>
                                      </p:tavLst>
                                    </p:anim>
                                    <p:anim calcmode="lin" valueType="num">
                                      <p:cBhvr>
                                        <p:cTn id="91" dur="250" fill="hold"/>
                                        <p:tgtEl>
                                          <p:spTgt spid="2589"/>
                                        </p:tgtEl>
                                        <p:attrNameLst>
                                          <p:attrName>ppt_h</p:attrName>
                                        </p:attrNameLst>
                                      </p:cBhvr>
                                      <p:tavLst>
                                        <p:tav tm="0">
                                          <p:val>
                                            <p:fltVal val="0"/>
                                          </p:val>
                                        </p:tav>
                                        <p:tav tm="100000">
                                          <p:val>
                                            <p:strVal val="#ppt_h"/>
                                          </p:val>
                                        </p:tav>
                                      </p:tavLst>
                                    </p:anim>
                                    <p:animEffect transition="in" filter="fade">
                                      <p:cBhvr>
                                        <p:cTn id="92" dur="250"/>
                                        <p:tgtEl>
                                          <p:spTgt spid="2589"/>
                                        </p:tgtEl>
                                      </p:cBhvr>
                                    </p:animEffect>
                                  </p:childTnLst>
                                </p:cTn>
                              </p:par>
                              <p:par>
                                <p:cTn id="93" presetID="6" presetClass="emph" presetSubtype="0" decel="100000" fill="hold" nodeType="withEffect">
                                  <p:stCondLst>
                                    <p:cond delay="1700"/>
                                  </p:stCondLst>
                                  <p:childTnLst>
                                    <p:animScale>
                                      <p:cBhvr>
                                        <p:cTn id="94" dur="250" fill="hold"/>
                                        <p:tgtEl>
                                          <p:spTgt spid="2589"/>
                                        </p:tgtEl>
                                      </p:cBhvr>
                                      <p:by x="110000" y="110000"/>
                                    </p:animScale>
                                  </p:childTnLst>
                                </p:cTn>
                              </p:par>
                              <p:par>
                                <p:cTn id="95" presetID="6" presetClass="emph" presetSubtype="0" decel="100000" fill="hold" nodeType="withEffect">
                                  <p:stCondLst>
                                    <p:cond delay="1800"/>
                                  </p:stCondLst>
                                  <p:childTnLst>
                                    <p:animScale>
                                      <p:cBhvr>
                                        <p:cTn id="96" dur="250" fill="hold"/>
                                        <p:tgtEl>
                                          <p:spTgt spid="2589"/>
                                        </p:tgtEl>
                                      </p:cBhvr>
                                      <p:by x="91000" y="91000"/>
                                    </p:animScale>
                                  </p:childTnLst>
                                </p:cTn>
                              </p:par>
                              <p:par>
                                <p:cTn id="97" presetID="10" presetClass="entr" presetSubtype="0" fill="hold" grpId="1" nodeType="withEffect">
                                  <p:stCondLst>
                                    <p:cond delay="0"/>
                                  </p:stCondLst>
                                  <p:childTnLst>
                                    <p:set>
                                      <p:cBhvr>
                                        <p:cTn id="98" dur="1" fill="hold">
                                          <p:stCondLst>
                                            <p:cond delay="0"/>
                                          </p:stCondLst>
                                        </p:cTn>
                                        <p:tgtEl>
                                          <p:spTgt spid="5243"/>
                                        </p:tgtEl>
                                        <p:attrNameLst>
                                          <p:attrName>style.visibility</p:attrName>
                                        </p:attrNameLst>
                                      </p:cBhvr>
                                      <p:to>
                                        <p:strVal val="visible"/>
                                      </p:to>
                                    </p:set>
                                    <p:animEffect transition="in" filter="fade">
                                      <p:cBhvr>
                                        <p:cTn id="99" dur="250"/>
                                        <p:tgtEl>
                                          <p:spTgt spid="5243"/>
                                        </p:tgtEl>
                                      </p:cBhvr>
                                    </p:animEffect>
                                  </p:childTnLst>
                                </p:cTn>
                              </p:par>
                              <p:par>
                                <p:cTn id="100" presetID="10" presetClass="entr" presetSubtype="0" fill="hold" grpId="1" nodeType="withEffect">
                                  <p:stCondLst>
                                    <p:cond delay="0"/>
                                  </p:stCondLst>
                                  <p:childTnLst>
                                    <p:set>
                                      <p:cBhvr>
                                        <p:cTn id="101" dur="1" fill="hold">
                                          <p:stCondLst>
                                            <p:cond delay="0"/>
                                          </p:stCondLst>
                                        </p:cTn>
                                        <p:tgtEl>
                                          <p:spTgt spid="5241"/>
                                        </p:tgtEl>
                                        <p:attrNameLst>
                                          <p:attrName>style.visibility</p:attrName>
                                        </p:attrNameLst>
                                      </p:cBhvr>
                                      <p:to>
                                        <p:strVal val="visible"/>
                                      </p:to>
                                    </p:set>
                                    <p:animEffect transition="in" filter="fade">
                                      <p:cBhvr>
                                        <p:cTn id="102" dur="250"/>
                                        <p:tgtEl>
                                          <p:spTgt spid="5241"/>
                                        </p:tgtEl>
                                      </p:cBhvr>
                                    </p:animEffect>
                                  </p:childTnLst>
                                </p:cTn>
                              </p:par>
                              <p:par>
                                <p:cTn id="103" presetID="10" presetClass="entr" presetSubtype="0" fill="hold" nodeType="withEffect">
                                  <p:stCondLst>
                                    <p:cond delay="0"/>
                                  </p:stCondLst>
                                  <p:childTnLst>
                                    <p:set>
                                      <p:cBhvr>
                                        <p:cTn id="104" dur="1" fill="hold">
                                          <p:stCondLst>
                                            <p:cond delay="0"/>
                                          </p:stCondLst>
                                        </p:cTn>
                                        <p:tgtEl>
                                          <p:spTgt spid="5233"/>
                                        </p:tgtEl>
                                        <p:attrNameLst>
                                          <p:attrName>style.visibility</p:attrName>
                                        </p:attrNameLst>
                                      </p:cBhvr>
                                      <p:to>
                                        <p:strVal val="visible"/>
                                      </p:to>
                                    </p:set>
                                    <p:animEffect transition="in" filter="fade">
                                      <p:cBhvr>
                                        <p:cTn id="105" dur="250"/>
                                        <p:tgtEl>
                                          <p:spTgt spid="52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50" grpId="0" animBg="1"/>
      <p:bldP spid="2550" grpId="1" animBg="1"/>
      <p:bldP spid="2550" grpId="2" animBg="1"/>
      <p:bldP spid="2551" grpId="0"/>
      <p:bldP spid="5241" grpId="0" animBg="1"/>
      <p:bldP spid="5241" grpId="1" animBg="1"/>
      <p:bldP spid="2566" grpId="0"/>
      <p:bldP spid="2571" grpId="0"/>
      <p:bldP spid="2574" grpId="0"/>
      <p:bldP spid="5243" grpId="0" animBg="1"/>
      <p:bldP spid="5243" grpId="1" animBg="1"/>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493502" y="219075"/>
            <a:ext cx="8567287" cy="664797"/>
          </a:xfrm>
        </p:spPr>
        <p:txBody>
          <a:bodyPr>
            <a:normAutofit fontScale="90000"/>
          </a:bodyPr>
          <a:lstStyle/>
          <a:p>
            <a:r>
              <a:rPr lang="en-US" sz="4800" dirty="0">
                <a:solidFill>
                  <a:schemeClr val="bg1"/>
                </a:solidFill>
              </a:rPr>
              <a:t>Cloud Computing Patterns</a:t>
            </a:r>
          </a:p>
        </p:txBody>
      </p:sp>
      <p:cxnSp>
        <p:nvCxnSpPr>
          <p:cNvPr id="4" name="Straight Arrow Connector 3"/>
          <p:cNvCxnSpPr/>
          <p:nvPr/>
        </p:nvCxnSpPr>
        <p:spPr bwMode="auto">
          <a:xfrm rot="16200000" flipV="1">
            <a:off x="-103818" y="1817503"/>
            <a:ext cx="895273" cy="4"/>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5" name="Straight Arrow Connector 4"/>
          <p:cNvCxnSpPr/>
          <p:nvPr/>
        </p:nvCxnSpPr>
        <p:spPr bwMode="auto">
          <a:xfrm>
            <a:off x="343819" y="2254425"/>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6" name="Text Placeholder 6"/>
          <p:cNvSpPr txBox="1">
            <a:spLocks/>
          </p:cNvSpPr>
          <p:nvPr/>
        </p:nvSpPr>
        <p:spPr bwMode="auto">
          <a:xfrm>
            <a:off x="3551954" y="2156064"/>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a:solidFill>
                  <a:schemeClr val="tx1">
                    <a:alpha val="99000"/>
                  </a:schemeClr>
                </a:solidFill>
              </a:rPr>
              <a:t>t</a:t>
            </a:r>
          </a:p>
        </p:txBody>
      </p:sp>
      <p:sp>
        <p:nvSpPr>
          <p:cNvPr id="7" name="Rectangle 6"/>
          <p:cNvSpPr/>
          <p:nvPr/>
        </p:nvSpPr>
        <p:spPr>
          <a:xfrm rot="16200000">
            <a:off x="-389652" y="1770196"/>
            <a:ext cx="1027137"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cxnSp>
        <p:nvCxnSpPr>
          <p:cNvPr id="9" name="Straight Arrow Connector 8"/>
          <p:cNvCxnSpPr/>
          <p:nvPr/>
        </p:nvCxnSpPr>
        <p:spPr bwMode="auto">
          <a:xfrm flipV="1">
            <a:off x="343819" y="1920760"/>
            <a:ext cx="1018711" cy="6536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0" name="Straight Arrow Connector 9"/>
          <p:cNvCxnSpPr/>
          <p:nvPr/>
        </p:nvCxnSpPr>
        <p:spPr bwMode="auto">
          <a:xfrm flipV="1">
            <a:off x="2368486" y="1899779"/>
            <a:ext cx="1067313" cy="8634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2" name="Straight Connector 11"/>
          <p:cNvCxnSpPr/>
          <p:nvPr/>
        </p:nvCxnSpPr>
        <p:spPr bwMode="auto">
          <a:xfrm rot="5400000" flipH="1" flipV="1">
            <a:off x="1943438" y="1828524"/>
            <a:ext cx="853043" cy="1565"/>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13" name="Rectangle 12"/>
          <p:cNvSpPr/>
          <p:nvPr/>
        </p:nvSpPr>
        <p:spPr>
          <a:xfrm>
            <a:off x="1321851" y="1559179"/>
            <a:ext cx="1117021" cy="618115"/>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endParaRPr lang="en-US" sz="1100" dirty="0">
              <a:solidFill>
                <a:schemeClr val="tx1">
                  <a:alpha val="99000"/>
                </a:schemeClr>
              </a:solidFill>
            </a:endParaRPr>
          </a:p>
          <a:p>
            <a:pPr marL="304735" indent="-304735" algn="ctr" defTabSz="1218936" eaLnBrk="0" fontAlgn="base" hangingPunct="0">
              <a:lnSpc>
                <a:spcPts val="1066"/>
              </a:lnSpc>
              <a:spcAft>
                <a:spcPts val="800"/>
              </a:spcAft>
              <a:buClr>
                <a:srgbClr val="000000"/>
              </a:buClr>
            </a:pPr>
            <a:r>
              <a:rPr lang="en-US" sz="1100" dirty="0">
                <a:solidFill>
                  <a:schemeClr val="tx1">
                    <a:alpha val="99000"/>
                  </a:schemeClr>
                </a:solidFill>
              </a:rPr>
              <a:t>Inactivity</a:t>
            </a:r>
          </a:p>
          <a:p>
            <a:pPr marL="304735" indent="-304735" algn="ctr" defTabSz="1218936" eaLnBrk="0" fontAlgn="base" hangingPunct="0">
              <a:lnSpc>
                <a:spcPts val="1066"/>
              </a:lnSpc>
              <a:spcAft>
                <a:spcPts val="800"/>
              </a:spcAft>
              <a:buClr>
                <a:srgbClr val="000000"/>
              </a:buClr>
            </a:pPr>
            <a:r>
              <a:rPr lang="en-US" sz="1100" dirty="0">
                <a:solidFill>
                  <a:schemeClr val="tx1">
                    <a:alpha val="99000"/>
                  </a:schemeClr>
                </a:solidFill>
              </a:rPr>
              <a:t>Period </a:t>
            </a:r>
          </a:p>
        </p:txBody>
      </p:sp>
      <p:cxnSp>
        <p:nvCxnSpPr>
          <p:cNvPr id="14" name="Straight Connector 13"/>
          <p:cNvCxnSpPr/>
          <p:nvPr/>
        </p:nvCxnSpPr>
        <p:spPr bwMode="auto">
          <a:xfrm rot="5400000" flipH="1" flipV="1">
            <a:off x="957376" y="1828524"/>
            <a:ext cx="853043" cy="1565"/>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52" name="Text Placeholder 6"/>
          <p:cNvSpPr txBox="1">
            <a:spLocks/>
          </p:cNvSpPr>
          <p:nvPr/>
        </p:nvSpPr>
        <p:spPr bwMode="auto">
          <a:xfrm>
            <a:off x="4546252" y="3418342"/>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a:solidFill>
                  <a:schemeClr val="tx1">
                    <a:alpha val="99000"/>
                  </a:schemeClr>
                </a:solidFill>
              </a:rPr>
              <a:t>t</a:t>
            </a:r>
          </a:p>
        </p:txBody>
      </p:sp>
      <p:sp>
        <p:nvSpPr>
          <p:cNvPr id="53" name="Text Placeholder 6"/>
          <p:cNvSpPr txBox="1">
            <a:spLocks/>
          </p:cNvSpPr>
          <p:nvPr/>
        </p:nvSpPr>
        <p:spPr bwMode="auto">
          <a:xfrm>
            <a:off x="5558238" y="4777825"/>
            <a:ext cx="1142497"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a:solidFill>
                  <a:schemeClr val="tx1">
                    <a:alpha val="99000"/>
                  </a:schemeClr>
                </a:solidFill>
              </a:rPr>
              <a:t>t</a:t>
            </a:r>
          </a:p>
        </p:txBody>
      </p:sp>
      <p:sp>
        <p:nvSpPr>
          <p:cNvPr id="54" name="Text Placeholder 6"/>
          <p:cNvSpPr txBox="1">
            <a:spLocks/>
          </p:cNvSpPr>
          <p:nvPr/>
        </p:nvSpPr>
        <p:spPr bwMode="auto">
          <a:xfrm>
            <a:off x="7409246" y="6346207"/>
            <a:ext cx="1142497" cy="1791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1218936" eaLnBrk="0" fontAlgn="base" hangingPunct="0">
              <a:spcBef>
                <a:spcPct val="20000"/>
              </a:spcBef>
              <a:spcAft>
                <a:spcPct val="0"/>
              </a:spcAft>
              <a:buClr>
                <a:srgbClr val="000000"/>
              </a:buClr>
            </a:pPr>
            <a:r>
              <a:rPr lang="en-US" sz="1400" i="1" dirty="0">
                <a:solidFill>
                  <a:schemeClr val="tx1">
                    <a:alpha val="99000"/>
                  </a:schemeClr>
                </a:solidFill>
              </a:rPr>
              <a:t>t</a:t>
            </a:r>
          </a:p>
        </p:txBody>
      </p:sp>
      <p:grpSp>
        <p:nvGrpSpPr>
          <p:cNvPr id="57" name="Group 56"/>
          <p:cNvGrpSpPr/>
          <p:nvPr/>
        </p:nvGrpSpPr>
        <p:grpSpPr>
          <a:xfrm>
            <a:off x="3867055" y="1223640"/>
            <a:ext cx="3613707" cy="1012674"/>
            <a:chOff x="342904" y="1233639"/>
            <a:chExt cx="3613707" cy="1012674"/>
          </a:xfrm>
        </p:grpSpPr>
        <p:sp>
          <p:nvSpPr>
            <p:cNvPr id="15" name="TextBox 14"/>
            <p:cNvSpPr txBox="1"/>
            <p:nvPr/>
          </p:nvSpPr>
          <p:spPr>
            <a:xfrm>
              <a:off x="342904" y="1233639"/>
              <a:ext cx="3045807"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On and Off</a:t>
              </a:r>
            </a:p>
          </p:txBody>
        </p:sp>
        <p:sp>
          <p:nvSpPr>
            <p:cNvPr id="16" name="Rectangle 15"/>
            <p:cNvSpPr/>
            <p:nvPr/>
          </p:nvSpPr>
          <p:spPr>
            <a:xfrm>
              <a:off x="342905" y="1692315"/>
              <a:ext cx="3613706"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On &amp; off workloads (e.g. batch job)</a:t>
              </a:r>
            </a:p>
            <a:p>
              <a:pPr marL="0" lvl="1" defTabSz="1218836" fontAlgn="base">
                <a:spcAft>
                  <a:spcPct val="0"/>
                </a:spcAft>
              </a:pPr>
              <a:r>
                <a:rPr lang="en-US" sz="1200" dirty="0">
                  <a:solidFill>
                    <a:schemeClr val="tx1">
                      <a:alpha val="99000"/>
                    </a:schemeClr>
                  </a:solidFill>
                  <a:ea typeface="Kozuka Gothic Pro R" pitchFamily="34" charset="-128"/>
                </a:rPr>
                <a:t>Over provisioned capacity is wasted </a:t>
              </a:r>
            </a:p>
            <a:p>
              <a:pPr marL="0" lvl="1" defTabSz="1218836" fontAlgn="base">
                <a:spcAft>
                  <a:spcPct val="0"/>
                </a:spcAft>
              </a:pPr>
              <a:r>
                <a:rPr lang="en-US" sz="1200" dirty="0">
                  <a:solidFill>
                    <a:schemeClr val="tx1">
                      <a:alpha val="99000"/>
                    </a:schemeClr>
                  </a:solidFill>
                  <a:ea typeface="Kozuka Gothic Pro R" pitchFamily="34" charset="-128"/>
                </a:rPr>
                <a:t>Time to market can be cumbersome </a:t>
              </a:r>
            </a:p>
          </p:txBody>
        </p:sp>
      </p:grpSp>
      <p:grpSp>
        <p:nvGrpSpPr>
          <p:cNvPr id="59" name="Group 58"/>
          <p:cNvGrpSpPr/>
          <p:nvPr/>
        </p:nvGrpSpPr>
        <p:grpSpPr>
          <a:xfrm>
            <a:off x="5873339" y="3808054"/>
            <a:ext cx="3821938" cy="1068346"/>
            <a:chOff x="342905" y="3877806"/>
            <a:chExt cx="3821938" cy="1068346"/>
          </a:xfrm>
        </p:grpSpPr>
        <p:sp>
          <p:nvSpPr>
            <p:cNvPr id="22" name="TextBox 21"/>
            <p:cNvSpPr txBox="1"/>
            <p:nvPr/>
          </p:nvSpPr>
          <p:spPr>
            <a:xfrm>
              <a:off x="342905" y="3877806"/>
              <a:ext cx="3821938"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Unpredictable Bursting</a:t>
              </a:r>
            </a:p>
          </p:txBody>
        </p:sp>
        <p:sp>
          <p:nvSpPr>
            <p:cNvPr id="24" name="Rectangle 23"/>
            <p:cNvSpPr/>
            <p:nvPr/>
          </p:nvSpPr>
          <p:spPr>
            <a:xfrm>
              <a:off x="342905" y="4392154"/>
              <a:ext cx="3045807"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Unexpected/unplanned peak in demand  </a:t>
              </a:r>
            </a:p>
            <a:p>
              <a:pPr marL="0" lvl="1" defTabSz="1218836" fontAlgn="base">
                <a:spcAft>
                  <a:spcPct val="0"/>
                </a:spcAft>
              </a:pPr>
              <a:r>
                <a:rPr lang="en-US" sz="1200" dirty="0">
                  <a:solidFill>
                    <a:schemeClr val="tx1">
                      <a:alpha val="99000"/>
                    </a:schemeClr>
                  </a:solidFill>
                  <a:ea typeface="Kozuka Gothic Pro R" pitchFamily="34" charset="-128"/>
                </a:rPr>
                <a:t>Sudden spike impacts performance </a:t>
              </a:r>
            </a:p>
            <a:p>
              <a:pPr marL="0" lvl="1" defTabSz="1218836" fontAlgn="base">
                <a:spcAft>
                  <a:spcPct val="0"/>
                </a:spcAft>
              </a:pPr>
              <a:r>
                <a:rPr lang="en-US" sz="1200" dirty="0">
                  <a:solidFill>
                    <a:schemeClr val="tx1">
                      <a:alpha val="99000"/>
                    </a:schemeClr>
                  </a:solidFill>
                  <a:ea typeface="Kozuka Gothic Pro R" pitchFamily="34" charset="-128"/>
                </a:rPr>
                <a:t>Can’t over provision for extreme cases </a:t>
              </a:r>
            </a:p>
          </p:txBody>
        </p:sp>
      </p:grpSp>
      <p:cxnSp>
        <p:nvCxnSpPr>
          <p:cNvPr id="18" name="Straight Arrow Connector 17"/>
          <p:cNvCxnSpPr/>
          <p:nvPr/>
        </p:nvCxnSpPr>
        <p:spPr bwMode="auto">
          <a:xfrm flipH="1" flipV="1">
            <a:off x="2359527" y="3966095"/>
            <a:ext cx="4" cy="897446"/>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9" name="Straight Arrow Connector 18"/>
          <p:cNvCxnSpPr/>
          <p:nvPr/>
        </p:nvCxnSpPr>
        <p:spPr bwMode="auto">
          <a:xfrm>
            <a:off x="2359527" y="4852750"/>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0" name="Rectangle 19"/>
          <p:cNvSpPr/>
          <p:nvPr/>
        </p:nvSpPr>
        <p:spPr>
          <a:xfrm rot="16200000">
            <a:off x="1629866" y="4353389"/>
            <a:ext cx="1019525"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grpSp>
        <p:nvGrpSpPr>
          <p:cNvPr id="25" name="Group 24"/>
          <p:cNvGrpSpPr/>
          <p:nvPr/>
        </p:nvGrpSpPr>
        <p:grpSpPr>
          <a:xfrm>
            <a:off x="2353580" y="4070018"/>
            <a:ext cx="3152246" cy="492377"/>
            <a:chOff x="5520892" y="5257417"/>
            <a:chExt cx="3307216" cy="721360"/>
          </a:xfrm>
        </p:grpSpPr>
        <p:cxnSp>
          <p:nvCxnSpPr>
            <p:cNvPr id="26" name="Straight Arrow Connector 25"/>
            <p:cNvCxnSpPr/>
            <p:nvPr/>
          </p:nvCxnSpPr>
          <p:spPr bwMode="auto">
            <a:xfrm>
              <a:off x="7600265" y="5975286"/>
              <a:ext cx="1227843" cy="2508"/>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7" name="Straight Connector 26"/>
            <p:cNvCxnSpPr>
              <a:endCxn id="28" idx="0"/>
            </p:cNvCxnSpPr>
            <p:nvPr/>
          </p:nvCxnSpPr>
          <p:spPr bwMode="auto">
            <a:xfrm>
              <a:off x="5520892" y="5967876"/>
              <a:ext cx="1168667" cy="0"/>
            </a:xfrm>
            <a:prstGeom prst="line">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8" name="Freeform 27"/>
            <p:cNvSpPr/>
            <p:nvPr/>
          </p:nvSpPr>
          <p:spPr>
            <a:xfrm>
              <a:off x="6689558" y="5257417"/>
              <a:ext cx="899962"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dirty="0"/>
            </a:p>
          </p:txBody>
        </p:sp>
      </p:grpSp>
      <p:grpSp>
        <p:nvGrpSpPr>
          <p:cNvPr id="58" name="Group 57"/>
          <p:cNvGrpSpPr/>
          <p:nvPr/>
        </p:nvGrpSpPr>
        <p:grpSpPr>
          <a:xfrm>
            <a:off x="4861354" y="2445384"/>
            <a:ext cx="3119051" cy="1020871"/>
            <a:chOff x="342905" y="2485579"/>
            <a:chExt cx="3119051" cy="1020871"/>
          </a:xfrm>
        </p:grpSpPr>
        <p:sp>
          <p:nvSpPr>
            <p:cNvPr id="35" name="TextBox 34"/>
            <p:cNvSpPr txBox="1"/>
            <p:nvPr/>
          </p:nvSpPr>
          <p:spPr>
            <a:xfrm>
              <a:off x="342905" y="2485579"/>
              <a:ext cx="3119051"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Growing Fast</a:t>
              </a:r>
            </a:p>
          </p:txBody>
        </p:sp>
        <p:sp>
          <p:nvSpPr>
            <p:cNvPr id="36" name="Rectangle 35"/>
            <p:cNvSpPr/>
            <p:nvPr/>
          </p:nvSpPr>
          <p:spPr>
            <a:xfrm>
              <a:off x="342905" y="2952452"/>
              <a:ext cx="3119051"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Successful services needs to grow/scale   </a:t>
              </a:r>
            </a:p>
            <a:p>
              <a:pPr marL="0" lvl="1" defTabSz="1218836" fontAlgn="base">
                <a:spcAft>
                  <a:spcPct val="0"/>
                </a:spcAft>
              </a:pPr>
              <a:r>
                <a:rPr lang="en-US" sz="1200" dirty="0">
                  <a:solidFill>
                    <a:schemeClr val="tx1">
                      <a:alpha val="99000"/>
                    </a:schemeClr>
                  </a:solidFill>
                  <a:ea typeface="Kozuka Gothic Pro R" pitchFamily="34" charset="-128"/>
                </a:rPr>
                <a:t>Keeping up w/ growth is big IT challenge </a:t>
              </a:r>
            </a:p>
            <a:p>
              <a:pPr marL="0" lvl="1" defTabSz="1218836" fontAlgn="base">
                <a:spcAft>
                  <a:spcPct val="0"/>
                </a:spcAft>
              </a:pPr>
              <a:r>
                <a:rPr lang="en-US" sz="1200" dirty="0">
                  <a:solidFill>
                    <a:schemeClr val="tx1">
                      <a:alpha val="99000"/>
                    </a:schemeClr>
                  </a:solidFill>
                  <a:ea typeface="Kozuka Gothic Pro R" pitchFamily="34" charset="-128"/>
                </a:rPr>
                <a:t>Cannot provision hardware fast enough</a:t>
              </a:r>
            </a:p>
          </p:txBody>
        </p:sp>
      </p:grpSp>
      <p:cxnSp>
        <p:nvCxnSpPr>
          <p:cNvPr id="30" name="Straight Arrow Connector 29"/>
          <p:cNvCxnSpPr/>
          <p:nvPr/>
        </p:nvCxnSpPr>
        <p:spPr bwMode="auto">
          <a:xfrm flipH="1" flipV="1">
            <a:off x="1338115" y="2568376"/>
            <a:ext cx="3478" cy="930519"/>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1" name="Straight Arrow Connector 30"/>
          <p:cNvCxnSpPr/>
          <p:nvPr/>
        </p:nvCxnSpPr>
        <p:spPr bwMode="auto">
          <a:xfrm>
            <a:off x="1341594" y="3485209"/>
            <a:ext cx="3152991"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33" name="Rectangle 32"/>
          <p:cNvSpPr/>
          <p:nvPr/>
        </p:nvSpPr>
        <p:spPr>
          <a:xfrm rot="16200000">
            <a:off x="610742" y="3007074"/>
            <a:ext cx="1014949"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sp>
        <p:nvSpPr>
          <p:cNvPr id="37" name="Freeform 36"/>
          <p:cNvSpPr/>
          <p:nvPr/>
        </p:nvSpPr>
        <p:spPr>
          <a:xfrm>
            <a:off x="1332275" y="2621881"/>
            <a:ext cx="3085702" cy="860645"/>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ln w="25400">
            <a:solidFill>
              <a:schemeClr val="tx1"/>
            </a:solidFill>
            <a:headEnd type="none" w="med" len="med"/>
            <a:tailEnd type="triangle"/>
          </a:ln>
          <a:effectLst/>
        </p:spPr>
        <p:txBody>
          <a:bodyPr lIns="91436" tIns="45718" rIns="91436" bIns="45718" rtlCol="0" anchor="ctr"/>
          <a:lstStyle/>
          <a:p>
            <a:pPr algn="ctr"/>
            <a:endParaRPr lang="en-US" dirty="0"/>
          </a:p>
        </p:txBody>
      </p:sp>
      <p:grpSp>
        <p:nvGrpSpPr>
          <p:cNvPr id="60" name="Group 59"/>
          <p:cNvGrpSpPr/>
          <p:nvPr/>
        </p:nvGrpSpPr>
        <p:grpSpPr>
          <a:xfrm>
            <a:off x="7724348" y="5411550"/>
            <a:ext cx="3941859" cy="1026722"/>
            <a:chOff x="342905" y="5150364"/>
            <a:chExt cx="3941859" cy="1026722"/>
          </a:xfrm>
        </p:grpSpPr>
        <p:sp>
          <p:nvSpPr>
            <p:cNvPr id="44" name="TextBox 43"/>
            <p:cNvSpPr txBox="1"/>
            <p:nvPr/>
          </p:nvSpPr>
          <p:spPr>
            <a:xfrm>
              <a:off x="342905" y="5150364"/>
              <a:ext cx="3941859" cy="480127"/>
            </a:xfrm>
            <a:prstGeom prst="rect">
              <a:avLst/>
            </a:prstGeom>
            <a:noFill/>
            <a:ln>
              <a:noFill/>
            </a:ln>
          </p:spPr>
          <p:txBody>
            <a:bodyPr wrap="square" lIns="0" tIns="45718" rIns="0" bIns="45718" rtlCol="0">
              <a:spAutoFit/>
            </a:bodyPr>
            <a:lstStyle/>
            <a:p>
              <a:pPr>
                <a:lnSpc>
                  <a:spcPct val="90000"/>
                </a:lnSpc>
                <a:spcBef>
                  <a:spcPct val="20000"/>
                </a:spcBef>
              </a:pPr>
              <a:r>
                <a:rPr lang="en-US" sz="2800" dirty="0">
                  <a:solidFill>
                    <a:schemeClr val="tx2">
                      <a:alpha val="99000"/>
                    </a:schemeClr>
                  </a:solidFill>
                  <a:latin typeface="Segoe UI" pitchFamily="34" charset="0"/>
                  <a:ea typeface="Segoe UI" pitchFamily="34" charset="0"/>
                  <a:cs typeface="Segoe UI" pitchFamily="34" charset="0"/>
                </a:rPr>
                <a:t>Predictable Bursting</a:t>
              </a:r>
            </a:p>
          </p:txBody>
        </p:sp>
        <p:sp>
          <p:nvSpPr>
            <p:cNvPr id="45" name="Rectangle 44"/>
            <p:cNvSpPr/>
            <p:nvPr/>
          </p:nvSpPr>
          <p:spPr>
            <a:xfrm>
              <a:off x="342905" y="5623088"/>
              <a:ext cx="3190656" cy="553998"/>
            </a:xfrm>
            <a:prstGeom prst="rect">
              <a:avLst/>
            </a:prstGeom>
            <a:ln>
              <a:noFill/>
            </a:ln>
          </p:spPr>
          <p:txBody>
            <a:bodyPr wrap="square" lIns="0" tIns="0" rIns="0" bIns="0">
              <a:spAutoFit/>
            </a:bodyPr>
            <a:lstStyle/>
            <a:p>
              <a:pPr marL="0" lvl="1" defTabSz="1218836" fontAlgn="base">
                <a:spcAft>
                  <a:spcPct val="0"/>
                </a:spcAft>
              </a:pPr>
              <a:r>
                <a:rPr lang="en-US" sz="1200" dirty="0">
                  <a:solidFill>
                    <a:schemeClr val="tx1">
                      <a:alpha val="99000"/>
                    </a:schemeClr>
                  </a:solidFill>
                  <a:ea typeface="Kozuka Gothic Pro R" pitchFamily="34" charset="-128"/>
                </a:rPr>
                <a:t>Services with micro seasonality trends   </a:t>
              </a:r>
            </a:p>
            <a:p>
              <a:pPr marL="0" lvl="1" defTabSz="1218836" fontAlgn="base">
                <a:spcAft>
                  <a:spcPct val="0"/>
                </a:spcAft>
              </a:pPr>
              <a:r>
                <a:rPr lang="en-US" sz="1200" dirty="0">
                  <a:solidFill>
                    <a:schemeClr val="tx1">
                      <a:alpha val="99000"/>
                    </a:schemeClr>
                  </a:solidFill>
                  <a:ea typeface="Kozuka Gothic Pro R" pitchFamily="34" charset="-128"/>
                </a:rPr>
                <a:t>Peaks due to periodic increased demand</a:t>
              </a:r>
            </a:p>
            <a:p>
              <a:pPr marL="0" lvl="1" defTabSz="1218836" fontAlgn="base">
                <a:spcAft>
                  <a:spcPct val="0"/>
                </a:spcAft>
              </a:pPr>
              <a:r>
                <a:rPr lang="en-US" sz="1200" dirty="0">
                  <a:solidFill>
                    <a:schemeClr val="tx1">
                      <a:alpha val="99000"/>
                    </a:schemeClr>
                  </a:solidFill>
                  <a:ea typeface="Kozuka Gothic Pro R" pitchFamily="34" charset="-128"/>
                </a:rPr>
                <a:t>IT complexity and wasted capacity</a:t>
              </a:r>
            </a:p>
          </p:txBody>
        </p:sp>
      </p:grpSp>
      <p:cxnSp>
        <p:nvCxnSpPr>
          <p:cNvPr id="39" name="Straight Arrow Connector 38"/>
          <p:cNvCxnSpPr/>
          <p:nvPr/>
        </p:nvCxnSpPr>
        <p:spPr bwMode="auto">
          <a:xfrm flipV="1">
            <a:off x="4225463" y="5563333"/>
            <a:ext cx="0" cy="897447"/>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40" name="Straight Arrow Connector 39"/>
          <p:cNvCxnSpPr/>
          <p:nvPr/>
        </p:nvCxnSpPr>
        <p:spPr bwMode="auto">
          <a:xfrm>
            <a:off x="4210224" y="6448233"/>
            <a:ext cx="3152990" cy="93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41" name="Rectangle 40"/>
          <p:cNvSpPr/>
          <p:nvPr/>
        </p:nvSpPr>
        <p:spPr>
          <a:xfrm rot="16200000">
            <a:off x="3493293" y="5738970"/>
            <a:ext cx="1024540"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pPr>
            <a:r>
              <a:rPr lang="en-US" sz="1200" dirty="0">
                <a:solidFill>
                  <a:schemeClr val="tx1">
                    <a:alpha val="99000"/>
                  </a:schemeClr>
                </a:solidFill>
              </a:rPr>
              <a:t>Compute </a:t>
            </a:r>
          </a:p>
        </p:txBody>
      </p:sp>
      <p:sp>
        <p:nvSpPr>
          <p:cNvPr id="48" name="Freeform 47"/>
          <p:cNvSpPr/>
          <p:nvPr/>
        </p:nvSpPr>
        <p:spPr>
          <a:xfrm>
            <a:off x="4223370" y="5619682"/>
            <a:ext cx="2919644" cy="583019"/>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a:endParaRPr lang="en-US" dirty="0"/>
          </a:p>
        </p:txBody>
      </p:sp>
      <p:cxnSp>
        <p:nvCxnSpPr>
          <p:cNvPr id="49" name="Straight Connector 48"/>
          <p:cNvCxnSpPr/>
          <p:nvPr/>
        </p:nvCxnSpPr>
        <p:spPr bwMode="auto">
          <a:xfrm>
            <a:off x="4249505" y="5994342"/>
            <a:ext cx="2963103" cy="24852"/>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1927915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0" name="Rectangle 109"/>
          <p:cNvSpPr/>
          <p:nvPr/>
        </p:nvSpPr>
        <p:spPr bwMode="auto">
          <a:xfrm>
            <a:off x="10104381" y="2816028"/>
            <a:ext cx="1896461" cy="3327297"/>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600" dirty="0">
              <a:solidFill>
                <a:srgbClr val="505050"/>
              </a:solidFill>
            </a:endParaRPr>
          </a:p>
        </p:txBody>
      </p:sp>
      <p:sp>
        <p:nvSpPr>
          <p:cNvPr id="2" name="Title 1"/>
          <p:cNvSpPr>
            <a:spLocks noGrp="1"/>
          </p:cNvSpPr>
          <p:nvPr>
            <p:ph type="title"/>
          </p:nvPr>
        </p:nvSpPr>
        <p:spPr/>
        <p:txBody>
          <a:bodyPr/>
          <a:lstStyle/>
          <a:p>
            <a:r>
              <a:rPr lang="en-GB" sz="5400" dirty="0">
                <a:solidFill>
                  <a:schemeClr val="bg1"/>
                </a:solidFill>
              </a:rPr>
              <a:t>Manage using existing Tools</a:t>
            </a:r>
          </a:p>
        </p:txBody>
      </p:sp>
      <p:sp>
        <p:nvSpPr>
          <p:cNvPr id="68" name="TextBox 20"/>
          <p:cNvSpPr txBox="1"/>
          <p:nvPr/>
        </p:nvSpPr>
        <p:spPr>
          <a:xfrm>
            <a:off x="7282663" y="6195097"/>
            <a:ext cx="1790926"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a:gradFill>
                  <a:gsLst>
                    <a:gs pos="100000">
                      <a:srgbClr val="00188F"/>
                    </a:gs>
                    <a:gs pos="0">
                      <a:srgbClr val="00188F"/>
                    </a:gs>
                  </a:gsLst>
                  <a:lin ang="5400000" scaled="0"/>
                </a:gradFill>
              </a:rPr>
              <a:t>Azure</a:t>
            </a:r>
          </a:p>
        </p:txBody>
      </p:sp>
      <p:sp>
        <p:nvSpPr>
          <p:cNvPr id="69" name="Rectangle 68"/>
          <p:cNvSpPr/>
          <p:nvPr/>
        </p:nvSpPr>
        <p:spPr bwMode="auto">
          <a:xfrm>
            <a:off x="435721" y="1697933"/>
            <a:ext cx="6159065" cy="4401772"/>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71" name="TextBox 69"/>
          <p:cNvSpPr txBox="1"/>
          <p:nvPr/>
        </p:nvSpPr>
        <p:spPr>
          <a:xfrm>
            <a:off x="448903" y="6189686"/>
            <a:ext cx="6337632"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a:gradFill>
                  <a:gsLst>
                    <a:gs pos="100000">
                      <a:srgbClr val="00188F"/>
                    </a:gs>
                    <a:gs pos="0">
                      <a:srgbClr val="00188F"/>
                    </a:gs>
                  </a:gsLst>
                  <a:lin ang="5400000" scaled="0"/>
                </a:gradFill>
              </a:rPr>
              <a:t>On Premises</a:t>
            </a:r>
            <a:endParaRPr lang="en-US" sz="1959" spc="-70" dirty="0">
              <a:gradFill>
                <a:gsLst>
                  <a:gs pos="100000">
                    <a:srgbClr val="00188F"/>
                  </a:gs>
                  <a:gs pos="0">
                    <a:srgbClr val="00188F"/>
                  </a:gs>
                </a:gsLst>
                <a:lin ang="5400000" scaled="0"/>
              </a:gradFill>
            </a:endParaRPr>
          </a:p>
        </p:txBody>
      </p:sp>
      <p:sp>
        <p:nvSpPr>
          <p:cNvPr id="73" name="Rectangle 72"/>
          <p:cNvSpPr/>
          <p:nvPr/>
        </p:nvSpPr>
        <p:spPr bwMode="auto">
          <a:xfrm>
            <a:off x="7327057" y="2828687"/>
            <a:ext cx="2242275" cy="3314639"/>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89" name="Picture 88"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6483809" y="2820161"/>
            <a:ext cx="914032" cy="914032"/>
          </a:xfrm>
          <a:prstGeom prst="rect">
            <a:avLst/>
          </a:prstGeom>
          <a:noFill/>
        </p:spPr>
      </p:pic>
      <p:sp>
        <p:nvSpPr>
          <p:cNvPr id="104" name="Freeform 103"/>
          <p:cNvSpPr>
            <a:spLocks noEditPoints="1"/>
          </p:cNvSpPr>
          <p:nvPr/>
        </p:nvSpPr>
        <p:spPr bwMode="black">
          <a:xfrm>
            <a:off x="4334490" y="3618100"/>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pic>
        <p:nvPicPr>
          <p:cNvPr id="99" name="Picture 98" descr="C:\Users\mflorida.REDMOND\AppData\Local\Microsoft\Windows\Temporary Internet Files\Content.Outlook\CJ3SCPD3\SysCnt12-ConfigMgr_h_rgb_r.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446632" y="4786573"/>
            <a:ext cx="1410357" cy="37516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5" name="Freeform 104"/>
          <p:cNvSpPr>
            <a:spLocks noEditPoints="1"/>
          </p:cNvSpPr>
          <p:nvPr/>
        </p:nvSpPr>
        <p:spPr bwMode="black">
          <a:xfrm>
            <a:off x="760586"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106" name="TextBox 105"/>
          <p:cNvSpPr txBox="1"/>
          <p:nvPr/>
        </p:nvSpPr>
        <p:spPr>
          <a:xfrm>
            <a:off x="431401" y="5502667"/>
            <a:ext cx="1290729" cy="492443"/>
          </a:xfrm>
          <a:prstGeom prst="rect">
            <a:avLst/>
          </a:prstGeom>
          <a:noFill/>
        </p:spPr>
        <p:txBody>
          <a:bodyPr wrap="square" lIns="0" tIns="0" rIns="0" bIns="0" rtlCol="0">
            <a:spAutoFit/>
          </a:bodyPr>
          <a:lstStyle/>
          <a:p>
            <a:pPr algn="ctr" defTabSz="685593"/>
            <a:r>
              <a:rPr lang="en-US" sz="1600" spc="-53" dirty="0">
                <a:solidFill>
                  <a:schemeClr val="bg1"/>
                </a:solidFill>
              </a:rPr>
              <a:t>Windows Server 2012</a:t>
            </a:r>
          </a:p>
        </p:txBody>
      </p:sp>
      <p:sp>
        <p:nvSpPr>
          <p:cNvPr id="111" name="TextBox 20"/>
          <p:cNvSpPr txBox="1"/>
          <p:nvPr/>
        </p:nvSpPr>
        <p:spPr>
          <a:xfrm>
            <a:off x="10104381" y="6195097"/>
            <a:ext cx="1896461"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a:gradFill>
                  <a:gsLst>
                    <a:gs pos="100000">
                      <a:srgbClr val="00188F"/>
                    </a:gs>
                    <a:gs pos="0">
                      <a:srgbClr val="00188F"/>
                    </a:gs>
                  </a:gsLst>
                  <a:lin ang="5400000" scaled="0"/>
                </a:gradFill>
              </a:rPr>
              <a:t>Internet</a:t>
            </a:r>
          </a:p>
        </p:txBody>
      </p:sp>
      <p:pic>
        <p:nvPicPr>
          <p:cNvPr id="138" name="Picture 137"/>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410330" y="5547770"/>
            <a:ext cx="103479" cy="264875"/>
          </a:xfrm>
          <a:prstGeom prst="rect">
            <a:avLst/>
          </a:prstGeom>
          <a:noFill/>
        </p:spPr>
      </p:pic>
      <p:sp>
        <p:nvSpPr>
          <p:cNvPr id="139" name="TextBox 138"/>
          <p:cNvSpPr txBox="1"/>
          <p:nvPr/>
        </p:nvSpPr>
        <p:spPr>
          <a:xfrm>
            <a:off x="10514872" y="5587898"/>
            <a:ext cx="1446414" cy="246221"/>
          </a:xfrm>
          <a:prstGeom prst="rect">
            <a:avLst/>
          </a:prstGeom>
          <a:noFill/>
        </p:spPr>
        <p:txBody>
          <a:bodyPr wrap="square" lIns="0" tIns="0" rIns="0" bIns="0" rtlCol="0">
            <a:spAutoFit/>
          </a:bodyPr>
          <a:lstStyle/>
          <a:p>
            <a:pPr algn="ctr" defTabSz="685658"/>
            <a:r>
              <a:rPr lang="en-US" sz="1600" spc="-53" dirty="0">
                <a:solidFill>
                  <a:schemeClr val="bg1"/>
                </a:solidFill>
              </a:rPr>
              <a:t>Android</a:t>
            </a:r>
          </a:p>
        </p:txBody>
      </p:sp>
      <p:grpSp>
        <p:nvGrpSpPr>
          <p:cNvPr id="147" name="Group 146"/>
          <p:cNvGrpSpPr/>
          <p:nvPr/>
        </p:nvGrpSpPr>
        <p:grpSpPr bwMode="black">
          <a:xfrm>
            <a:off x="10301003" y="3857881"/>
            <a:ext cx="229760" cy="302080"/>
            <a:chOff x="2916435" y="3914152"/>
            <a:chExt cx="930763" cy="918513"/>
          </a:xfrm>
          <a:solidFill>
            <a:schemeClr val="bg2">
              <a:lumMod val="40000"/>
              <a:lumOff val="60000"/>
            </a:schemeClr>
          </a:solidFill>
        </p:grpSpPr>
        <p:pic>
          <p:nvPicPr>
            <p:cNvPr id="159" name="Picture 158"/>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a:noFill/>
          </p:spPr>
        </p:pic>
        <p:sp>
          <p:nvSpPr>
            <p:cNvPr id="1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extLst/>
          </p:spPr>
          <p:txBody>
            <a:bodyPr vert="horz" wrap="square" lIns="91416" tIns="45708" rIns="91416" bIns="45708" numCol="1" anchor="t" anchorCtr="0" compatLnSpc="1">
              <a:prstTxWarp prst="textNoShape">
                <a:avLst/>
              </a:prstTxWarp>
            </a:bodyPr>
            <a:lstStyle/>
            <a:p>
              <a:endParaRPr lang="en-US" sz="700" dirty="0">
                <a:solidFill>
                  <a:schemeClr val="bg2">
                    <a:lumMod val="40000"/>
                    <a:lumOff val="60000"/>
                  </a:schemeClr>
                </a:solidFill>
              </a:endParaRPr>
            </a:p>
          </p:txBody>
        </p:sp>
      </p:grpSp>
      <p:sp>
        <p:nvSpPr>
          <p:cNvPr id="148" name="Rounded Rectangle 6"/>
          <p:cNvSpPr/>
          <p:nvPr/>
        </p:nvSpPr>
        <p:spPr bwMode="black">
          <a:xfrm rot="16200000">
            <a:off x="10253209" y="2951618"/>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chemeClr val="bg2">
                  <a:lumMod val="40000"/>
                  <a:lumOff val="60000"/>
                </a:schemeClr>
              </a:solidFill>
              <a:latin typeface="Segoe Light" pitchFamily="34" charset="0"/>
            </a:endParaRPr>
          </a:p>
        </p:txBody>
      </p:sp>
      <p:sp>
        <p:nvSpPr>
          <p:cNvPr id="149" name="TextBox 148"/>
          <p:cNvSpPr txBox="1"/>
          <p:nvPr/>
        </p:nvSpPr>
        <p:spPr>
          <a:xfrm>
            <a:off x="10557237" y="3782874"/>
            <a:ext cx="1361684" cy="492443"/>
          </a:xfrm>
          <a:prstGeom prst="rect">
            <a:avLst/>
          </a:prstGeom>
          <a:noFill/>
        </p:spPr>
        <p:txBody>
          <a:bodyPr wrap="square" lIns="0" tIns="0" rIns="0" bIns="0" rtlCol="0">
            <a:spAutoFit/>
          </a:bodyPr>
          <a:lstStyle/>
          <a:p>
            <a:pPr algn="ctr" defTabSz="685658"/>
            <a:r>
              <a:rPr lang="en-US" sz="1600" spc="-53" dirty="0">
                <a:solidFill>
                  <a:schemeClr val="bg2">
                    <a:lumMod val="40000"/>
                    <a:lumOff val="60000"/>
                  </a:schemeClr>
                </a:solidFill>
              </a:rPr>
              <a:t>Windows Phone 8</a:t>
            </a:r>
          </a:p>
        </p:txBody>
      </p:sp>
      <p:sp>
        <p:nvSpPr>
          <p:cNvPr id="150" name="TextBox 149"/>
          <p:cNvSpPr txBox="1"/>
          <p:nvPr/>
        </p:nvSpPr>
        <p:spPr>
          <a:xfrm>
            <a:off x="10514872" y="3077306"/>
            <a:ext cx="1446414" cy="246221"/>
          </a:xfrm>
          <a:prstGeom prst="rect">
            <a:avLst/>
          </a:prstGeom>
          <a:noFill/>
        </p:spPr>
        <p:txBody>
          <a:bodyPr wrap="square" lIns="0" tIns="0" rIns="0" bIns="0" rtlCol="0">
            <a:spAutoFit/>
          </a:bodyPr>
          <a:lstStyle/>
          <a:p>
            <a:pPr algn="ctr" defTabSz="685658"/>
            <a:r>
              <a:rPr lang="en-US" sz="1600" spc="-53" dirty="0">
                <a:solidFill>
                  <a:schemeClr val="bg2">
                    <a:lumMod val="40000"/>
                    <a:lumOff val="60000"/>
                  </a:schemeClr>
                </a:solidFill>
              </a:rPr>
              <a:t>Windows RT</a:t>
            </a:r>
          </a:p>
        </p:txBody>
      </p:sp>
      <p:sp>
        <p:nvSpPr>
          <p:cNvPr id="153" name="Rounded Rectangle 6"/>
          <p:cNvSpPr/>
          <p:nvPr/>
        </p:nvSpPr>
        <p:spPr bwMode="black">
          <a:xfrm rot="16200000">
            <a:off x="10262443" y="4641508"/>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chemeClr val="bg2">
                  <a:lumMod val="40000"/>
                  <a:lumOff val="60000"/>
                </a:schemeClr>
              </a:solidFill>
              <a:latin typeface="Segoe Light" pitchFamily="34" charset="0"/>
            </a:endParaRPr>
          </a:p>
        </p:txBody>
      </p:sp>
      <p:sp>
        <p:nvSpPr>
          <p:cNvPr id="154" name="TextBox 153"/>
          <p:cNvSpPr txBox="1"/>
          <p:nvPr/>
        </p:nvSpPr>
        <p:spPr>
          <a:xfrm>
            <a:off x="10514872" y="4740166"/>
            <a:ext cx="1446414" cy="246221"/>
          </a:xfrm>
          <a:prstGeom prst="rect">
            <a:avLst/>
          </a:prstGeom>
          <a:noFill/>
        </p:spPr>
        <p:txBody>
          <a:bodyPr wrap="square" lIns="0" tIns="0" rIns="0" bIns="0" rtlCol="0">
            <a:spAutoFit/>
          </a:bodyPr>
          <a:lstStyle/>
          <a:p>
            <a:pPr algn="ctr" defTabSz="685658"/>
            <a:r>
              <a:rPr lang="en-US" sz="1600" spc="-53" dirty="0" err="1">
                <a:solidFill>
                  <a:schemeClr val="bg2">
                    <a:lumMod val="40000"/>
                    <a:lumOff val="60000"/>
                  </a:schemeClr>
                </a:solidFill>
              </a:rPr>
              <a:t>iOS</a:t>
            </a:r>
            <a:endParaRPr lang="en-US" sz="1600" spc="-53" dirty="0">
              <a:solidFill>
                <a:schemeClr val="bg2">
                  <a:lumMod val="40000"/>
                  <a:lumOff val="60000"/>
                </a:schemeClr>
              </a:solidFill>
            </a:endParaRPr>
          </a:p>
        </p:txBody>
      </p:sp>
      <p:sp>
        <p:nvSpPr>
          <p:cNvPr id="162" name="TextBox 161"/>
          <p:cNvSpPr txBox="1"/>
          <p:nvPr/>
        </p:nvSpPr>
        <p:spPr>
          <a:xfrm>
            <a:off x="1993093" y="2911546"/>
            <a:ext cx="1446414" cy="246221"/>
          </a:xfrm>
          <a:prstGeom prst="rect">
            <a:avLst/>
          </a:prstGeom>
          <a:noFill/>
        </p:spPr>
        <p:txBody>
          <a:bodyPr wrap="square" lIns="0" tIns="0" rIns="0" bIns="0" rtlCol="0">
            <a:spAutoFit/>
          </a:bodyPr>
          <a:lstStyle/>
          <a:p>
            <a:pPr algn="ctr" defTabSz="685658"/>
            <a:r>
              <a:rPr lang="en-US" sz="1600" spc="-53" dirty="0">
                <a:solidFill>
                  <a:schemeClr val="bg2">
                    <a:lumMod val="40000"/>
                    <a:lumOff val="60000"/>
                  </a:schemeClr>
                </a:solidFill>
              </a:rPr>
              <a:t>X86/x64 </a:t>
            </a:r>
          </a:p>
        </p:txBody>
      </p:sp>
      <p:sp>
        <p:nvSpPr>
          <p:cNvPr id="170" name="TextBox 169"/>
          <p:cNvSpPr txBox="1"/>
          <p:nvPr/>
        </p:nvSpPr>
        <p:spPr>
          <a:xfrm>
            <a:off x="521294" y="2883233"/>
            <a:ext cx="1290729" cy="246221"/>
          </a:xfrm>
          <a:prstGeom prst="rect">
            <a:avLst/>
          </a:prstGeom>
          <a:noFill/>
        </p:spPr>
        <p:txBody>
          <a:bodyPr wrap="square" lIns="0" tIns="0" rIns="0" bIns="0" rtlCol="0">
            <a:spAutoFit/>
          </a:bodyPr>
          <a:lstStyle/>
          <a:p>
            <a:pPr algn="ctr" defTabSz="685593"/>
            <a:r>
              <a:rPr lang="en-US" sz="1600" spc="-53" dirty="0">
                <a:solidFill>
                  <a:schemeClr val="bg1"/>
                </a:solidFill>
              </a:rPr>
              <a:t>Macs</a:t>
            </a:r>
          </a:p>
        </p:txBody>
      </p:sp>
      <p:sp>
        <p:nvSpPr>
          <p:cNvPr id="42" name="Freeform 20"/>
          <p:cNvSpPr>
            <a:spLocks noEditPoints="1"/>
          </p:cNvSpPr>
          <p:nvPr/>
        </p:nvSpPr>
        <p:spPr bwMode="black">
          <a:xfrm>
            <a:off x="611189" y="1957159"/>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endParaRPr lang="en-US" sz="700" dirty="0">
              <a:solidFill>
                <a:schemeClr val="bg2">
                  <a:lumMod val="40000"/>
                  <a:lumOff val="60000"/>
                </a:schemeClr>
              </a:solidFill>
            </a:endParaRPr>
          </a:p>
        </p:txBody>
      </p:sp>
      <p:cxnSp>
        <p:nvCxnSpPr>
          <p:cNvPr id="48" name="Straight Arrow Connector 47"/>
          <p:cNvCxnSpPr/>
          <p:nvPr/>
        </p:nvCxnSpPr>
        <p:spPr>
          <a:xfrm flipV="1">
            <a:off x="4996880" y="2234200"/>
            <a:ext cx="2425816" cy="1344188"/>
          </a:xfrm>
          <a:prstGeom prst="straightConnector1">
            <a:avLst/>
          </a:prstGeom>
          <a:ln w="34925">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7" name="Freeform 46"/>
          <p:cNvSpPr>
            <a:spLocks noEditPoints="1"/>
          </p:cNvSpPr>
          <p:nvPr/>
        </p:nvSpPr>
        <p:spPr bwMode="black">
          <a:xfrm>
            <a:off x="8686133" y="301325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51" name="Freeform 50"/>
          <p:cNvSpPr>
            <a:spLocks noEditPoints="1"/>
          </p:cNvSpPr>
          <p:nvPr/>
        </p:nvSpPr>
        <p:spPr bwMode="black">
          <a:xfrm>
            <a:off x="7617872" y="438502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49" name="Freeform 48"/>
          <p:cNvSpPr>
            <a:spLocks noEditPoints="1"/>
          </p:cNvSpPr>
          <p:nvPr/>
        </p:nvSpPr>
        <p:spPr bwMode="black">
          <a:xfrm>
            <a:off x="8682863" y="4376573"/>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52" name="TextBox 51"/>
          <p:cNvSpPr txBox="1"/>
          <p:nvPr/>
        </p:nvSpPr>
        <p:spPr>
          <a:xfrm>
            <a:off x="7274676" y="5537250"/>
            <a:ext cx="1290729" cy="492443"/>
          </a:xfrm>
          <a:prstGeom prst="rect">
            <a:avLst/>
          </a:prstGeom>
          <a:noFill/>
        </p:spPr>
        <p:txBody>
          <a:bodyPr wrap="square" lIns="0" tIns="0" rIns="0" bIns="0" rtlCol="0">
            <a:spAutoFit/>
          </a:bodyPr>
          <a:lstStyle/>
          <a:p>
            <a:pPr algn="ctr" defTabSz="685593"/>
            <a:r>
              <a:rPr lang="en-US" sz="1600" spc="-53" dirty="0">
                <a:solidFill>
                  <a:schemeClr val="bg1"/>
                </a:solidFill>
              </a:rPr>
              <a:t>Windows Server 2012</a:t>
            </a:r>
          </a:p>
        </p:txBody>
      </p:sp>
      <p:sp>
        <p:nvSpPr>
          <p:cNvPr id="53" name="TextBox 52"/>
          <p:cNvSpPr txBox="1"/>
          <p:nvPr/>
        </p:nvSpPr>
        <p:spPr>
          <a:xfrm>
            <a:off x="8318013" y="5530900"/>
            <a:ext cx="1290729" cy="492443"/>
          </a:xfrm>
          <a:prstGeom prst="rect">
            <a:avLst/>
          </a:prstGeom>
          <a:noFill/>
        </p:spPr>
        <p:txBody>
          <a:bodyPr wrap="square" lIns="0" tIns="0" rIns="0" bIns="0" rtlCol="0">
            <a:spAutoFit/>
          </a:bodyPr>
          <a:lstStyle/>
          <a:p>
            <a:pPr algn="ctr" defTabSz="685593"/>
            <a:r>
              <a:rPr lang="en-US" sz="1600" spc="-53" dirty="0">
                <a:solidFill>
                  <a:schemeClr val="bg1"/>
                </a:solidFill>
              </a:rPr>
              <a:t>Windows Server 2012</a:t>
            </a:r>
          </a:p>
        </p:txBody>
      </p:sp>
      <p:sp>
        <p:nvSpPr>
          <p:cNvPr id="54" name="TextBox 53"/>
          <p:cNvSpPr txBox="1"/>
          <p:nvPr/>
        </p:nvSpPr>
        <p:spPr>
          <a:xfrm>
            <a:off x="7489335" y="2946063"/>
            <a:ext cx="1157243" cy="759380"/>
          </a:xfrm>
          <a:prstGeom prst="rect">
            <a:avLst/>
          </a:prstGeom>
          <a:noFill/>
        </p:spPr>
        <p:txBody>
          <a:bodyPr wrap="square" lIns="0" tIns="0" rIns="0" bIns="0" rtlCol="0">
            <a:spAutoFit/>
          </a:bodyPr>
          <a:lstStyle/>
          <a:p>
            <a:pPr algn="ctr" defTabSz="685658"/>
            <a:r>
              <a:rPr lang="en-US" sz="1600" spc="-53" dirty="0">
                <a:solidFill>
                  <a:schemeClr val="bg2">
                    <a:lumMod val="40000"/>
                    <a:lumOff val="60000"/>
                  </a:schemeClr>
                </a:solidFill>
              </a:rPr>
              <a:t>Windows Server 2008 R2</a:t>
            </a:r>
          </a:p>
        </p:txBody>
      </p:sp>
      <p:sp>
        <p:nvSpPr>
          <p:cNvPr id="55" name="Freeform 128"/>
          <p:cNvSpPr>
            <a:spLocks noChangeAspect="1"/>
          </p:cNvSpPr>
          <p:nvPr/>
        </p:nvSpPr>
        <p:spPr bwMode="black">
          <a:xfrm>
            <a:off x="7553398" y="1293720"/>
            <a:ext cx="2747887" cy="12127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lumMod val="60000"/>
              <a:lumOff val="40000"/>
            </a:schemeClr>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 name="TextBox 9"/>
          <p:cNvSpPr txBox="1"/>
          <p:nvPr/>
        </p:nvSpPr>
        <p:spPr>
          <a:xfrm>
            <a:off x="7727580" y="1680497"/>
            <a:ext cx="2573704" cy="517065"/>
          </a:xfrm>
          <a:prstGeom prst="rect">
            <a:avLst/>
          </a:prstGeom>
          <a:noFill/>
        </p:spPr>
        <p:txBody>
          <a:bodyPr wrap="square" lIns="182880" tIns="146304" rIns="182880" bIns="146304" rtlCol="0">
            <a:spAutoFit/>
          </a:bodyPr>
          <a:lstStyle/>
          <a:p>
            <a:pPr algn="ctr" defTabSz="685658">
              <a:lnSpc>
                <a:spcPct val="90000"/>
              </a:lnSpc>
            </a:pPr>
            <a:r>
              <a:rPr lang="en-US" sz="1600" spc="-53" dirty="0">
                <a:solidFill>
                  <a:schemeClr val="bg2">
                    <a:lumMod val="40000"/>
                    <a:lumOff val="60000"/>
                  </a:schemeClr>
                </a:solidFill>
              </a:rPr>
              <a:t>Windows Intune</a:t>
            </a:r>
          </a:p>
        </p:txBody>
      </p:sp>
      <p:grpSp>
        <p:nvGrpSpPr>
          <p:cNvPr id="3" name="Group 2"/>
          <p:cNvGrpSpPr/>
          <p:nvPr/>
        </p:nvGrpSpPr>
        <p:grpSpPr>
          <a:xfrm>
            <a:off x="6070145" y="3562421"/>
            <a:ext cx="1785139" cy="362101"/>
            <a:chOff x="6337148" y="3932897"/>
            <a:chExt cx="1785139" cy="362101"/>
          </a:xfrm>
        </p:grpSpPr>
        <p:cxnSp>
          <p:nvCxnSpPr>
            <p:cNvPr id="74" name="Straight Connector 73"/>
            <p:cNvCxnSpPr/>
            <p:nvPr/>
          </p:nvCxnSpPr>
          <p:spPr>
            <a:xfrm>
              <a:off x="6337148" y="3932897"/>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337148" y="428684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TextBox 65"/>
            <p:cNvSpPr txBox="1"/>
            <p:nvPr/>
          </p:nvSpPr>
          <p:spPr>
            <a:xfrm>
              <a:off x="6678768" y="3978262"/>
              <a:ext cx="1173847"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VPN Tunnel</a:t>
              </a:r>
            </a:p>
          </p:txBody>
        </p:sp>
      </p:grpSp>
      <p:sp>
        <p:nvSpPr>
          <p:cNvPr id="56" name="Freeform 20"/>
          <p:cNvSpPr>
            <a:spLocks noEditPoints="1"/>
          </p:cNvSpPr>
          <p:nvPr/>
        </p:nvSpPr>
        <p:spPr bwMode="black">
          <a:xfrm>
            <a:off x="2151551" y="1959031"/>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endParaRPr lang="en-US" sz="700" dirty="0">
              <a:solidFill>
                <a:schemeClr val="bg2">
                  <a:lumMod val="40000"/>
                  <a:lumOff val="60000"/>
                </a:schemeClr>
              </a:solidFill>
            </a:endParaRPr>
          </a:p>
        </p:txBody>
      </p:sp>
      <p:sp>
        <p:nvSpPr>
          <p:cNvPr id="57" name="Freeform 56"/>
          <p:cNvSpPr>
            <a:spLocks noEditPoints="1"/>
          </p:cNvSpPr>
          <p:nvPr/>
        </p:nvSpPr>
        <p:spPr bwMode="black">
          <a:xfrm>
            <a:off x="3595807" y="1844832"/>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grpSp>
        <p:nvGrpSpPr>
          <p:cNvPr id="101" name="Group 3"/>
          <p:cNvGrpSpPr/>
          <p:nvPr/>
        </p:nvGrpSpPr>
        <p:grpSpPr>
          <a:xfrm>
            <a:off x="3556493" y="2623985"/>
            <a:ext cx="805597" cy="638607"/>
            <a:chOff x="1814425" y="3354772"/>
            <a:chExt cx="1291249" cy="1099851"/>
          </a:xfrm>
        </p:grpSpPr>
        <p:sp>
          <p:nvSpPr>
            <p:cNvPr id="102" name="TextBox 4"/>
            <p:cNvSpPr txBox="1"/>
            <p:nvPr/>
          </p:nvSpPr>
          <p:spPr>
            <a:xfrm>
              <a:off x="1814425" y="4030565"/>
              <a:ext cx="1291249" cy="424058"/>
            </a:xfrm>
            <a:prstGeom prst="rect">
              <a:avLst/>
            </a:prstGeom>
            <a:noFill/>
          </p:spPr>
          <p:txBody>
            <a:bodyPr wrap="square" lIns="0" tIns="0" rIns="0" bIns="0" rtlCol="0">
              <a:spAutoFit/>
            </a:bodyPr>
            <a:lstStyle/>
            <a:p>
              <a:pPr algn="ctr" defTabSz="685593"/>
              <a:r>
                <a:rPr lang="en-US" sz="1600" spc="-53" dirty="0">
                  <a:solidFill>
                    <a:schemeClr val="bg1"/>
                  </a:solidFill>
                </a:rPr>
                <a:t>AD</a:t>
              </a:r>
            </a:p>
          </p:txBody>
        </p:sp>
        <p:sp>
          <p:nvSpPr>
            <p:cNvPr id="103" name="Isosceles Triangle 5"/>
            <p:cNvSpPr/>
            <p:nvPr/>
          </p:nvSpPr>
          <p:spPr>
            <a:xfrm>
              <a:off x="2300225" y="3354772"/>
              <a:ext cx="752720" cy="658830"/>
            </a:xfrm>
            <a:prstGeom prst="triangle">
              <a:avLst/>
            </a:prstGeom>
            <a:solidFill>
              <a:srgbClr val="5DA799"/>
            </a:solidFill>
            <a:ln w="889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bg1"/>
                </a:solidFill>
              </a:endParaRPr>
            </a:p>
          </p:txBody>
        </p:sp>
      </p:grpSp>
      <p:sp>
        <p:nvSpPr>
          <p:cNvPr id="58" name="Freeform 57"/>
          <p:cNvSpPr>
            <a:spLocks noEditPoints="1"/>
          </p:cNvSpPr>
          <p:nvPr/>
        </p:nvSpPr>
        <p:spPr bwMode="black">
          <a:xfrm>
            <a:off x="1901590"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59" name="TextBox 58"/>
          <p:cNvSpPr txBox="1"/>
          <p:nvPr/>
        </p:nvSpPr>
        <p:spPr>
          <a:xfrm>
            <a:off x="1572405" y="5502667"/>
            <a:ext cx="1290729" cy="492443"/>
          </a:xfrm>
          <a:prstGeom prst="rect">
            <a:avLst/>
          </a:prstGeom>
          <a:noFill/>
        </p:spPr>
        <p:txBody>
          <a:bodyPr wrap="square" lIns="0" tIns="0" rIns="0" bIns="0" rtlCol="0">
            <a:spAutoFit/>
          </a:bodyPr>
          <a:lstStyle/>
          <a:p>
            <a:pPr algn="ctr" defTabSz="685593"/>
            <a:r>
              <a:rPr lang="en-US" sz="1600" spc="-53" dirty="0">
                <a:solidFill>
                  <a:schemeClr val="bg1"/>
                </a:solidFill>
              </a:rPr>
              <a:t>Windows Server 2008</a:t>
            </a:r>
          </a:p>
        </p:txBody>
      </p:sp>
      <p:sp>
        <p:nvSpPr>
          <p:cNvPr id="60" name="Freeform 59"/>
          <p:cNvSpPr>
            <a:spLocks noEditPoints="1"/>
          </p:cNvSpPr>
          <p:nvPr/>
        </p:nvSpPr>
        <p:spPr bwMode="black">
          <a:xfrm>
            <a:off x="3082004"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chemeClr val="bg2">
                  <a:lumMod val="10000"/>
                </a:schemeClr>
              </a:solidFill>
              <a:latin typeface="Segoe Light" pitchFamily="34" charset="0"/>
            </a:endParaRPr>
          </a:p>
        </p:txBody>
      </p:sp>
      <p:sp>
        <p:nvSpPr>
          <p:cNvPr id="61" name="TextBox 60"/>
          <p:cNvSpPr txBox="1"/>
          <p:nvPr/>
        </p:nvSpPr>
        <p:spPr>
          <a:xfrm>
            <a:off x="2752819" y="5502667"/>
            <a:ext cx="1290729" cy="492443"/>
          </a:xfrm>
          <a:prstGeom prst="rect">
            <a:avLst/>
          </a:prstGeom>
          <a:noFill/>
        </p:spPr>
        <p:txBody>
          <a:bodyPr wrap="square" lIns="0" tIns="0" rIns="0" bIns="0" rtlCol="0">
            <a:spAutoFit/>
          </a:bodyPr>
          <a:lstStyle/>
          <a:p>
            <a:pPr algn="ctr" defTabSz="685593"/>
            <a:r>
              <a:rPr lang="en-US" sz="1600" spc="-53" dirty="0">
                <a:solidFill>
                  <a:schemeClr val="bg1"/>
                </a:solidFill>
              </a:rPr>
              <a:t>Windows Server 2003</a:t>
            </a:r>
          </a:p>
        </p:txBody>
      </p:sp>
      <p:cxnSp>
        <p:nvCxnSpPr>
          <p:cNvPr id="63" name="Straight Arrow Connector 62"/>
          <p:cNvCxnSpPr/>
          <p:nvPr/>
        </p:nvCxnSpPr>
        <p:spPr>
          <a:xfrm>
            <a:off x="9776452" y="2600852"/>
            <a:ext cx="7614" cy="3144010"/>
          </a:xfrm>
          <a:prstGeom prst="straightConnector1">
            <a:avLst/>
          </a:prstGeom>
          <a:ln w="34925">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1072453" y="3788905"/>
            <a:ext cx="3176332" cy="9692"/>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1083141" y="3184001"/>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H="1">
            <a:off x="1072454" y="3809642"/>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2708598" y="3188623"/>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H="1" flipV="1">
            <a:off x="3917864" y="3280149"/>
            <a:ext cx="698" cy="500890"/>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H="1">
            <a:off x="2201178" y="3814397"/>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3387046" y="3809634"/>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9776079" y="3200416"/>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9795129" y="3990991"/>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9804654" y="4838716"/>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V="1">
            <a:off x="9795129" y="5715016"/>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5095975" y="3842482"/>
            <a:ext cx="3459477" cy="6119"/>
          </a:xfrm>
          <a:prstGeom prst="straightConnector1">
            <a:avLst/>
          </a:prstGeom>
          <a:ln w="3492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7946148" y="3825426"/>
            <a:ext cx="0" cy="456340"/>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H="1" flipV="1">
            <a:off x="8241414" y="3838299"/>
            <a:ext cx="323991" cy="538275"/>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1094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500"/>
                                        <p:tgtEl>
                                          <p:spTgt spid="98"/>
                                        </p:tgtEl>
                                      </p:cBhvr>
                                    </p:animEffect>
                                  </p:childTnLst>
                                </p:cTn>
                              </p:par>
                              <p:par>
                                <p:cTn id="8" presetID="10" presetClass="entr" presetSubtype="0" fill="hold" nodeType="withEffect">
                                  <p:stCondLst>
                                    <p:cond delay="0"/>
                                  </p:stCondLst>
                                  <p:childTnLst>
                                    <p:set>
                                      <p:cBhvr>
                                        <p:cTn id="9" dur="1" fill="hold">
                                          <p:stCondLst>
                                            <p:cond delay="0"/>
                                          </p:stCondLst>
                                        </p:cTn>
                                        <p:tgtEl>
                                          <p:spTgt spid="107"/>
                                        </p:tgtEl>
                                        <p:attrNameLst>
                                          <p:attrName>style.visibility</p:attrName>
                                        </p:attrNameLst>
                                      </p:cBhvr>
                                      <p:to>
                                        <p:strVal val="visible"/>
                                      </p:to>
                                    </p:set>
                                    <p:animEffect transition="in" filter="fade">
                                      <p:cBhvr>
                                        <p:cTn id="10" dur="500"/>
                                        <p:tgtEl>
                                          <p:spTgt spid="107"/>
                                        </p:tgtEl>
                                      </p:cBhvr>
                                    </p:animEffect>
                                  </p:childTnLst>
                                </p:cTn>
                              </p:par>
                              <p:par>
                                <p:cTn id="11" presetID="10" presetClass="entr" presetSubtype="0" fill="hold" nodeType="withEffect">
                                  <p:stCondLst>
                                    <p:cond delay="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_rels/theme1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1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12.xml><?xml version="1.0" encoding="utf-8"?>
<a:theme xmlns:a="http://schemas.openxmlformats.org/drawingml/2006/main" name="5-30438_S4_Breakout_Template_WHT">
  <a:themeElements>
    <a:clrScheme name="S4 White">
      <a:dk1>
        <a:srgbClr val="505050"/>
      </a:dk1>
      <a:lt1>
        <a:srgbClr val="FFFFFF"/>
      </a:lt1>
      <a:dk2>
        <a:srgbClr val="0072C6"/>
      </a:dk2>
      <a:lt2>
        <a:srgbClr val="D2D2D2"/>
      </a:lt2>
      <a:accent1>
        <a:srgbClr val="0072C6"/>
      </a:accent1>
      <a:accent2>
        <a:srgbClr val="00188F"/>
      </a:accent2>
      <a:accent3>
        <a:srgbClr val="442359"/>
      </a:accent3>
      <a:accent4>
        <a:srgbClr val="008A0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Template" id="{48664ACC-871D-4AF6-86D0-10CA791446D6}" vid="{4DD0B7D3-A16E-4C4A-8160-7EA001B3651D}"/>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5.xml><?xml version="1.0" encoding="utf-8"?>
<a:theme xmlns:a="http://schemas.openxmlformats.org/drawingml/2006/main" name="1_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6.xml><?xml version="1.0" encoding="utf-8"?>
<a:theme xmlns:a="http://schemas.openxmlformats.org/drawingml/2006/main" name="2_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7.xml><?xml version="1.0" encoding="utf-8"?>
<a:theme xmlns:a="http://schemas.openxmlformats.org/drawingml/2006/main" name="4_Metro Template Light 16x9">
  <a:themeElements>
    <a:clrScheme name="Microsoft Corp Colors">
      <a:dk1>
        <a:srgbClr val="000000"/>
      </a:dk1>
      <a:lt1>
        <a:srgbClr val="FFFFFF"/>
      </a:lt1>
      <a:dk2>
        <a:srgbClr val="3F3F3F"/>
      </a:dk2>
      <a:lt2>
        <a:srgbClr val="F2F2F2"/>
      </a:lt2>
      <a:accent1>
        <a:srgbClr val="00BCF2"/>
      </a:accent1>
      <a:accent2>
        <a:srgbClr val="BAD80A"/>
      </a:accent2>
      <a:accent3>
        <a:srgbClr val="FF8C00"/>
      </a:accent3>
      <a:accent4>
        <a:srgbClr val="EC008C"/>
      </a:accent4>
      <a:accent5>
        <a:srgbClr val="00198F"/>
      </a:accent5>
      <a:accent6>
        <a:srgbClr val="68217A"/>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8.xml><?xml version="1.0" encoding="utf-8"?>
<a:theme xmlns:a="http://schemas.openxmlformats.org/drawingml/2006/main" name="5_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9.xml><?xml version="1.0" encoding="utf-8"?>
<a:theme xmlns:a="http://schemas.openxmlformats.org/drawingml/2006/main" name="3_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Override1.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ingHintHash xmlns="9cbcdbd8-24a2-41b9-9eb9-2e600d6b6fa2">787232448</SharingHintHash>
    <SharedWithUsers xmlns="9cbcdbd8-24a2-41b9-9eb9-2e600d6b6fa2">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2ED8ADF06324A4796D92F03FA859016" ma:contentTypeVersion="2" ma:contentTypeDescription="Create a new document." ma:contentTypeScope="" ma:versionID="b47456747652ae1b90be54423f739428">
  <xsd:schema xmlns:xsd="http://www.w3.org/2001/XMLSchema" xmlns:xs="http://www.w3.org/2001/XMLSchema" xmlns:p="http://schemas.microsoft.com/office/2006/metadata/properties" xmlns:ns2="9cbcdbd8-24a2-41b9-9eb9-2e600d6b6fa2" targetNamespace="http://schemas.microsoft.com/office/2006/metadata/properties" ma:root="true" ma:fieldsID="c275535b3f22fcf89b1d04d7e5fbdfc1" ns2:_="">
    <xsd:import namespace="9cbcdbd8-24a2-41b9-9eb9-2e600d6b6fa2"/>
    <xsd:element name="properties">
      <xsd:complexType>
        <xsd:sequence>
          <xsd:element name="documentManagement">
            <xsd:complexType>
              <xsd:all>
                <xsd:element ref="ns2:SharedWithUsers" minOccurs="0"/>
                <xsd:element ref="ns2: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cbcdbd8-24a2-41b9-9eb9-2e600d6b6fa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AADF626-B1A7-442A-BDBA-704F0D9E5C44}">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9cbcdbd8-24a2-41b9-9eb9-2e600d6b6fa2"/>
    <ds:schemaRef ds:uri="http://www.w3.org/XML/1998/namespace"/>
    <ds:schemaRef ds:uri="http://purl.org/dc/dcmitype/"/>
  </ds:schemaRefs>
</ds:datastoreItem>
</file>

<file path=customXml/itemProps2.xml><?xml version="1.0" encoding="utf-8"?>
<ds:datastoreItem xmlns:ds="http://schemas.openxmlformats.org/officeDocument/2006/customXml" ds:itemID="{114D40DD-30BB-40D0-8B44-9731695E4A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cbcdbd8-24a2-41b9-9eb9-2e600d6b6fa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6E1A3DE-B77F-42DD-9509-1EB6DAE3B09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7450</Words>
  <Application>Microsoft Office PowerPoint</Application>
  <PresentationFormat>Widescreen</PresentationFormat>
  <Paragraphs>891</Paragraphs>
  <Slides>39</Slides>
  <Notes>36</Notes>
  <HiddenSlides>5</HiddenSlides>
  <MMClips>0</MMClips>
  <ScaleCrop>false</ScaleCrop>
  <HeadingPairs>
    <vt:vector size="6" baseType="variant">
      <vt:variant>
        <vt:lpstr>Fonts Used</vt:lpstr>
      </vt:variant>
      <vt:variant>
        <vt:i4>15</vt:i4>
      </vt:variant>
      <vt:variant>
        <vt:lpstr>Theme</vt:lpstr>
      </vt:variant>
      <vt:variant>
        <vt:i4>12</vt:i4>
      </vt:variant>
      <vt:variant>
        <vt:lpstr>Slide Titles</vt:lpstr>
      </vt:variant>
      <vt:variant>
        <vt:i4>39</vt:i4>
      </vt:variant>
    </vt:vector>
  </HeadingPairs>
  <TitlesOfParts>
    <vt:vector size="66" baseType="lpstr">
      <vt:lpstr>Arial</vt:lpstr>
      <vt:lpstr>Calibri</vt:lpstr>
      <vt:lpstr>Calibri Light</vt:lpstr>
      <vt:lpstr>Consolas</vt:lpstr>
      <vt:lpstr>Kozuka Gothic Pro R</vt:lpstr>
      <vt:lpstr>ＭＳ Ｐゴシック</vt:lpstr>
      <vt:lpstr>Segoe</vt:lpstr>
      <vt:lpstr>Segoe Light</vt:lpstr>
      <vt:lpstr>Segoe Pro</vt:lpstr>
      <vt:lpstr>Segoe UI</vt:lpstr>
      <vt:lpstr>Segoe UI Black</vt:lpstr>
      <vt:lpstr>Segoe UI Light</vt:lpstr>
      <vt:lpstr>Verdana</vt:lpstr>
      <vt:lpstr>Wingdings</vt:lpstr>
      <vt:lpstr>Wingdings 2</vt:lpstr>
      <vt:lpstr>Office Theme</vt:lpstr>
      <vt:lpstr>2_Office Theme</vt:lpstr>
      <vt:lpstr>3_Office Theme</vt:lpstr>
      <vt:lpstr>People-Centric IT</vt:lpstr>
      <vt:lpstr>1_People-Centric IT</vt:lpstr>
      <vt:lpstr>2_People-Centric IT</vt:lpstr>
      <vt:lpstr>4_Metro Template Light 16x9</vt:lpstr>
      <vt:lpstr>5_People-Centric IT</vt:lpstr>
      <vt:lpstr>3_People-Centric IT</vt:lpstr>
      <vt:lpstr>3-30070_Windows_Server_Management_Marketing_Template_16x9</vt:lpstr>
      <vt:lpstr>MS1444_Windows Azure Template 16x9_r08a</vt:lpstr>
      <vt:lpstr>5-30438_S4_Breakout_Template_WHT</vt:lpstr>
      <vt:lpstr>What is Cloud?</vt:lpstr>
      <vt:lpstr>Cloud Hype  Cycle</vt:lpstr>
      <vt:lpstr>Think AND not OR</vt:lpstr>
      <vt:lpstr>Azure = Building Blocks to Technology Solutions</vt:lpstr>
      <vt:lpstr>PowerPoint Presentation</vt:lpstr>
      <vt:lpstr>PowerPoint Presentation</vt:lpstr>
      <vt:lpstr>PowerPoint Presentation</vt:lpstr>
      <vt:lpstr>Cloud Computing Patterns</vt:lpstr>
      <vt:lpstr>Manage using existing Tools</vt:lpstr>
      <vt:lpstr>Storage Scale</vt:lpstr>
      <vt:lpstr>How Microsoft Azure Drives Works</vt:lpstr>
      <vt:lpstr>PowerPoint Presentation</vt:lpstr>
      <vt:lpstr>Virtual Machine Availability Sets Update Domains are honored by host OS updates</vt:lpstr>
      <vt:lpstr>Availability &amp; Service Level Agreements </vt:lpstr>
      <vt:lpstr>Microsoft Migration Accelerator for Azure</vt:lpstr>
      <vt:lpstr>Hybrid Cloud Connectivity</vt:lpstr>
      <vt:lpstr>What is Identity?</vt:lpstr>
      <vt:lpstr>Corporate Identity Comes from Many Sources</vt:lpstr>
      <vt:lpstr>Users need common on-premises and cloud identity</vt:lpstr>
      <vt:lpstr>Identity: Cloud, Sync or Federated?</vt:lpstr>
      <vt:lpstr>What is Azure Active Directory?</vt:lpstr>
      <vt:lpstr>Common Identity with Sync and Federation</vt:lpstr>
      <vt:lpstr>Direct to cloud identity sync</vt:lpstr>
      <vt:lpstr>Hybrid Identity</vt:lpstr>
      <vt:lpstr>Azure Active Directory free and premium offerings feature comparison </vt:lpstr>
      <vt:lpstr>What is Azure Multi-Factor Authentication?</vt:lpstr>
      <vt:lpstr>What is multi-factor authentication?</vt:lpstr>
      <vt:lpstr>Benefits of multi-factor authentication</vt:lpstr>
      <vt:lpstr>PowerPoint Presentation</vt:lpstr>
      <vt:lpstr>PowerPoint Presentation</vt:lpstr>
      <vt:lpstr>PowerPoint Presentation</vt:lpstr>
      <vt:lpstr>How It Works</vt:lpstr>
      <vt:lpstr>PowerPoint Presentation</vt:lpstr>
      <vt:lpstr>Authentication In Motion</vt:lpstr>
      <vt:lpstr>PowerPoint Presentation</vt:lpstr>
      <vt:lpstr>Azure MFA vs MFA for Office 365</vt:lpstr>
      <vt:lpstr>Azure Multi-Factor Authentication Server</vt:lpstr>
      <vt:lpstr>RADIUS</vt:lpstr>
      <vt:lpstr>Multi-factor and RD Gatewa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p Scenarios</dc:title>
  <dc:creator/>
  <cp:lastModifiedBy>Cosmin J. Dumitru</cp:lastModifiedBy>
  <cp:revision>104</cp:revision>
  <dcterms:created xsi:type="dcterms:W3CDTF">2014-11-14T18:48:57Z</dcterms:created>
  <dcterms:modified xsi:type="dcterms:W3CDTF">2015-10-15T10:17:16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2ED8ADF06324A4796D92F03FA859016</vt:lpwstr>
  </property>
</Properties>
</file>